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8.xml" ContentType="application/vnd.openxmlformats-officedocument.drawingml.chart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</p:sldMasterIdLst>
  <p:notesMasterIdLst>
    <p:notesMasterId r:id="rId20"/>
  </p:notesMasterIdLst>
  <p:handoutMasterIdLst>
    <p:handoutMasterId r:id="rId21"/>
  </p:handoutMasterIdLst>
  <p:sldIdLst>
    <p:sldId id="813" r:id="rId2"/>
    <p:sldId id="814" r:id="rId3"/>
    <p:sldId id="815" r:id="rId4"/>
    <p:sldId id="817" r:id="rId5"/>
    <p:sldId id="848" r:id="rId6"/>
    <p:sldId id="849" r:id="rId7"/>
    <p:sldId id="850" r:id="rId8"/>
    <p:sldId id="851" r:id="rId9"/>
    <p:sldId id="843" r:id="rId10"/>
    <p:sldId id="852" r:id="rId11"/>
    <p:sldId id="830" r:id="rId12"/>
    <p:sldId id="831" r:id="rId13"/>
    <p:sldId id="853" r:id="rId14"/>
    <p:sldId id="854" r:id="rId15"/>
    <p:sldId id="856" r:id="rId16"/>
    <p:sldId id="847" r:id="rId17"/>
    <p:sldId id="842" r:id="rId18"/>
    <p:sldId id="547" r:id="rId19"/>
  </p:sldIdLst>
  <p:sldSz cx="9144000" cy="6858000" type="screen4x3"/>
  <p:notesSz cx="6858000" cy="9144000"/>
  <p:defaultTextStyle>
    <a:defPPr>
      <a:defRPr lang="es-E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3300"/>
    <a:srgbClr val="33CCCC"/>
    <a:srgbClr val="009999"/>
    <a:srgbClr val="00FFFF"/>
    <a:srgbClr val="00FF00"/>
    <a:srgbClr val="FBA3F3"/>
    <a:srgbClr val="00B0F0"/>
    <a:srgbClr val="FFC000"/>
    <a:srgbClr val="00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024" autoAdjust="0"/>
    <p:restoredTop sz="82555" autoAdjust="0"/>
  </p:normalViewPr>
  <p:slideViewPr>
    <p:cSldViewPr>
      <p:cViewPr>
        <p:scale>
          <a:sx n="66" d="100"/>
          <a:sy n="66" d="100"/>
        </p:scale>
        <p:origin x="1882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27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trasplante.msc\DocONT\Medicos\Beatriz\DONANTES\MEMORIA%20ACTIVIDAD%20DONANTES\2015\DOSSIER%20DONANTES%202015\GR&#193;FICOS%20DOSSIER%202015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34"/>
    </mc:Choice>
    <mc:Fallback>
      <c:style val="34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654561473628311E-2"/>
          <c:y val="4.3668122270742356E-2"/>
          <c:w val="0.90896485639403746"/>
          <c:h val="0.898913822868970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úmero absoluto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1</c:f>
              <c:numCache>
                <c:formatCode>General</c:formatCode>
                <c:ptCount val="30"/>
                <c:pt idx="0">
                  <c:v>1989</c:v>
                </c:pt>
                <c:pt idx="1">
                  <c:v>1990</c:v>
                </c:pt>
                <c:pt idx="2">
                  <c:v>1991</c:v>
                </c:pt>
                <c:pt idx="3">
                  <c:v>1992</c:v>
                </c:pt>
                <c:pt idx="4">
                  <c:v>1993</c:v>
                </c:pt>
                <c:pt idx="5">
                  <c:v>1994</c:v>
                </c:pt>
                <c:pt idx="6">
                  <c:v>1995</c:v>
                </c:pt>
                <c:pt idx="7">
                  <c:v>1996</c:v>
                </c:pt>
                <c:pt idx="8">
                  <c:v>1997</c:v>
                </c:pt>
                <c:pt idx="9">
                  <c:v>1998</c:v>
                </c:pt>
                <c:pt idx="10">
                  <c:v>1999</c:v>
                </c:pt>
                <c:pt idx="11">
                  <c:v>2000</c:v>
                </c:pt>
                <c:pt idx="12">
                  <c:v>2001</c:v>
                </c:pt>
                <c:pt idx="13">
                  <c:v>2002</c:v>
                </c:pt>
                <c:pt idx="14">
                  <c:v>2003</c:v>
                </c:pt>
                <c:pt idx="15">
                  <c:v>2004</c:v>
                </c:pt>
                <c:pt idx="16">
                  <c:v>2005</c:v>
                </c:pt>
                <c:pt idx="17">
                  <c:v>2006</c:v>
                </c:pt>
                <c:pt idx="18">
                  <c:v>2007</c:v>
                </c:pt>
                <c:pt idx="19">
                  <c:v>2008</c:v>
                </c:pt>
                <c:pt idx="20">
                  <c:v>2009</c:v>
                </c:pt>
                <c:pt idx="21">
                  <c:v>2010</c:v>
                </c:pt>
                <c:pt idx="22">
                  <c:v>2011</c:v>
                </c:pt>
                <c:pt idx="23">
                  <c:v>2012</c:v>
                </c:pt>
                <c:pt idx="24">
                  <c:v>2013</c:v>
                </c:pt>
                <c:pt idx="25">
                  <c:v>2014</c:v>
                </c:pt>
                <c:pt idx="26">
                  <c:v>2015</c:v>
                </c:pt>
                <c:pt idx="27">
                  <c:v>2016</c:v>
                </c:pt>
                <c:pt idx="28">
                  <c:v>2017</c:v>
                </c:pt>
                <c:pt idx="29">
                  <c:v>2018</c:v>
                </c:pt>
              </c:numCache>
            </c:numRef>
          </c:cat>
          <c:val>
            <c:numRef>
              <c:f>Sheet1!$B$2:$B$31</c:f>
              <c:numCache>
                <c:formatCode>General</c:formatCode>
                <c:ptCount val="30"/>
                <c:pt idx="0">
                  <c:v>550</c:v>
                </c:pt>
                <c:pt idx="1">
                  <c:v>687</c:v>
                </c:pt>
                <c:pt idx="2">
                  <c:v>778</c:v>
                </c:pt>
                <c:pt idx="3">
                  <c:v>832</c:v>
                </c:pt>
                <c:pt idx="4">
                  <c:v>869</c:v>
                </c:pt>
                <c:pt idx="5">
                  <c:v>960</c:v>
                </c:pt>
                <c:pt idx="6">
                  <c:v>1037</c:v>
                </c:pt>
                <c:pt idx="7">
                  <c:v>1032</c:v>
                </c:pt>
                <c:pt idx="8">
                  <c:v>1155</c:v>
                </c:pt>
                <c:pt idx="9">
                  <c:v>1250</c:v>
                </c:pt>
                <c:pt idx="10">
                  <c:v>1334</c:v>
                </c:pt>
                <c:pt idx="11">
                  <c:v>1345</c:v>
                </c:pt>
                <c:pt idx="12">
                  <c:v>1335</c:v>
                </c:pt>
                <c:pt idx="13">
                  <c:v>1409</c:v>
                </c:pt>
                <c:pt idx="14">
                  <c:v>1443</c:v>
                </c:pt>
                <c:pt idx="15">
                  <c:v>1495</c:v>
                </c:pt>
                <c:pt idx="16">
                  <c:v>1546</c:v>
                </c:pt>
                <c:pt idx="17">
                  <c:v>1509</c:v>
                </c:pt>
                <c:pt idx="18">
                  <c:v>1550</c:v>
                </c:pt>
                <c:pt idx="19">
                  <c:v>1577</c:v>
                </c:pt>
                <c:pt idx="20">
                  <c:v>1606</c:v>
                </c:pt>
                <c:pt idx="21">
                  <c:v>1502</c:v>
                </c:pt>
                <c:pt idx="22">
                  <c:v>1667</c:v>
                </c:pt>
                <c:pt idx="23">
                  <c:v>1643</c:v>
                </c:pt>
                <c:pt idx="24">
                  <c:v>1655</c:v>
                </c:pt>
                <c:pt idx="25">
                  <c:v>1682</c:v>
                </c:pt>
                <c:pt idx="26">
                  <c:v>1851</c:v>
                </c:pt>
                <c:pt idx="27">
                  <c:v>2019</c:v>
                </c:pt>
                <c:pt idx="28">
                  <c:v>2183</c:v>
                </c:pt>
                <c:pt idx="29">
                  <c:v>224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6F8-4E9A-94E8-28C5D1BC93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67275392"/>
        <c:axId val="67285376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Tasa pmp</c:v>
                </c:pt>
              </c:strCache>
            </c:strRef>
          </c:tx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1</c:f>
              <c:numCache>
                <c:formatCode>General</c:formatCode>
                <c:ptCount val="30"/>
                <c:pt idx="0">
                  <c:v>1989</c:v>
                </c:pt>
                <c:pt idx="1">
                  <c:v>1990</c:v>
                </c:pt>
                <c:pt idx="2">
                  <c:v>1991</c:v>
                </c:pt>
                <c:pt idx="3">
                  <c:v>1992</c:v>
                </c:pt>
                <c:pt idx="4">
                  <c:v>1993</c:v>
                </c:pt>
                <c:pt idx="5">
                  <c:v>1994</c:v>
                </c:pt>
                <c:pt idx="6">
                  <c:v>1995</c:v>
                </c:pt>
                <c:pt idx="7">
                  <c:v>1996</c:v>
                </c:pt>
                <c:pt idx="8">
                  <c:v>1997</c:v>
                </c:pt>
                <c:pt idx="9">
                  <c:v>1998</c:v>
                </c:pt>
                <c:pt idx="10">
                  <c:v>1999</c:v>
                </c:pt>
                <c:pt idx="11">
                  <c:v>2000</c:v>
                </c:pt>
                <c:pt idx="12">
                  <c:v>2001</c:v>
                </c:pt>
                <c:pt idx="13">
                  <c:v>2002</c:v>
                </c:pt>
                <c:pt idx="14">
                  <c:v>2003</c:v>
                </c:pt>
                <c:pt idx="15">
                  <c:v>2004</c:v>
                </c:pt>
                <c:pt idx="16">
                  <c:v>2005</c:v>
                </c:pt>
                <c:pt idx="17">
                  <c:v>2006</c:v>
                </c:pt>
                <c:pt idx="18">
                  <c:v>2007</c:v>
                </c:pt>
                <c:pt idx="19">
                  <c:v>2008</c:v>
                </c:pt>
                <c:pt idx="20">
                  <c:v>2009</c:v>
                </c:pt>
                <c:pt idx="21">
                  <c:v>2010</c:v>
                </c:pt>
                <c:pt idx="22">
                  <c:v>2011</c:v>
                </c:pt>
                <c:pt idx="23">
                  <c:v>2012</c:v>
                </c:pt>
                <c:pt idx="24">
                  <c:v>2013</c:v>
                </c:pt>
                <c:pt idx="25">
                  <c:v>2014</c:v>
                </c:pt>
                <c:pt idx="26">
                  <c:v>2015</c:v>
                </c:pt>
                <c:pt idx="27">
                  <c:v>2016</c:v>
                </c:pt>
                <c:pt idx="28">
                  <c:v>2017</c:v>
                </c:pt>
                <c:pt idx="29">
                  <c:v>2018</c:v>
                </c:pt>
              </c:numCache>
            </c:numRef>
          </c:cat>
          <c:val>
            <c:numRef>
              <c:f>Sheet1!$C$2:$C$31</c:f>
              <c:numCache>
                <c:formatCode>#,#00</c:formatCode>
                <c:ptCount val="30"/>
                <c:pt idx="0" formatCode="General">
                  <c:v>14.3</c:v>
                </c:pt>
                <c:pt idx="1">
                  <c:v>17.8</c:v>
                </c:pt>
                <c:pt idx="2">
                  <c:v>20.2</c:v>
                </c:pt>
                <c:pt idx="3">
                  <c:v>21.7</c:v>
                </c:pt>
                <c:pt idx="4">
                  <c:v>22.6</c:v>
                </c:pt>
                <c:pt idx="5">
                  <c:v>25</c:v>
                </c:pt>
                <c:pt idx="6">
                  <c:v>27</c:v>
                </c:pt>
                <c:pt idx="7">
                  <c:v>26.8</c:v>
                </c:pt>
                <c:pt idx="8">
                  <c:v>29</c:v>
                </c:pt>
                <c:pt idx="9">
                  <c:v>31.5</c:v>
                </c:pt>
                <c:pt idx="10">
                  <c:v>33.6</c:v>
                </c:pt>
                <c:pt idx="11">
                  <c:v>33.9</c:v>
                </c:pt>
                <c:pt idx="12">
                  <c:v>32.5</c:v>
                </c:pt>
                <c:pt idx="13">
                  <c:v>33.700000000000003</c:v>
                </c:pt>
                <c:pt idx="14">
                  <c:v>33.799999999999997</c:v>
                </c:pt>
                <c:pt idx="15">
                  <c:v>34.6</c:v>
                </c:pt>
                <c:pt idx="16">
                  <c:v>35.1</c:v>
                </c:pt>
                <c:pt idx="17">
                  <c:v>33.799999999999997</c:v>
                </c:pt>
                <c:pt idx="18">
                  <c:v>34.299999999999997</c:v>
                </c:pt>
                <c:pt idx="19">
                  <c:v>34.200000000000003</c:v>
                </c:pt>
                <c:pt idx="20">
                  <c:v>34.4</c:v>
                </c:pt>
                <c:pt idx="21">
                  <c:v>32</c:v>
                </c:pt>
                <c:pt idx="22">
                  <c:v>35.299999999999997</c:v>
                </c:pt>
                <c:pt idx="23">
                  <c:v>34.799999999999997</c:v>
                </c:pt>
                <c:pt idx="24">
                  <c:v>35.1</c:v>
                </c:pt>
                <c:pt idx="25">
                  <c:v>36</c:v>
                </c:pt>
                <c:pt idx="26">
                  <c:v>39.700000000000003</c:v>
                </c:pt>
                <c:pt idx="27">
                  <c:v>43.4</c:v>
                </c:pt>
                <c:pt idx="28">
                  <c:v>46.9</c:v>
                </c:pt>
                <c:pt idx="29">
                  <c:v>4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06F8-4E9A-94E8-28C5D1BC93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286912"/>
        <c:axId val="67288448"/>
      </c:lineChart>
      <c:catAx>
        <c:axId val="672753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900"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es-ES"/>
          </a:p>
        </c:txPr>
        <c:crossAx val="6728537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67285376"/>
        <c:scaling>
          <c:orientation val="minMax"/>
          <c:max val="230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es-ES"/>
          </a:p>
        </c:txPr>
        <c:crossAx val="67275392"/>
        <c:crosses val="autoZero"/>
        <c:crossBetween val="between"/>
      </c:valAx>
      <c:catAx>
        <c:axId val="672869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67288448"/>
        <c:crosses val="autoZero"/>
        <c:auto val="1"/>
        <c:lblAlgn val="ctr"/>
        <c:lblOffset val="100"/>
        <c:noMultiLvlLbl val="0"/>
      </c:catAx>
      <c:valAx>
        <c:axId val="67288448"/>
        <c:scaling>
          <c:orientation val="minMax"/>
          <c:max val="50"/>
          <c:min val="0"/>
        </c:scaling>
        <c:delete val="0"/>
        <c:axPos val="r"/>
        <c:numFmt formatCode="General" sourceLinked="1"/>
        <c:majorTickMark val="cross"/>
        <c:minorTickMark val="none"/>
        <c:tickLblPos val="nextTo"/>
        <c:txPr>
          <a:bodyPr rot="0" vert="horz"/>
          <a:lstStyle/>
          <a:p>
            <a:pPr>
              <a:defRPr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es-ES"/>
          </a:p>
        </c:txPr>
        <c:crossAx val="67286912"/>
        <c:crosses val="max"/>
        <c:crossBetween val="between"/>
      </c:valAx>
      <c:spPr>
        <a:noFill/>
        <a:ln>
          <a:noFill/>
        </a:ln>
      </c:spPr>
    </c:plotArea>
    <c:legend>
      <c:legendPos val="r"/>
      <c:layout>
        <c:manualLayout>
          <c:xMode val="edge"/>
          <c:yMode val="edge"/>
          <c:x val="0.36908928066096219"/>
          <c:y val="2.6005664863931696E-3"/>
          <c:w val="0.31816054322438236"/>
          <c:h val="5.2091181787882163E-2"/>
        </c:manualLayout>
      </c:layout>
      <c:overlay val="0"/>
      <c:txPr>
        <a:bodyPr/>
        <a:lstStyle/>
        <a:p>
          <a:pPr>
            <a:defRPr sz="1200">
              <a:latin typeface="Calibri" panose="020F0502020204030204" pitchFamily="34" charset="0"/>
              <a:cs typeface="Calibri" panose="020F0502020204030204" pitchFamily="34" charset="0"/>
            </a:defRPr>
          </a:pPr>
          <a:endParaRPr lang="es-E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/>
      </a:pPr>
      <a:endParaRPr lang="es-E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CE Tráfico</c:v>
                </c:pt>
              </c:strCache>
            </c:strRef>
          </c:tx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oja1!$A$2:$A$20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cat>
          <c:val>
            <c:numRef>
              <c:f>Hoja1!$B$2:$B$20</c:f>
              <c:numCache>
                <c:formatCode>#,#00%</c:formatCode>
                <c:ptCount val="19"/>
                <c:pt idx="0">
                  <c:v>0.20015396458814472</c:v>
                </c:pt>
                <c:pt idx="1">
                  <c:v>0.19969627942293092</c:v>
                </c:pt>
                <c:pt idx="2">
                  <c:v>0.1755280407865987</c:v>
                </c:pt>
                <c:pt idx="3">
                  <c:v>0.19519094766619519</c:v>
                </c:pt>
                <c:pt idx="4">
                  <c:v>0.14948096885813147</c:v>
                </c:pt>
                <c:pt idx="5">
                  <c:v>0.15761234071093225</c:v>
                </c:pt>
                <c:pt idx="6">
                  <c:v>0.13904109589041097</c:v>
                </c:pt>
                <c:pt idx="7">
                  <c:v>0.10210803689064558</c:v>
                </c:pt>
                <c:pt idx="8">
                  <c:v>8.3875162548764634E-2</c:v>
                </c:pt>
                <c:pt idx="9">
                  <c:v>8.5877862595419852E-2</c:v>
                </c:pt>
                <c:pt idx="10">
                  <c:v>5.5744391570360298E-2</c:v>
                </c:pt>
                <c:pt idx="11">
                  <c:v>5.0389922015596882E-2</c:v>
                </c:pt>
                <c:pt idx="12">
                  <c:v>6.0218978102189784E-2</c:v>
                </c:pt>
                <c:pt idx="13">
                  <c:v>4.4108761329305135E-2</c:v>
                </c:pt>
                <c:pt idx="14">
                  <c:v>5.2318668252080855E-2</c:v>
                </c:pt>
                <c:pt idx="15">
                  <c:v>4.2139384116693678E-2</c:v>
                </c:pt>
                <c:pt idx="16">
                  <c:v>4.4081228330856863E-2</c:v>
                </c:pt>
                <c:pt idx="17">
                  <c:v>4.1685753550160333E-2</c:v>
                </c:pt>
                <c:pt idx="18">
                  <c:v>3.8375725122713075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A24-45C3-841A-B435FC77805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TCE No Tráfico</c:v>
                </c:pt>
              </c:strCache>
            </c:strRef>
          </c:tx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oja1!$A$2:$A$20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cat>
          <c:val>
            <c:numRef>
              <c:f>Hoja1!$C$2:$C$20</c:f>
              <c:numCache>
                <c:formatCode>#,#00%</c:formatCode>
                <c:ptCount val="19"/>
                <c:pt idx="0">
                  <c:v>0.1031562740569669</c:v>
                </c:pt>
                <c:pt idx="1">
                  <c:v>0.10022779043280182</c:v>
                </c:pt>
                <c:pt idx="2">
                  <c:v>0.11726147123088128</c:v>
                </c:pt>
                <c:pt idx="3">
                  <c:v>0.10820367751060821</c:v>
                </c:pt>
                <c:pt idx="4">
                  <c:v>0.11003460207612457</c:v>
                </c:pt>
                <c:pt idx="5">
                  <c:v>9.5908786049631115E-2</c:v>
                </c:pt>
                <c:pt idx="6">
                  <c:v>0.11643835616438356</c:v>
                </c:pt>
                <c:pt idx="7">
                  <c:v>0.11264822134387352</c:v>
                </c:pt>
                <c:pt idx="8">
                  <c:v>0.10598179453836151</c:v>
                </c:pt>
                <c:pt idx="9">
                  <c:v>9.8600508905852424E-2</c:v>
                </c:pt>
                <c:pt idx="10">
                  <c:v>0.10876954452753229</c:v>
                </c:pt>
                <c:pt idx="11">
                  <c:v>0.11817636472705459</c:v>
                </c:pt>
                <c:pt idx="12">
                  <c:v>0.11496350364963503</c:v>
                </c:pt>
                <c:pt idx="13">
                  <c:v>0.11238670694864049</c:v>
                </c:pt>
                <c:pt idx="14">
                  <c:v>9.9286563614744347E-2</c:v>
                </c:pt>
                <c:pt idx="15">
                  <c:v>9.292274446245273E-2</c:v>
                </c:pt>
                <c:pt idx="16">
                  <c:v>0.10599306587419514</c:v>
                </c:pt>
                <c:pt idx="17">
                  <c:v>9.8488318827301885E-2</c:v>
                </c:pt>
                <c:pt idx="18">
                  <c:v>0.105310129406514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A24-45C3-841A-B435FC778059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Accidente Cerebrovascular</c:v>
                </c:pt>
              </c:strCache>
            </c:strRef>
          </c:tx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oja1!$A$2:$A$20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cat>
          <c:val>
            <c:numRef>
              <c:f>Hoja1!$D$2:$D$20</c:f>
              <c:numCache>
                <c:formatCode>#,#00%</c:formatCode>
                <c:ptCount val="19"/>
                <c:pt idx="0">
                  <c:v>0.55889145496535797</c:v>
                </c:pt>
                <c:pt idx="1">
                  <c:v>0.59681093394077445</c:v>
                </c:pt>
                <c:pt idx="2">
                  <c:v>0.59431900946831751</c:v>
                </c:pt>
                <c:pt idx="3">
                  <c:v>0.56294200848656295</c:v>
                </c:pt>
                <c:pt idx="4">
                  <c:v>0.5979238754325259</c:v>
                </c:pt>
                <c:pt idx="5">
                  <c:v>0.61234071093226028</c:v>
                </c:pt>
                <c:pt idx="6">
                  <c:v>0.58972602739726032</c:v>
                </c:pt>
                <c:pt idx="7">
                  <c:v>0.62187088274044799</c:v>
                </c:pt>
                <c:pt idx="8">
                  <c:v>0.6527958387516255</c:v>
                </c:pt>
                <c:pt idx="9">
                  <c:v>0.64567430025445294</c:v>
                </c:pt>
                <c:pt idx="10">
                  <c:v>0.65329707681849081</c:v>
                </c:pt>
                <c:pt idx="11">
                  <c:v>0.67786442711457706</c:v>
                </c:pt>
                <c:pt idx="12">
                  <c:v>0.62165450121654497</c:v>
                </c:pt>
                <c:pt idx="13">
                  <c:v>0.65921450151057404</c:v>
                </c:pt>
                <c:pt idx="14">
                  <c:v>0.65457788347205703</c:v>
                </c:pt>
                <c:pt idx="15">
                  <c:v>0.65153970826580232</c:v>
                </c:pt>
                <c:pt idx="16">
                  <c:v>0.61168895492818232</c:v>
                </c:pt>
                <c:pt idx="17">
                  <c:v>0.61016949152542377</c:v>
                </c:pt>
                <c:pt idx="18">
                  <c:v>0.618473895582329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A24-45C3-841A-B435FC778059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Encefalopatía anóxica</c:v>
                </c:pt>
              </c:strCache>
            </c:strRef>
          </c:tx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oja1!$A$2:$A$20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cat>
          <c:val>
            <c:numRef>
              <c:f>Hoja1!$E$2:$E$20</c:f>
              <c:numCache>
                <c:formatCode>#,#00%</c:formatCode>
                <c:ptCount val="19"/>
                <c:pt idx="0">
                  <c:v>6.9284064665127015E-2</c:v>
                </c:pt>
                <c:pt idx="1">
                  <c:v>6.6818526955201213E-2</c:v>
                </c:pt>
                <c:pt idx="2">
                  <c:v>5.0254916241806266E-2</c:v>
                </c:pt>
                <c:pt idx="3">
                  <c:v>6.5063649222065062E-2</c:v>
                </c:pt>
                <c:pt idx="4">
                  <c:v>6.7128027681660901E-2</c:v>
                </c:pt>
                <c:pt idx="5">
                  <c:v>5.9691482226693494E-2</c:v>
                </c:pt>
                <c:pt idx="6">
                  <c:v>6.4383561643835616E-2</c:v>
                </c:pt>
                <c:pt idx="7">
                  <c:v>7.9710144927536225E-2</c:v>
                </c:pt>
                <c:pt idx="8">
                  <c:v>7.8023407022106639E-2</c:v>
                </c:pt>
                <c:pt idx="9">
                  <c:v>7.8244274809160311E-2</c:v>
                </c:pt>
                <c:pt idx="10">
                  <c:v>7.2739632902787218E-2</c:v>
                </c:pt>
                <c:pt idx="11">
                  <c:v>6.3587282543491302E-2</c:v>
                </c:pt>
                <c:pt idx="12">
                  <c:v>9.3673965936739656E-2</c:v>
                </c:pt>
                <c:pt idx="13">
                  <c:v>9.3655589123867067E-2</c:v>
                </c:pt>
                <c:pt idx="14">
                  <c:v>0.10523186682520809</c:v>
                </c:pt>
                <c:pt idx="15">
                  <c:v>0.13074014046461371</c:v>
                </c:pt>
                <c:pt idx="16">
                  <c:v>0.15255076770678555</c:v>
                </c:pt>
                <c:pt idx="17">
                  <c:v>0.17498854786990381</c:v>
                </c:pt>
                <c:pt idx="18">
                  <c:v>0.1619812583668005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2A24-45C3-841A-B435FC778059}"/>
            </c:ext>
          </c:extLst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Otras</c:v>
                </c:pt>
              </c:strCache>
            </c:strRef>
          </c:tx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Calibri" panose="020F0502020204030204" pitchFamily="34" charset="0"/>
                    <a:cs typeface="Calibri" panose="020F05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oja1!$A$2:$A$20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cat>
          <c:val>
            <c:numRef>
              <c:f>Hoja1!$F$2:$F$20</c:f>
              <c:numCache>
                <c:formatCode>#,#00%</c:formatCode>
                <c:ptCount val="19"/>
                <c:pt idx="0">
                  <c:v>6.8514241724403388E-2</c:v>
                </c:pt>
                <c:pt idx="1">
                  <c:v>3.644646924829157E-2</c:v>
                </c:pt>
                <c:pt idx="2">
                  <c:v>6.263656227239621E-2</c:v>
                </c:pt>
                <c:pt idx="3">
                  <c:v>6.8599717114568595E-2</c:v>
                </c:pt>
                <c:pt idx="4">
                  <c:v>7.5432525951557097E-2</c:v>
                </c:pt>
                <c:pt idx="5">
                  <c:v>7.4446680080482899E-2</c:v>
                </c:pt>
                <c:pt idx="6">
                  <c:v>9.0410958904109592E-2</c:v>
                </c:pt>
                <c:pt idx="7">
                  <c:v>8.3662714097496704E-2</c:v>
                </c:pt>
                <c:pt idx="8">
                  <c:v>7.9323797139141741E-2</c:v>
                </c:pt>
                <c:pt idx="9">
                  <c:v>9.1603053435114504E-2</c:v>
                </c:pt>
                <c:pt idx="10">
                  <c:v>0.10944935418082936</c:v>
                </c:pt>
                <c:pt idx="11">
                  <c:v>8.9982003599280144E-2</c:v>
                </c:pt>
                <c:pt idx="12">
                  <c:v>0.10948905109489052</c:v>
                </c:pt>
                <c:pt idx="13">
                  <c:v>9.0634441087613288E-2</c:v>
                </c:pt>
                <c:pt idx="14">
                  <c:v>8.8585017835909635E-2</c:v>
                </c:pt>
                <c:pt idx="15">
                  <c:v>8.2658022690437608E-2</c:v>
                </c:pt>
                <c:pt idx="16">
                  <c:v>8.5685983159980189E-2</c:v>
                </c:pt>
                <c:pt idx="17">
                  <c:v>7.4667888227210266E-2</c:v>
                </c:pt>
                <c:pt idx="18">
                  <c:v>7.5858991521642119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A24-45C3-841A-B435FC7780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99202560"/>
        <c:axId val="99204096"/>
      </c:barChart>
      <c:catAx>
        <c:axId val="992025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 b="1"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es-ES"/>
          </a:p>
        </c:txPr>
        <c:crossAx val="99204096"/>
        <c:crosses val="autoZero"/>
        <c:auto val="1"/>
        <c:lblAlgn val="ctr"/>
        <c:lblOffset val="100"/>
        <c:noMultiLvlLbl val="0"/>
      </c:catAx>
      <c:valAx>
        <c:axId val="99204096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000" b="1"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es-ES"/>
          </a:p>
        </c:txPr>
        <c:crossAx val="9920256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4.1016684275460716E-3"/>
          <c:y val="1.8749999999999999E-2"/>
          <c:w val="0.99526996701872406"/>
          <c:h val="9.3377834598537116E-2"/>
        </c:manualLayout>
      </c:layout>
      <c:overlay val="0"/>
      <c:txPr>
        <a:bodyPr/>
        <a:lstStyle/>
        <a:p>
          <a:pPr>
            <a:defRPr sz="1400">
              <a:latin typeface="Calibri" panose="020F0502020204030204" pitchFamily="34" charset="0"/>
              <a:cs typeface="Calibri" panose="020F0502020204030204" pitchFamily="34" charset="0"/>
            </a:defRPr>
          </a:pPr>
          <a:endParaRPr lang="es-ES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chemeClr val="bg1">
          <a:lumMod val="65000"/>
        </a:schemeClr>
      </a:solidFill>
    </a:ln>
  </c:spPr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089878858929269E-2"/>
          <c:y val="4.3518422487510401E-2"/>
          <c:w val="0.90326170772981551"/>
          <c:h val="0.65014650288426601"/>
        </c:manualLayout>
      </c:layout>
      <c:areaChart>
        <c:grouping val="percentStacked"/>
        <c:varyColors val="0"/>
        <c:ser>
          <c:idx val="0"/>
          <c:order val="0"/>
          <c:tx>
            <c:strRef>
              <c:f>edad!$D$1</c:f>
              <c:strCache>
                <c:ptCount val="1"/>
                <c:pt idx="0">
                  <c:v>0-14</c:v>
                </c:pt>
              </c:strCache>
            </c:strRef>
          </c:tx>
          <c:cat>
            <c:strRef>
              <c:f>edad!$C$2:$C$20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strCache>
            </c:strRef>
          </c:cat>
          <c:val>
            <c:numRef>
              <c:f>edad!$D$2:$D$20</c:f>
              <c:numCache>
                <c:formatCode>General</c:formatCode>
                <c:ptCount val="19"/>
                <c:pt idx="0">
                  <c:v>3.7</c:v>
                </c:pt>
                <c:pt idx="1">
                  <c:v>3.2</c:v>
                </c:pt>
                <c:pt idx="2">
                  <c:v>4.8</c:v>
                </c:pt>
                <c:pt idx="3">
                  <c:v>4.5</c:v>
                </c:pt>
                <c:pt idx="4">
                  <c:v>4.2</c:v>
                </c:pt>
                <c:pt idx="5">
                  <c:v>3.9</c:v>
                </c:pt>
                <c:pt idx="6">
                  <c:v>3</c:v>
                </c:pt>
                <c:pt idx="7">
                  <c:v>2.6</c:v>
                </c:pt>
                <c:pt idx="8">
                  <c:v>2.2999999999999998</c:v>
                </c:pt>
                <c:pt idx="9">
                  <c:v>3.4</c:v>
                </c:pt>
                <c:pt idx="10">
                  <c:v>1.7</c:v>
                </c:pt>
                <c:pt idx="11">
                  <c:v>1.6</c:v>
                </c:pt>
                <c:pt idx="12">
                  <c:v>1.7</c:v>
                </c:pt>
                <c:pt idx="13">
                  <c:v>2.5</c:v>
                </c:pt>
                <c:pt idx="14">
                  <c:v>1.5</c:v>
                </c:pt>
                <c:pt idx="15">
                  <c:v>1.6</c:v>
                </c:pt>
                <c:pt idx="16">
                  <c:v>1.8</c:v>
                </c:pt>
                <c:pt idx="17">
                  <c:v>1.3</c:v>
                </c:pt>
                <c:pt idx="18">
                  <c:v>1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2E6-4604-92F2-44E25F69960F}"/>
            </c:ext>
          </c:extLst>
        </c:ser>
        <c:ser>
          <c:idx val="1"/>
          <c:order val="1"/>
          <c:tx>
            <c:strRef>
              <c:f>edad!$E$1</c:f>
              <c:strCache>
                <c:ptCount val="1"/>
                <c:pt idx="0">
                  <c:v>15-29</c:v>
                </c:pt>
              </c:strCache>
            </c:strRef>
          </c:tx>
          <c:cat>
            <c:strRef>
              <c:f>edad!$C$2:$C$20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strCache>
            </c:strRef>
          </c:cat>
          <c:val>
            <c:numRef>
              <c:f>edad!$E$2:$E$20</c:f>
              <c:numCache>
                <c:formatCode>General</c:formatCode>
                <c:ptCount val="19"/>
                <c:pt idx="0">
                  <c:v>19.8</c:v>
                </c:pt>
                <c:pt idx="1">
                  <c:v>17.8</c:v>
                </c:pt>
                <c:pt idx="2">
                  <c:v>15.3</c:v>
                </c:pt>
                <c:pt idx="3">
                  <c:v>16.600000000000001</c:v>
                </c:pt>
                <c:pt idx="4">
                  <c:v>12.9</c:v>
                </c:pt>
                <c:pt idx="5">
                  <c:v>13</c:v>
                </c:pt>
                <c:pt idx="6">
                  <c:v>12.5</c:v>
                </c:pt>
                <c:pt idx="7">
                  <c:v>9.3000000000000007</c:v>
                </c:pt>
                <c:pt idx="8">
                  <c:v>8.8000000000000007</c:v>
                </c:pt>
                <c:pt idx="9">
                  <c:v>7.2</c:v>
                </c:pt>
                <c:pt idx="10">
                  <c:v>6.6</c:v>
                </c:pt>
                <c:pt idx="11">
                  <c:v>4.0999999999999996</c:v>
                </c:pt>
                <c:pt idx="12">
                  <c:v>5.7</c:v>
                </c:pt>
                <c:pt idx="13">
                  <c:v>3.7</c:v>
                </c:pt>
                <c:pt idx="14">
                  <c:v>4</c:v>
                </c:pt>
                <c:pt idx="15">
                  <c:v>3.9</c:v>
                </c:pt>
                <c:pt idx="16">
                  <c:v>4.5</c:v>
                </c:pt>
                <c:pt idx="17">
                  <c:v>4</c:v>
                </c:pt>
                <c:pt idx="18">
                  <c:v>3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2E6-4604-92F2-44E25F69960F}"/>
            </c:ext>
          </c:extLst>
        </c:ser>
        <c:ser>
          <c:idx val="2"/>
          <c:order val="2"/>
          <c:tx>
            <c:strRef>
              <c:f>edad!$F$1</c:f>
              <c:strCache>
                <c:ptCount val="1"/>
                <c:pt idx="0">
                  <c:v>30-44</c:v>
                </c:pt>
              </c:strCache>
            </c:strRef>
          </c:tx>
          <c:cat>
            <c:strRef>
              <c:f>edad!$C$2:$C$20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strCache>
            </c:strRef>
          </c:cat>
          <c:val>
            <c:numRef>
              <c:f>edad!$F$2:$F$20</c:f>
              <c:numCache>
                <c:formatCode>General</c:formatCode>
                <c:ptCount val="19"/>
                <c:pt idx="0">
                  <c:v>16.899999999999999</c:v>
                </c:pt>
                <c:pt idx="1">
                  <c:v>16.3</c:v>
                </c:pt>
                <c:pt idx="2">
                  <c:v>15.5</c:v>
                </c:pt>
                <c:pt idx="3">
                  <c:v>16.2</c:v>
                </c:pt>
                <c:pt idx="4">
                  <c:v>14.7</c:v>
                </c:pt>
                <c:pt idx="5">
                  <c:v>15.9</c:v>
                </c:pt>
                <c:pt idx="6">
                  <c:v>16.7</c:v>
                </c:pt>
                <c:pt idx="7">
                  <c:v>16.100000000000001</c:v>
                </c:pt>
                <c:pt idx="8">
                  <c:v>15.9</c:v>
                </c:pt>
                <c:pt idx="9">
                  <c:v>14.8</c:v>
                </c:pt>
                <c:pt idx="10">
                  <c:v>12.7</c:v>
                </c:pt>
                <c:pt idx="11">
                  <c:v>12.7</c:v>
                </c:pt>
                <c:pt idx="12">
                  <c:v>13.5</c:v>
                </c:pt>
                <c:pt idx="13">
                  <c:v>10.8</c:v>
                </c:pt>
                <c:pt idx="14">
                  <c:v>11.8</c:v>
                </c:pt>
                <c:pt idx="15">
                  <c:v>10.3</c:v>
                </c:pt>
                <c:pt idx="16">
                  <c:v>9.8000000000000007</c:v>
                </c:pt>
                <c:pt idx="17">
                  <c:v>9.4</c:v>
                </c:pt>
                <c:pt idx="18">
                  <c:v>8.69999999999999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2E6-4604-92F2-44E25F69960F}"/>
            </c:ext>
          </c:extLst>
        </c:ser>
        <c:ser>
          <c:idx val="3"/>
          <c:order val="3"/>
          <c:tx>
            <c:strRef>
              <c:f>edad!$G$1</c:f>
              <c:strCache>
                <c:ptCount val="1"/>
                <c:pt idx="0">
                  <c:v>45-59</c:v>
                </c:pt>
              </c:strCache>
            </c:strRef>
          </c:tx>
          <c:cat>
            <c:strRef>
              <c:f>edad!$C$2:$C$20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strCache>
            </c:strRef>
          </c:cat>
          <c:val>
            <c:numRef>
              <c:f>edad!$G$2:$G$20</c:f>
              <c:numCache>
                <c:formatCode>General</c:formatCode>
                <c:ptCount val="19"/>
                <c:pt idx="0">
                  <c:v>28</c:v>
                </c:pt>
                <c:pt idx="1">
                  <c:v>28.8</c:v>
                </c:pt>
                <c:pt idx="2">
                  <c:v>30</c:v>
                </c:pt>
                <c:pt idx="3">
                  <c:v>28.7</c:v>
                </c:pt>
                <c:pt idx="4">
                  <c:v>30</c:v>
                </c:pt>
                <c:pt idx="5">
                  <c:v>29.2</c:v>
                </c:pt>
                <c:pt idx="6">
                  <c:v>29</c:v>
                </c:pt>
                <c:pt idx="7">
                  <c:v>29.1</c:v>
                </c:pt>
                <c:pt idx="8">
                  <c:v>28.7</c:v>
                </c:pt>
                <c:pt idx="9">
                  <c:v>29.8</c:v>
                </c:pt>
                <c:pt idx="10">
                  <c:v>32.4</c:v>
                </c:pt>
                <c:pt idx="11">
                  <c:v>28</c:v>
                </c:pt>
                <c:pt idx="12">
                  <c:v>28.4</c:v>
                </c:pt>
                <c:pt idx="13">
                  <c:v>30.5</c:v>
                </c:pt>
                <c:pt idx="14">
                  <c:v>28.8</c:v>
                </c:pt>
                <c:pt idx="15">
                  <c:v>31</c:v>
                </c:pt>
                <c:pt idx="16">
                  <c:v>29.4</c:v>
                </c:pt>
                <c:pt idx="17">
                  <c:v>30.7</c:v>
                </c:pt>
                <c:pt idx="18">
                  <c:v>28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2E6-4604-92F2-44E25F69960F}"/>
            </c:ext>
          </c:extLst>
        </c:ser>
        <c:ser>
          <c:idx val="4"/>
          <c:order val="4"/>
          <c:tx>
            <c:strRef>
              <c:f>edad!$H$1</c:f>
              <c:strCache>
                <c:ptCount val="1"/>
                <c:pt idx="0">
                  <c:v>60-69</c:v>
                </c:pt>
              </c:strCache>
            </c:strRef>
          </c:tx>
          <c:cat>
            <c:strRef>
              <c:f>edad!$C$2:$C$20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strCache>
            </c:strRef>
          </c:cat>
          <c:val>
            <c:numRef>
              <c:f>edad!$H$2:$H$20</c:f>
              <c:numCache>
                <c:formatCode>General</c:formatCode>
                <c:ptCount val="19"/>
                <c:pt idx="0">
                  <c:v>19.2</c:v>
                </c:pt>
                <c:pt idx="1">
                  <c:v>20.399999999999999</c:v>
                </c:pt>
                <c:pt idx="2">
                  <c:v>19.7</c:v>
                </c:pt>
                <c:pt idx="3">
                  <c:v>17.5</c:v>
                </c:pt>
                <c:pt idx="4">
                  <c:v>20</c:v>
                </c:pt>
                <c:pt idx="5">
                  <c:v>19.8</c:v>
                </c:pt>
                <c:pt idx="6">
                  <c:v>19.2</c:v>
                </c:pt>
                <c:pt idx="7">
                  <c:v>21.9</c:v>
                </c:pt>
                <c:pt idx="8">
                  <c:v>20.9</c:v>
                </c:pt>
                <c:pt idx="9">
                  <c:v>19.5</c:v>
                </c:pt>
                <c:pt idx="10">
                  <c:v>21.1</c:v>
                </c:pt>
                <c:pt idx="11">
                  <c:v>21.4</c:v>
                </c:pt>
                <c:pt idx="12">
                  <c:v>20.5</c:v>
                </c:pt>
                <c:pt idx="13">
                  <c:v>20.9</c:v>
                </c:pt>
                <c:pt idx="14">
                  <c:v>23.7</c:v>
                </c:pt>
                <c:pt idx="15">
                  <c:v>21</c:v>
                </c:pt>
                <c:pt idx="16">
                  <c:v>22.1</c:v>
                </c:pt>
                <c:pt idx="17">
                  <c:v>23.8</c:v>
                </c:pt>
                <c:pt idx="18">
                  <c:v>25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12E6-4604-92F2-44E25F69960F}"/>
            </c:ext>
          </c:extLst>
        </c:ser>
        <c:ser>
          <c:idx val="5"/>
          <c:order val="5"/>
          <c:tx>
            <c:strRef>
              <c:f>edad!$I$1</c:f>
              <c:strCache>
                <c:ptCount val="1"/>
                <c:pt idx="0">
                  <c:v>70-79</c:v>
                </c:pt>
              </c:strCache>
            </c:strRef>
          </c:tx>
          <c:cat>
            <c:strRef>
              <c:f>edad!$C$2:$C$20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strCache>
            </c:strRef>
          </c:cat>
          <c:val>
            <c:numRef>
              <c:f>edad!$I$2:$I$20</c:f>
              <c:numCache>
                <c:formatCode>General</c:formatCode>
                <c:ptCount val="19"/>
                <c:pt idx="0">
                  <c:v>11.4</c:v>
                </c:pt>
                <c:pt idx="1">
                  <c:v>12.7</c:v>
                </c:pt>
                <c:pt idx="2">
                  <c:v>13.7</c:v>
                </c:pt>
                <c:pt idx="3">
                  <c:v>15.2</c:v>
                </c:pt>
                <c:pt idx="4">
                  <c:v>16.5</c:v>
                </c:pt>
                <c:pt idx="5">
                  <c:v>16.100000000000001</c:v>
                </c:pt>
                <c:pt idx="6">
                  <c:v>17.600000000000001</c:v>
                </c:pt>
                <c:pt idx="7">
                  <c:v>18.600000000000001</c:v>
                </c:pt>
                <c:pt idx="8">
                  <c:v>20.399999999999999</c:v>
                </c:pt>
                <c:pt idx="9">
                  <c:v>21.7</c:v>
                </c:pt>
                <c:pt idx="10">
                  <c:v>20.6</c:v>
                </c:pt>
                <c:pt idx="11">
                  <c:v>25.8</c:v>
                </c:pt>
                <c:pt idx="12">
                  <c:v>22.8</c:v>
                </c:pt>
                <c:pt idx="13">
                  <c:v>23.1</c:v>
                </c:pt>
                <c:pt idx="14">
                  <c:v>21.2</c:v>
                </c:pt>
                <c:pt idx="15">
                  <c:v>22.5</c:v>
                </c:pt>
                <c:pt idx="16">
                  <c:v>22.6</c:v>
                </c:pt>
                <c:pt idx="17">
                  <c:v>21.9</c:v>
                </c:pt>
                <c:pt idx="18">
                  <c:v>22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12E6-4604-92F2-44E25F69960F}"/>
            </c:ext>
          </c:extLst>
        </c:ser>
        <c:ser>
          <c:idx val="6"/>
          <c:order val="6"/>
          <c:tx>
            <c:strRef>
              <c:f>edad!$J$1</c:f>
              <c:strCache>
                <c:ptCount val="1"/>
                <c:pt idx="0">
                  <c:v>≥80</c:v>
                </c:pt>
              </c:strCache>
            </c:strRef>
          </c:tx>
          <c:cat>
            <c:strRef>
              <c:f>edad!$C$2:$C$20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strCache>
            </c:strRef>
          </c:cat>
          <c:val>
            <c:numRef>
              <c:f>edad!$J$2:$J$20</c:f>
              <c:numCache>
                <c:formatCode>General</c:formatCode>
                <c:ptCount val="19"/>
                <c:pt idx="0">
                  <c:v>0.9</c:v>
                </c:pt>
                <c:pt idx="1">
                  <c:v>0.7</c:v>
                </c:pt>
                <c:pt idx="2">
                  <c:v>1</c:v>
                </c:pt>
                <c:pt idx="3">
                  <c:v>1.2</c:v>
                </c:pt>
                <c:pt idx="4">
                  <c:v>1.7</c:v>
                </c:pt>
                <c:pt idx="5">
                  <c:v>2.1</c:v>
                </c:pt>
                <c:pt idx="6">
                  <c:v>2</c:v>
                </c:pt>
                <c:pt idx="7">
                  <c:v>2.4</c:v>
                </c:pt>
                <c:pt idx="8">
                  <c:v>3</c:v>
                </c:pt>
                <c:pt idx="9">
                  <c:v>3.7</c:v>
                </c:pt>
                <c:pt idx="10">
                  <c:v>4.9000000000000004</c:v>
                </c:pt>
                <c:pt idx="11">
                  <c:v>6.5</c:v>
                </c:pt>
                <c:pt idx="12">
                  <c:v>7.5</c:v>
                </c:pt>
                <c:pt idx="13">
                  <c:v>8.4</c:v>
                </c:pt>
                <c:pt idx="14">
                  <c:v>8.9</c:v>
                </c:pt>
                <c:pt idx="15">
                  <c:v>9.6999999999999993</c:v>
                </c:pt>
                <c:pt idx="16">
                  <c:v>9.8000000000000007</c:v>
                </c:pt>
                <c:pt idx="17">
                  <c:v>8.9</c:v>
                </c:pt>
                <c:pt idx="18">
                  <c:v>8.699999999999999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12E6-4604-92F2-44E25F6996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9278208"/>
        <c:axId val="99284096"/>
      </c:areaChart>
      <c:catAx>
        <c:axId val="992782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99284096"/>
        <c:crosses val="autoZero"/>
        <c:auto val="1"/>
        <c:lblAlgn val="ctr"/>
        <c:lblOffset val="100"/>
        <c:noMultiLvlLbl val="0"/>
      </c:catAx>
      <c:valAx>
        <c:axId val="99284096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es-ES"/>
          </a:p>
        </c:txPr>
        <c:crossAx val="99278208"/>
        <c:crosses val="autoZero"/>
        <c:crossBetween val="midCat"/>
      </c:valAx>
      <c:dTable>
        <c:showHorzBorder val="1"/>
        <c:showVertBorder val="1"/>
        <c:showOutline val="1"/>
        <c:showKeys val="0"/>
        <c:spPr>
          <a:ln w="12700"/>
        </c:spPr>
        <c:txPr>
          <a:bodyPr/>
          <a:lstStyle/>
          <a:p>
            <a:pPr rtl="0"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es-ES"/>
          </a:p>
        </c:txPr>
      </c:dTable>
    </c:plotArea>
    <c:legend>
      <c:legendPos val="r"/>
      <c:layout>
        <c:manualLayout>
          <c:xMode val="edge"/>
          <c:yMode val="edge"/>
          <c:x val="0.16932723324899135"/>
          <c:y val="9.0066977079318979E-4"/>
          <c:w val="0.69296520232743475"/>
          <c:h val="3.3773783364402281E-2"/>
        </c:manualLayout>
      </c:layout>
      <c:overlay val="0"/>
      <c:spPr>
        <a:solidFill>
          <a:schemeClr val="bg1"/>
        </a:solidFill>
      </c:spPr>
      <c:txPr>
        <a:bodyPr/>
        <a:lstStyle/>
        <a:p>
          <a:pPr>
            <a:defRPr>
              <a:latin typeface="Calibri" panose="020F0502020204030204" pitchFamily="34" charset="0"/>
              <a:cs typeface="Calibri" panose="020F0502020204030204" pitchFamily="34" charset="0"/>
            </a:defRPr>
          </a:pPr>
          <a:endParaRPr lang="es-ES"/>
        </a:p>
      </c:txPr>
    </c:legend>
    <c:plotVisOnly val="1"/>
    <c:dispBlanksAs val="zero"/>
    <c:showDLblsOverMax val="0"/>
  </c:chart>
  <c:txPr>
    <a:bodyPr/>
    <a:lstStyle/>
    <a:p>
      <a:pPr>
        <a:defRPr>
          <a:solidFill>
            <a:schemeClr val="accent6">
              <a:lumMod val="50000"/>
            </a:schemeClr>
          </a:solidFill>
          <a:latin typeface="+mj-lt"/>
        </a:defRPr>
      </a:pPr>
      <a:endParaRPr lang="es-E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564548045895036E-2"/>
          <c:y val="3.0945080065418289E-2"/>
          <c:w val="0.90044532951593359"/>
          <c:h val="0.89923064160311672"/>
        </c:manualLayout>
      </c:layout>
      <c:lineChart>
        <c:grouping val="standard"/>
        <c:varyColors val="0"/>
        <c:ser>
          <c:idx val="0"/>
          <c:order val="0"/>
          <c:tx>
            <c:strRef>
              <c:f>MAXIMOS!$B$1</c:f>
              <c:strCache>
                <c:ptCount val="1"/>
                <c:pt idx="0">
                  <c:v>TX. RIÑÓN</c:v>
                </c:pt>
              </c:strCache>
            </c:strRef>
          </c:tx>
          <c:spPr>
            <a:ln w="38100">
              <a:solidFill>
                <a:srgbClr val="A5AB81"/>
              </a:solidFill>
            </a:ln>
          </c:spPr>
          <c:marker>
            <c:symbol val="none"/>
          </c:marker>
          <c:cat>
            <c:numRef>
              <c:f>MAXIMOS!$A$3:$A$23</c:f>
              <c:numCache>
                <c:formatCode>General</c:formatCode>
                <c:ptCount val="21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</c:numCache>
            </c:numRef>
          </c:cat>
          <c:val>
            <c:numRef>
              <c:f>MAXIMOS!$B$3:$B$23</c:f>
              <c:numCache>
                <c:formatCode>General</c:formatCode>
                <c:ptCount val="21"/>
                <c:pt idx="0">
                  <c:v>86</c:v>
                </c:pt>
                <c:pt idx="1">
                  <c:v>82</c:v>
                </c:pt>
                <c:pt idx="2">
                  <c:v>82</c:v>
                </c:pt>
                <c:pt idx="3">
                  <c:v>83</c:v>
                </c:pt>
                <c:pt idx="4">
                  <c:v>89</c:v>
                </c:pt>
                <c:pt idx="5">
                  <c:v>81</c:v>
                </c:pt>
                <c:pt idx="6">
                  <c:v>82</c:v>
                </c:pt>
                <c:pt idx="7">
                  <c:v>84</c:v>
                </c:pt>
                <c:pt idx="8">
                  <c:v>84</c:v>
                </c:pt>
                <c:pt idx="9">
                  <c:v>84</c:v>
                </c:pt>
                <c:pt idx="10">
                  <c:v>86</c:v>
                </c:pt>
                <c:pt idx="11">
                  <c:v>83</c:v>
                </c:pt>
                <c:pt idx="12">
                  <c:v>86</c:v>
                </c:pt>
                <c:pt idx="13">
                  <c:v>85</c:v>
                </c:pt>
                <c:pt idx="14">
                  <c:v>88</c:v>
                </c:pt>
                <c:pt idx="15">
                  <c:v>87</c:v>
                </c:pt>
                <c:pt idx="16">
                  <c:v>87</c:v>
                </c:pt>
                <c:pt idx="17">
                  <c:v>90</c:v>
                </c:pt>
                <c:pt idx="18">
                  <c:v>87</c:v>
                </c:pt>
                <c:pt idx="19">
                  <c:v>87</c:v>
                </c:pt>
                <c:pt idx="20">
                  <c:v>8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A98-4E1F-8FEF-4A9934598E98}"/>
            </c:ext>
          </c:extLst>
        </c:ser>
        <c:ser>
          <c:idx val="1"/>
          <c:order val="1"/>
          <c:tx>
            <c:strRef>
              <c:f>MAXIMOS!$C$1</c:f>
              <c:strCache>
                <c:ptCount val="1"/>
                <c:pt idx="0">
                  <c:v>TX. HÍGADO</c:v>
                </c:pt>
              </c:strCache>
            </c:strRef>
          </c:tx>
          <c:spPr>
            <a:ln w="38100">
              <a:solidFill>
                <a:srgbClr val="DD8047"/>
              </a:solidFill>
            </a:ln>
          </c:spPr>
          <c:marker>
            <c:symbol val="none"/>
          </c:marker>
          <c:cat>
            <c:numRef>
              <c:f>MAXIMOS!$A$3:$A$23</c:f>
              <c:numCache>
                <c:formatCode>General</c:formatCode>
                <c:ptCount val="21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</c:numCache>
            </c:numRef>
          </c:cat>
          <c:val>
            <c:numRef>
              <c:f>MAXIMOS!$C$3:$C$23</c:f>
              <c:numCache>
                <c:formatCode>General</c:formatCode>
                <c:ptCount val="21"/>
                <c:pt idx="0">
                  <c:v>85</c:v>
                </c:pt>
                <c:pt idx="1">
                  <c:v>86</c:v>
                </c:pt>
                <c:pt idx="2">
                  <c:v>89</c:v>
                </c:pt>
                <c:pt idx="3">
                  <c:v>85</c:v>
                </c:pt>
                <c:pt idx="4">
                  <c:v>89</c:v>
                </c:pt>
                <c:pt idx="5">
                  <c:v>87</c:v>
                </c:pt>
                <c:pt idx="6">
                  <c:v>87</c:v>
                </c:pt>
                <c:pt idx="7">
                  <c:v>84</c:v>
                </c:pt>
                <c:pt idx="8">
                  <c:v>87</c:v>
                </c:pt>
                <c:pt idx="9">
                  <c:v>86</c:v>
                </c:pt>
                <c:pt idx="10">
                  <c:v>88</c:v>
                </c:pt>
                <c:pt idx="11">
                  <c:v>86</c:v>
                </c:pt>
                <c:pt idx="12">
                  <c:v>89</c:v>
                </c:pt>
                <c:pt idx="13">
                  <c:v>89</c:v>
                </c:pt>
                <c:pt idx="14">
                  <c:v>88</c:v>
                </c:pt>
                <c:pt idx="15">
                  <c:v>90</c:v>
                </c:pt>
                <c:pt idx="16">
                  <c:v>90</c:v>
                </c:pt>
                <c:pt idx="17">
                  <c:v>91</c:v>
                </c:pt>
                <c:pt idx="18">
                  <c:v>94</c:v>
                </c:pt>
                <c:pt idx="19">
                  <c:v>91</c:v>
                </c:pt>
                <c:pt idx="20">
                  <c:v>9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A98-4E1F-8FEF-4A9934598E98}"/>
            </c:ext>
          </c:extLst>
        </c:ser>
        <c:ser>
          <c:idx val="2"/>
          <c:order val="2"/>
          <c:tx>
            <c:strRef>
              <c:f>MAXIMOS!$D$1</c:f>
              <c:strCache>
                <c:ptCount val="1"/>
                <c:pt idx="0">
                  <c:v>TX. CORAZÓN</c:v>
                </c:pt>
              </c:strCache>
            </c:strRef>
          </c:tx>
          <c:spPr>
            <a:ln w="3810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MAXIMOS!$A$3:$A$23</c:f>
              <c:numCache>
                <c:formatCode>General</c:formatCode>
                <c:ptCount val="21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</c:numCache>
            </c:numRef>
          </c:cat>
          <c:val>
            <c:numRef>
              <c:f>MAXIMOS!$D$3:$D$23</c:f>
              <c:numCache>
                <c:formatCode>General</c:formatCode>
                <c:ptCount val="21"/>
                <c:pt idx="0">
                  <c:v>66</c:v>
                </c:pt>
                <c:pt idx="1">
                  <c:v>61</c:v>
                </c:pt>
                <c:pt idx="2">
                  <c:v>67</c:v>
                </c:pt>
                <c:pt idx="3">
                  <c:v>63</c:v>
                </c:pt>
                <c:pt idx="4">
                  <c:v>59</c:v>
                </c:pt>
                <c:pt idx="5">
                  <c:v>59</c:v>
                </c:pt>
                <c:pt idx="6">
                  <c:v>64</c:v>
                </c:pt>
                <c:pt idx="7">
                  <c:v>59</c:v>
                </c:pt>
                <c:pt idx="8">
                  <c:v>61</c:v>
                </c:pt>
                <c:pt idx="9">
                  <c:v>79</c:v>
                </c:pt>
                <c:pt idx="10">
                  <c:v>62</c:v>
                </c:pt>
                <c:pt idx="11">
                  <c:v>64</c:v>
                </c:pt>
                <c:pt idx="12">
                  <c:v>62</c:v>
                </c:pt>
                <c:pt idx="13">
                  <c:v>65</c:v>
                </c:pt>
                <c:pt idx="14">
                  <c:v>62</c:v>
                </c:pt>
                <c:pt idx="15">
                  <c:v>67</c:v>
                </c:pt>
                <c:pt idx="16">
                  <c:v>69</c:v>
                </c:pt>
                <c:pt idx="17">
                  <c:v>66</c:v>
                </c:pt>
                <c:pt idx="18">
                  <c:v>75</c:v>
                </c:pt>
                <c:pt idx="19">
                  <c:v>67</c:v>
                </c:pt>
                <c:pt idx="20">
                  <c:v>7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BA98-4E1F-8FEF-4A9934598E98}"/>
            </c:ext>
          </c:extLst>
        </c:ser>
        <c:ser>
          <c:idx val="3"/>
          <c:order val="3"/>
          <c:tx>
            <c:strRef>
              <c:f>MAXIMOS!$E$1</c:f>
              <c:strCache>
                <c:ptCount val="1"/>
                <c:pt idx="0">
                  <c:v>TX. PULMÓN</c:v>
                </c:pt>
              </c:strCache>
            </c:strRef>
          </c:tx>
          <c:spPr>
            <a:ln w="38100">
              <a:solidFill>
                <a:srgbClr val="94B6D2"/>
              </a:solidFill>
            </a:ln>
          </c:spPr>
          <c:marker>
            <c:symbol val="none"/>
          </c:marker>
          <c:cat>
            <c:numRef>
              <c:f>MAXIMOS!$A$3:$A$23</c:f>
              <c:numCache>
                <c:formatCode>General</c:formatCode>
                <c:ptCount val="21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</c:numCache>
            </c:numRef>
          </c:cat>
          <c:val>
            <c:numRef>
              <c:f>MAXIMOS!$E$3:$E$23</c:f>
              <c:numCache>
                <c:formatCode>General</c:formatCode>
                <c:ptCount val="21"/>
                <c:pt idx="0">
                  <c:v>58</c:v>
                </c:pt>
                <c:pt idx="1">
                  <c:v>57</c:v>
                </c:pt>
                <c:pt idx="2">
                  <c:v>68</c:v>
                </c:pt>
                <c:pt idx="3">
                  <c:v>59</c:v>
                </c:pt>
                <c:pt idx="4">
                  <c:v>59</c:v>
                </c:pt>
                <c:pt idx="5">
                  <c:v>60</c:v>
                </c:pt>
                <c:pt idx="6">
                  <c:v>65</c:v>
                </c:pt>
                <c:pt idx="7">
                  <c:v>68</c:v>
                </c:pt>
                <c:pt idx="8">
                  <c:v>62</c:v>
                </c:pt>
                <c:pt idx="9">
                  <c:v>70</c:v>
                </c:pt>
                <c:pt idx="10">
                  <c:v>67</c:v>
                </c:pt>
                <c:pt idx="11">
                  <c:v>69</c:v>
                </c:pt>
                <c:pt idx="12">
                  <c:v>70</c:v>
                </c:pt>
                <c:pt idx="13">
                  <c:v>69</c:v>
                </c:pt>
                <c:pt idx="14">
                  <c:v>71</c:v>
                </c:pt>
                <c:pt idx="15">
                  <c:v>74</c:v>
                </c:pt>
                <c:pt idx="16">
                  <c:v>73</c:v>
                </c:pt>
                <c:pt idx="17">
                  <c:v>74</c:v>
                </c:pt>
                <c:pt idx="18">
                  <c:v>86</c:v>
                </c:pt>
                <c:pt idx="19">
                  <c:v>79</c:v>
                </c:pt>
                <c:pt idx="20">
                  <c:v>7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BA98-4E1F-8FEF-4A9934598E98}"/>
            </c:ext>
          </c:extLst>
        </c:ser>
        <c:ser>
          <c:idx val="4"/>
          <c:order val="4"/>
          <c:tx>
            <c:strRef>
              <c:f>MAXIMOS!$F$1</c:f>
              <c:strCache>
                <c:ptCount val="1"/>
                <c:pt idx="0">
                  <c:v>TX. PÁNCREAS</c:v>
                </c:pt>
              </c:strCache>
            </c:strRef>
          </c:tx>
          <c:spPr>
            <a:ln w="38100">
              <a:solidFill>
                <a:schemeClr val="accent6"/>
              </a:solidFill>
            </a:ln>
          </c:spPr>
          <c:marker>
            <c:symbol val="none"/>
          </c:marker>
          <c:cat>
            <c:numRef>
              <c:f>MAXIMOS!$A$3:$A$23</c:f>
              <c:numCache>
                <c:formatCode>General</c:formatCode>
                <c:ptCount val="21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</c:numCache>
            </c:numRef>
          </c:cat>
          <c:val>
            <c:numRef>
              <c:f>MAXIMOS!$F$3:$F$23</c:f>
              <c:numCache>
                <c:formatCode>General</c:formatCode>
                <c:ptCount val="21"/>
                <c:pt idx="0">
                  <c:v>44</c:v>
                </c:pt>
                <c:pt idx="1">
                  <c:v>43</c:v>
                </c:pt>
                <c:pt idx="2">
                  <c:v>52</c:v>
                </c:pt>
                <c:pt idx="3">
                  <c:v>45</c:v>
                </c:pt>
                <c:pt idx="4">
                  <c:v>46</c:v>
                </c:pt>
                <c:pt idx="5">
                  <c:v>54</c:v>
                </c:pt>
                <c:pt idx="6">
                  <c:v>48</c:v>
                </c:pt>
                <c:pt idx="7">
                  <c:v>49</c:v>
                </c:pt>
                <c:pt idx="8">
                  <c:v>51</c:v>
                </c:pt>
                <c:pt idx="9">
                  <c:v>45</c:v>
                </c:pt>
                <c:pt idx="10">
                  <c:v>50</c:v>
                </c:pt>
                <c:pt idx="11">
                  <c:v>52</c:v>
                </c:pt>
                <c:pt idx="12">
                  <c:v>50</c:v>
                </c:pt>
                <c:pt idx="13">
                  <c:v>51</c:v>
                </c:pt>
                <c:pt idx="14">
                  <c:v>50</c:v>
                </c:pt>
                <c:pt idx="15">
                  <c:v>49</c:v>
                </c:pt>
                <c:pt idx="16">
                  <c:v>55</c:v>
                </c:pt>
                <c:pt idx="17">
                  <c:v>49</c:v>
                </c:pt>
                <c:pt idx="18">
                  <c:v>49</c:v>
                </c:pt>
                <c:pt idx="19">
                  <c:v>49</c:v>
                </c:pt>
                <c:pt idx="20">
                  <c:v>5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BA98-4E1F-8FEF-4A9934598E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589568"/>
        <c:axId val="100591104"/>
      </c:lineChart>
      <c:catAx>
        <c:axId val="1005895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s-ES"/>
          </a:p>
        </c:txPr>
        <c:crossAx val="100591104"/>
        <c:crosses val="autoZero"/>
        <c:auto val="1"/>
        <c:lblAlgn val="ctr"/>
        <c:lblOffset val="100"/>
        <c:noMultiLvlLbl val="0"/>
      </c:catAx>
      <c:valAx>
        <c:axId val="100591104"/>
        <c:scaling>
          <c:orientation val="minMax"/>
        </c:scaling>
        <c:delete val="0"/>
        <c:axPos val="l"/>
        <c:majorGridlines>
          <c:spPr>
            <a:ln>
              <a:prstDash val="sysDot"/>
            </a:ln>
          </c:spPr>
        </c:majorGridlines>
        <c:title>
          <c:tx>
            <c:rich>
              <a:bodyPr/>
              <a:lstStyle/>
              <a:p>
                <a:pPr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s-ES"/>
                  <a:t>Edad máxima del donante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s-ES"/>
          </a:p>
        </c:txPr>
        <c:crossAx val="1005895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1261487794616627"/>
          <c:y val="0.71316143426505285"/>
          <c:w val="0.83715173512630825"/>
          <c:h val="8.814838232265558E-2"/>
        </c:manualLayout>
      </c:layout>
      <c:overlay val="0"/>
      <c:spPr>
        <a:solidFill>
          <a:schemeClr val="lt1"/>
        </a:solidFill>
        <a:ln w="3175" cap="flat" cmpd="sng" algn="ctr">
          <a:solidFill>
            <a:sysClr val="windowText" lastClr="000000"/>
          </a:solidFill>
          <a:prstDash val="solid"/>
        </a:ln>
        <a:effectLst/>
      </c:spPr>
      <c:txPr>
        <a:bodyPr/>
        <a:lstStyle/>
        <a:p>
          <a:pPr>
            <a:defRPr sz="1285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es-ES"/>
        </a:p>
      </c:txPr>
    </c:legend>
    <c:plotVisOnly val="1"/>
    <c:dispBlanksAs val="gap"/>
    <c:showDLblsOverMax val="0"/>
  </c:chart>
  <c:spPr>
    <a:solidFill>
      <a:srgbClr val="FFFFFF"/>
    </a:solidFill>
    <a:ln>
      <a:solidFill>
        <a:sysClr val="window" lastClr="FFFFFF">
          <a:lumMod val="65000"/>
        </a:sysClr>
      </a:solidFill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s-ES"/>
    </a:p>
  </c:txPr>
  <c:externalData r:id="rId2">
    <c:autoUpdate val="0"/>
  </c:externalData>
  <c:userShapes r:id="rId3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446934211610897E-2"/>
          <c:y val="8.156656358642414E-2"/>
          <c:w val="0.82476247618604559"/>
          <c:h val="0.8303148560962906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II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es-E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24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  <c:pt idx="22">
                  <c:v>2018</c:v>
                </c:pt>
              </c:numCache>
            </c:numRef>
          </c:cat>
          <c:val>
            <c:numRef>
              <c:f>Hoja1!$B$2:$B$24</c:f>
              <c:numCache>
                <c:formatCode>General</c:formatCode>
                <c:ptCount val="23"/>
                <c:pt idx="0">
                  <c:v>35</c:v>
                </c:pt>
                <c:pt idx="1">
                  <c:v>35</c:v>
                </c:pt>
                <c:pt idx="2">
                  <c:v>43</c:v>
                </c:pt>
                <c:pt idx="3">
                  <c:v>36</c:v>
                </c:pt>
                <c:pt idx="4">
                  <c:v>32</c:v>
                </c:pt>
                <c:pt idx="5">
                  <c:v>32</c:v>
                </c:pt>
                <c:pt idx="6">
                  <c:v>17</c:v>
                </c:pt>
                <c:pt idx="7">
                  <c:v>49</c:v>
                </c:pt>
                <c:pt idx="8">
                  <c:v>56</c:v>
                </c:pt>
                <c:pt idx="9">
                  <c:v>71</c:v>
                </c:pt>
                <c:pt idx="10">
                  <c:v>70</c:v>
                </c:pt>
                <c:pt idx="11">
                  <c:v>76</c:v>
                </c:pt>
                <c:pt idx="12">
                  <c:v>88</c:v>
                </c:pt>
                <c:pt idx="13">
                  <c:v>107</c:v>
                </c:pt>
                <c:pt idx="14">
                  <c:v>128</c:v>
                </c:pt>
                <c:pt idx="15">
                  <c:v>112</c:v>
                </c:pt>
                <c:pt idx="16">
                  <c:v>138</c:v>
                </c:pt>
                <c:pt idx="17">
                  <c:v>108</c:v>
                </c:pt>
                <c:pt idx="18">
                  <c:v>107</c:v>
                </c:pt>
                <c:pt idx="19">
                  <c:v>103</c:v>
                </c:pt>
                <c:pt idx="20">
                  <c:v>123</c:v>
                </c:pt>
                <c:pt idx="21">
                  <c:v>99</c:v>
                </c:pt>
                <c:pt idx="22">
                  <c:v>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ACB-4341-AB5D-6EED05248462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III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24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  <c:pt idx="22">
                  <c:v>2018</c:v>
                </c:pt>
              </c:numCache>
            </c:numRef>
          </c:cat>
          <c:val>
            <c:numRef>
              <c:f>Hoja1!$C$2:$C$24</c:f>
              <c:numCache>
                <c:formatCode>General</c:formatCode>
                <c:ptCount val="23"/>
                <c:pt idx="13">
                  <c:v>1</c:v>
                </c:pt>
                <c:pt idx="14">
                  <c:v>2</c:v>
                </c:pt>
                <c:pt idx="15">
                  <c:v>5</c:v>
                </c:pt>
                <c:pt idx="16">
                  <c:v>23</c:v>
                </c:pt>
                <c:pt idx="17">
                  <c:v>51</c:v>
                </c:pt>
                <c:pt idx="18">
                  <c:v>84</c:v>
                </c:pt>
                <c:pt idx="19">
                  <c:v>211</c:v>
                </c:pt>
                <c:pt idx="20">
                  <c:v>370</c:v>
                </c:pt>
                <c:pt idx="21">
                  <c:v>473</c:v>
                </c:pt>
                <c:pt idx="22">
                  <c:v>5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ACB-4341-AB5D-6EED05248462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IV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accent3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24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  <c:pt idx="22">
                  <c:v>2018</c:v>
                </c:pt>
              </c:numCache>
            </c:numRef>
          </c:cat>
          <c:val>
            <c:numRef>
              <c:f>Hoja1!$D$2:$D$24</c:f>
              <c:numCache>
                <c:formatCode>General</c:formatCode>
                <c:ptCount val="23"/>
                <c:pt idx="6">
                  <c:v>1</c:v>
                </c:pt>
                <c:pt idx="18">
                  <c:v>2</c:v>
                </c:pt>
                <c:pt idx="20">
                  <c:v>2</c:v>
                </c:pt>
                <c:pt idx="21">
                  <c:v>1</c:v>
                </c:pt>
                <c:pt idx="22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DACB-4341-AB5D-6EED052484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08881408"/>
        <c:axId val="108875136"/>
      </c:barChart>
      <c:lineChart>
        <c:grouping val="standard"/>
        <c:varyColors val="0"/>
        <c:ser>
          <c:idx val="3"/>
          <c:order val="3"/>
          <c:tx>
            <c:strRef>
              <c:f>Hoja1!$E$1</c:f>
              <c:strCache>
                <c:ptCount val="1"/>
                <c:pt idx="0">
                  <c:v>Tasa (pmp)</c:v>
                </c:pt>
              </c:strCache>
            </c:strRef>
          </c:tx>
          <c:spPr>
            <a:ln w="38100">
              <a:solidFill>
                <a:schemeClr val="accent3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oja1!$A$2:$A$24</c:f>
              <c:numCache>
                <c:formatCode>General</c:formatCode>
                <c:ptCount val="23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  <c:pt idx="22">
                  <c:v>2018</c:v>
                </c:pt>
              </c:numCache>
            </c:numRef>
          </c:cat>
          <c:val>
            <c:numRef>
              <c:f>Hoja1!$E$2:$E$24</c:f>
              <c:numCache>
                <c:formatCode>General</c:formatCode>
                <c:ptCount val="23"/>
                <c:pt idx="0">
                  <c:v>0.9</c:v>
                </c:pt>
                <c:pt idx="1">
                  <c:v>0.9</c:v>
                </c:pt>
                <c:pt idx="2">
                  <c:v>1</c:v>
                </c:pt>
                <c:pt idx="3">
                  <c:v>0.9</c:v>
                </c:pt>
                <c:pt idx="4">
                  <c:v>0.8</c:v>
                </c:pt>
                <c:pt idx="5">
                  <c:v>0.8</c:v>
                </c:pt>
                <c:pt idx="6">
                  <c:v>0.4</c:v>
                </c:pt>
                <c:pt idx="7">
                  <c:v>1.1000000000000001</c:v>
                </c:pt>
                <c:pt idx="8">
                  <c:v>1.3</c:v>
                </c:pt>
                <c:pt idx="9">
                  <c:v>1.6</c:v>
                </c:pt>
                <c:pt idx="10">
                  <c:v>1.6</c:v>
                </c:pt>
                <c:pt idx="11">
                  <c:v>1.7</c:v>
                </c:pt>
                <c:pt idx="12">
                  <c:v>1.9</c:v>
                </c:pt>
                <c:pt idx="13">
                  <c:v>2.2999999999999998</c:v>
                </c:pt>
                <c:pt idx="14">
                  <c:v>2.7</c:v>
                </c:pt>
                <c:pt idx="15">
                  <c:v>2.5</c:v>
                </c:pt>
                <c:pt idx="16">
                  <c:v>3.4</c:v>
                </c:pt>
                <c:pt idx="17">
                  <c:v>3.4</c:v>
                </c:pt>
                <c:pt idx="18">
                  <c:v>4.0999999999999996</c:v>
                </c:pt>
                <c:pt idx="19">
                  <c:v>6.7</c:v>
                </c:pt>
                <c:pt idx="20">
                  <c:v>10.6</c:v>
                </c:pt>
                <c:pt idx="21">
                  <c:v>12.3</c:v>
                </c:pt>
                <c:pt idx="22">
                  <c:v>13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DACB-4341-AB5D-6EED052484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8871680"/>
        <c:axId val="108873216"/>
      </c:lineChart>
      <c:catAx>
        <c:axId val="1088716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es-ES"/>
          </a:p>
        </c:txPr>
        <c:crossAx val="108873216"/>
        <c:crosses val="autoZero"/>
        <c:auto val="1"/>
        <c:lblAlgn val="ctr"/>
        <c:lblOffset val="100"/>
        <c:noMultiLvlLbl val="0"/>
      </c:catAx>
      <c:valAx>
        <c:axId val="108873216"/>
        <c:scaling>
          <c:orientation val="minMax"/>
          <c:max val="14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600"/>
                </a:pPr>
                <a:r>
                  <a:rPr lang="es-ES" sz="1600" dirty="0" smtClean="0"/>
                  <a:t>Tasa pmp</a:t>
                </a:r>
                <a:endParaRPr lang="es-ES" sz="1600" dirty="0"/>
              </a:p>
            </c:rich>
          </c:tx>
          <c:layout>
            <c:manualLayout>
              <c:xMode val="edge"/>
              <c:yMode val="edge"/>
              <c:x val="4.6170945163799002E-3"/>
              <c:y val="0.37090741872685923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s-ES"/>
          </a:p>
        </c:txPr>
        <c:crossAx val="108871680"/>
        <c:crosses val="autoZero"/>
        <c:crossBetween val="between"/>
      </c:valAx>
      <c:valAx>
        <c:axId val="108875136"/>
        <c:scaling>
          <c:orientation val="minMax"/>
          <c:max val="70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 sz="1600"/>
                </a:pPr>
                <a:r>
                  <a:rPr lang="es-ES" sz="1600" dirty="0" smtClean="0"/>
                  <a:t>Número absoluto</a:t>
                </a:r>
                <a:endParaRPr lang="es-ES" sz="1600" dirty="0"/>
              </a:p>
            </c:rich>
          </c:tx>
          <c:layout>
            <c:manualLayout>
              <c:xMode val="edge"/>
              <c:yMode val="edge"/>
              <c:x val="0.9624791073056197"/>
              <c:y val="0.31108066985612709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s-ES"/>
          </a:p>
        </c:txPr>
        <c:crossAx val="108881408"/>
        <c:crosses val="max"/>
        <c:crossBetween val="between"/>
        <c:majorUnit val="100"/>
      </c:valAx>
      <c:catAx>
        <c:axId val="1088814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8875136"/>
        <c:crosses val="autoZero"/>
        <c:auto val="1"/>
        <c:lblAlgn val="ctr"/>
        <c:lblOffset val="100"/>
        <c:noMultiLvlLbl val="0"/>
      </c:catAx>
      <c:spPr>
        <a:solidFill>
          <a:schemeClr val="bg1"/>
        </a:solidFill>
      </c:spPr>
    </c:plotArea>
    <c:legend>
      <c:legendPos val="r"/>
      <c:layout>
        <c:manualLayout>
          <c:xMode val="edge"/>
          <c:yMode val="edge"/>
          <c:x val="0.30136570846966826"/>
          <c:y val="1.4471155421429455E-3"/>
          <c:w val="0.45881002265351772"/>
          <c:h val="0.11533146892911791"/>
        </c:manualLayout>
      </c:layout>
      <c:overlay val="0"/>
      <c:txPr>
        <a:bodyPr/>
        <a:lstStyle/>
        <a:p>
          <a:pPr>
            <a:defRPr sz="1600" b="1"/>
          </a:pPr>
          <a:endParaRPr lang="es-ES"/>
        </a:p>
      </c:txPr>
    </c:legend>
    <c:plotVisOnly val="1"/>
    <c:dispBlanksAs val="gap"/>
    <c:showDLblsOverMax val="0"/>
  </c:chart>
  <c:spPr>
    <a:solidFill>
      <a:schemeClr val="accent2">
        <a:lumMod val="20000"/>
        <a:lumOff val="80000"/>
      </a:schemeClr>
    </a:solidFill>
    <a:ln>
      <a:solidFill>
        <a:srgbClr val="C00000"/>
      </a:solidFill>
    </a:ln>
  </c:spPr>
  <c:txPr>
    <a:bodyPr/>
    <a:lstStyle/>
    <a:p>
      <a:pPr>
        <a:defRPr sz="1800">
          <a:latin typeface="Calibri" panose="020F0502020204030204" pitchFamily="34" charset="0"/>
        </a:defRPr>
      </a:pPr>
      <a:endParaRPr lang="es-E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608035843057485E-2"/>
          <c:y val="6.9892167625605781E-2"/>
          <c:w val="0.8817571006940681"/>
          <c:h val="0.85949007907529884"/>
        </c:manualLayout>
      </c:layout>
      <c:areaChart>
        <c:grouping val="stacked"/>
        <c:varyColors val="0"/>
        <c:ser>
          <c:idx val="0"/>
          <c:order val="0"/>
          <c:tx>
            <c:strRef>
              <c:f>'Datos evolutivos de trasplante'!$A$2</c:f>
              <c:strCache>
                <c:ptCount val="1"/>
                <c:pt idx="0">
                  <c:v>Tx Renal</c:v>
                </c:pt>
              </c:strCache>
            </c:strRef>
          </c:tx>
          <c:spPr>
            <a:solidFill>
              <a:schemeClr val="accent1"/>
            </a:solidFill>
          </c:spPr>
          <c:cat>
            <c:numRef>
              <c:f>'Datos evolutivos de trasplante'!$B$1:$AE$1</c:f>
              <c:numCache>
                <c:formatCode>General</c:formatCode>
                <c:ptCount val="30"/>
                <c:pt idx="0">
                  <c:v>1989</c:v>
                </c:pt>
                <c:pt idx="1">
                  <c:v>1990</c:v>
                </c:pt>
                <c:pt idx="2">
                  <c:v>1991</c:v>
                </c:pt>
                <c:pt idx="3">
                  <c:v>1992</c:v>
                </c:pt>
                <c:pt idx="4">
                  <c:v>1993</c:v>
                </c:pt>
                <c:pt idx="5">
                  <c:v>1994</c:v>
                </c:pt>
                <c:pt idx="6">
                  <c:v>1995</c:v>
                </c:pt>
                <c:pt idx="7">
                  <c:v>1996</c:v>
                </c:pt>
                <c:pt idx="8">
                  <c:v>1997</c:v>
                </c:pt>
                <c:pt idx="9">
                  <c:v>1998</c:v>
                </c:pt>
                <c:pt idx="10">
                  <c:v>1999</c:v>
                </c:pt>
                <c:pt idx="11">
                  <c:v>2000</c:v>
                </c:pt>
                <c:pt idx="12">
                  <c:v>2001</c:v>
                </c:pt>
                <c:pt idx="13">
                  <c:v>2002</c:v>
                </c:pt>
                <c:pt idx="14">
                  <c:v>2003</c:v>
                </c:pt>
                <c:pt idx="15">
                  <c:v>2004</c:v>
                </c:pt>
                <c:pt idx="16">
                  <c:v>2005</c:v>
                </c:pt>
                <c:pt idx="17">
                  <c:v>2006</c:v>
                </c:pt>
                <c:pt idx="18">
                  <c:v>2007</c:v>
                </c:pt>
                <c:pt idx="19">
                  <c:v>2008</c:v>
                </c:pt>
                <c:pt idx="20">
                  <c:v>2009</c:v>
                </c:pt>
                <c:pt idx="21">
                  <c:v>2010</c:v>
                </c:pt>
                <c:pt idx="22">
                  <c:v>2011</c:v>
                </c:pt>
                <c:pt idx="23">
                  <c:v>2012</c:v>
                </c:pt>
                <c:pt idx="24">
                  <c:v>2013</c:v>
                </c:pt>
                <c:pt idx="25">
                  <c:v>2014</c:v>
                </c:pt>
                <c:pt idx="26">
                  <c:v>2015</c:v>
                </c:pt>
                <c:pt idx="27">
                  <c:v>2016</c:v>
                </c:pt>
                <c:pt idx="28">
                  <c:v>2017</c:v>
                </c:pt>
                <c:pt idx="29">
                  <c:v>2018</c:v>
                </c:pt>
              </c:numCache>
            </c:numRef>
          </c:cat>
          <c:val>
            <c:numRef>
              <c:f>'Datos evolutivos de trasplante'!$B$2:$AE$2</c:f>
              <c:numCache>
                <c:formatCode>#,##0</c:formatCode>
                <c:ptCount val="30"/>
                <c:pt idx="0">
                  <c:v>1039</c:v>
                </c:pt>
                <c:pt idx="1">
                  <c:v>1240</c:v>
                </c:pt>
                <c:pt idx="2">
                  <c:v>1371</c:v>
                </c:pt>
                <c:pt idx="3">
                  <c:v>1492</c:v>
                </c:pt>
                <c:pt idx="4" formatCode="General">
                  <c:v>1488</c:v>
                </c:pt>
                <c:pt idx="5" formatCode="General">
                  <c:v>1633</c:v>
                </c:pt>
                <c:pt idx="6" formatCode="General">
                  <c:v>1800</c:v>
                </c:pt>
                <c:pt idx="7" formatCode="General">
                  <c:v>1707</c:v>
                </c:pt>
                <c:pt idx="8" formatCode="General">
                  <c:v>1861</c:v>
                </c:pt>
                <c:pt idx="9" formatCode="General">
                  <c:v>1996</c:v>
                </c:pt>
                <c:pt idx="10" formatCode="General">
                  <c:v>2023</c:v>
                </c:pt>
                <c:pt idx="11" formatCode="General">
                  <c:v>1938</c:v>
                </c:pt>
                <c:pt idx="12" formatCode="General">
                  <c:v>1924</c:v>
                </c:pt>
                <c:pt idx="13" formatCode="General">
                  <c:v>2032</c:v>
                </c:pt>
                <c:pt idx="14" formatCode="General">
                  <c:v>2131</c:v>
                </c:pt>
                <c:pt idx="15" formatCode="General">
                  <c:v>2125</c:v>
                </c:pt>
                <c:pt idx="16" formatCode="General">
                  <c:v>2200</c:v>
                </c:pt>
                <c:pt idx="17" formatCode="General">
                  <c:v>2157</c:v>
                </c:pt>
                <c:pt idx="18" formatCode="General">
                  <c:v>2211</c:v>
                </c:pt>
                <c:pt idx="19" formatCode="General">
                  <c:v>2229</c:v>
                </c:pt>
                <c:pt idx="20" formatCode="General">
                  <c:v>2328</c:v>
                </c:pt>
                <c:pt idx="21" formatCode="General">
                  <c:v>2225</c:v>
                </c:pt>
                <c:pt idx="22" formatCode="General">
                  <c:v>2498</c:v>
                </c:pt>
                <c:pt idx="23" formatCode="General">
                  <c:v>2551</c:v>
                </c:pt>
                <c:pt idx="24" formatCode="General">
                  <c:v>2552</c:v>
                </c:pt>
                <c:pt idx="25" formatCode="General">
                  <c:v>2675</c:v>
                </c:pt>
                <c:pt idx="26" formatCode="General">
                  <c:v>2907</c:v>
                </c:pt>
                <c:pt idx="27" formatCode="General">
                  <c:v>2997</c:v>
                </c:pt>
                <c:pt idx="28" formatCode="General">
                  <c:v>3269</c:v>
                </c:pt>
                <c:pt idx="29" formatCode="General">
                  <c:v>33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8EB-4272-8DF7-176CC28F7E48}"/>
            </c:ext>
          </c:extLst>
        </c:ser>
        <c:ser>
          <c:idx val="1"/>
          <c:order val="1"/>
          <c:tx>
            <c:strRef>
              <c:f>'Datos evolutivos de trasplante'!$A$3</c:f>
              <c:strCache>
                <c:ptCount val="1"/>
                <c:pt idx="0">
                  <c:v>Tx Hepático</c:v>
                </c:pt>
              </c:strCache>
            </c:strRef>
          </c:tx>
          <c:spPr>
            <a:solidFill>
              <a:schemeClr val="accent2"/>
            </a:solidFill>
          </c:spPr>
          <c:cat>
            <c:numRef>
              <c:f>'Datos evolutivos de trasplante'!$B$1:$AE$1</c:f>
              <c:numCache>
                <c:formatCode>General</c:formatCode>
                <c:ptCount val="30"/>
                <c:pt idx="0">
                  <c:v>1989</c:v>
                </c:pt>
                <c:pt idx="1">
                  <c:v>1990</c:v>
                </c:pt>
                <c:pt idx="2">
                  <c:v>1991</c:v>
                </c:pt>
                <c:pt idx="3">
                  <c:v>1992</c:v>
                </c:pt>
                <c:pt idx="4">
                  <c:v>1993</c:v>
                </c:pt>
                <c:pt idx="5">
                  <c:v>1994</c:v>
                </c:pt>
                <c:pt idx="6">
                  <c:v>1995</c:v>
                </c:pt>
                <c:pt idx="7">
                  <c:v>1996</c:v>
                </c:pt>
                <c:pt idx="8">
                  <c:v>1997</c:v>
                </c:pt>
                <c:pt idx="9">
                  <c:v>1998</c:v>
                </c:pt>
                <c:pt idx="10">
                  <c:v>1999</c:v>
                </c:pt>
                <c:pt idx="11">
                  <c:v>2000</c:v>
                </c:pt>
                <c:pt idx="12">
                  <c:v>2001</c:v>
                </c:pt>
                <c:pt idx="13">
                  <c:v>2002</c:v>
                </c:pt>
                <c:pt idx="14">
                  <c:v>2003</c:v>
                </c:pt>
                <c:pt idx="15">
                  <c:v>2004</c:v>
                </c:pt>
                <c:pt idx="16">
                  <c:v>2005</c:v>
                </c:pt>
                <c:pt idx="17">
                  <c:v>2006</c:v>
                </c:pt>
                <c:pt idx="18">
                  <c:v>2007</c:v>
                </c:pt>
                <c:pt idx="19">
                  <c:v>2008</c:v>
                </c:pt>
                <c:pt idx="20">
                  <c:v>2009</c:v>
                </c:pt>
                <c:pt idx="21">
                  <c:v>2010</c:v>
                </c:pt>
                <c:pt idx="22">
                  <c:v>2011</c:v>
                </c:pt>
                <c:pt idx="23">
                  <c:v>2012</c:v>
                </c:pt>
                <c:pt idx="24">
                  <c:v>2013</c:v>
                </c:pt>
                <c:pt idx="25">
                  <c:v>2014</c:v>
                </c:pt>
                <c:pt idx="26">
                  <c:v>2015</c:v>
                </c:pt>
                <c:pt idx="27">
                  <c:v>2016</c:v>
                </c:pt>
                <c:pt idx="28">
                  <c:v>2017</c:v>
                </c:pt>
                <c:pt idx="29">
                  <c:v>2018</c:v>
                </c:pt>
              </c:numCache>
            </c:numRef>
          </c:cat>
          <c:val>
            <c:numRef>
              <c:f>'Datos evolutivos de trasplante'!$B$3:$AE$3</c:f>
              <c:numCache>
                <c:formatCode>#,##0</c:formatCode>
                <c:ptCount val="30"/>
                <c:pt idx="0">
                  <c:v>170</c:v>
                </c:pt>
                <c:pt idx="1">
                  <c:v>313</c:v>
                </c:pt>
                <c:pt idx="2">
                  <c:v>412</c:v>
                </c:pt>
                <c:pt idx="3">
                  <c:v>468</c:v>
                </c:pt>
                <c:pt idx="4" formatCode="General">
                  <c:v>495</c:v>
                </c:pt>
                <c:pt idx="5" formatCode="General">
                  <c:v>614</c:v>
                </c:pt>
                <c:pt idx="6" formatCode="General">
                  <c:v>698</c:v>
                </c:pt>
                <c:pt idx="7" formatCode="General">
                  <c:v>700</c:v>
                </c:pt>
                <c:pt idx="8" formatCode="General">
                  <c:v>790</c:v>
                </c:pt>
                <c:pt idx="9" formatCode="General">
                  <c:v>899</c:v>
                </c:pt>
                <c:pt idx="10" formatCode="General">
                  <c:v>960</c:v>
                </c:pt>
                <c:pt idx="11" formatCode="General">
                  <c:v>954</c:v>
                </c:pt>
                <c:pt idx="12" formatCode="General">
                  <c:v>972</c:v>
                </c:pt>
                <c:pt idx="13" formatCode="General">
                  <c:v>1033</c:v>
                </c:pt>
                <c:pt idx="14" formatCode="General">
                  <c:v>1037</c:v>
                </c:pt>
                <c:pt idx="15" formatCode="General">
                  <c:v>1040</c:v>
                </c:pt>
                <c:pt idx="16" formatCode="General">
                  <c:v>1070</c:v>
                </c:pt>
                <c:pt idx="17" formatCode="General">
                  <c:v>1051</c:v>
                </c:pt>
                <c:pt idx="18" formatCode="General">
                  <c:v>1112</c:v>
                </c:pt>
                <c:pt idx="19" formatCode="General">
                  <c:v>1108</c:v>
                </c:pt>
                <c:pt idx="20" formatCode="General">
                  <c:v>1099</c:v>
                </c:pt>
                <c:pt idx="21" formatCode="General">
                  <c:v>971</c:v>
                </c:pt>
                <c:pt idx="22" formatCode="General">
                  <c:v>1137</c:v>
                </c:pt>
                <c:pt idx="23" formatCode="General">
                  <c:v>1084</c:v>
                </c:pt>
                <c:pt idx="24" formatCode="General">
                  <c:v>1093</c:v>
                </c:pt>
                <c:pt idx="25" formatCode="General">
                  <c:v>1068</c:v>
                </c:pt>
                <c:pt idx="26" formatCode="General">
                  <c:v>1162</c:v>
                </c:pt>
                <c:pt idx="27" formatCode="General">
                  <c:v>1159</c:v>
                </c:pt>
                <c:pt idx="28" formatCode="General">
                  <c:v>1247</c:v>
                </c:pt>
                <c:pt idx="29" formatCode="General">
                  <c:v>12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8EB-4272-8DF7-176CC28F7E48}"/>
            </c:ext>
          </c:extLst>
        </c:ser>
        <c:ser>
          <c:idx val="2"/>
          <c:order val="2"/>
          <c:tx>
            <c:strRef>
              <c:f>'Datos evolutivos de trasplante'!$A$4</c:f>
              <c:strCache>
                <c:ptCount val="1"/>
                <c:pt idx="0">
                  <c:v>Tx Cardiaco</c:v>
                </c:pt>
              </c:strCache>
            </c:strRef>
          </c:tx>
          <c:spPr>
            <a:solidFill>
              <a:schemeClr val="accent5"/>
            </a:solidFill>
          </c:spPr>
          <c:cat>
            <c:numRef>
              <c:f>'Datos evolutivos de trasplante'!$B$1:$AE$1</c:f>
              <c:numCache>
                <c:formatCode>General</c:formatCode>
                <c:ptCount val="30"/>
                <c:pt idx="0">
                  <c:v>1989</c:v>
                </c:pt>
                <c:pt idx="1">
                  <c:v>1990</c:v>
                </c:pt>
                <c:pt idx="2">
                  <c:v>1991</c:v>
                </c:pt>
                <c:pt idx="3">
                  <c:v>1992</c:v>
                </c:pt>
                <c:pt idx="4">
                  <c:v>1993</c:v>
                </c:pt>
                <c:pt idx="5">
                  <c:v>1994</c:v>
                </c:pt>
                <c:pt idx="6">
                  <c:v>1995</c:v>
                </c:pt>
                <c:pt idx="7">
                  <c:v>1996</c:v>
                </c:pt>
                <c:pt idx="8">
                  <c:v>1997</c:v>
                </c:pt>
                <c:pt idx="9">
                  <c:v>1998</c:v>
                </c:pt>
                <c:pt idx="10">
                  <c:v>1999</c:v>
                </c:pt>
                <c:pt idx="11">
                  <c:v>2000</c:v>
                </c:pt>
                <c:pt idx="12">
                  <c:v>2001</c:v>
                </c:pt>
                <c:pt idx="13">
                  <c:v>2002</c:v>
                </c:pt>
                <c:pt idx="14">
                  <c:v>2003</c:v>
                </c:pt>
                <c:pt idx="15">
                  <c:v>2004</c:v>
                </c:pt>
                <c:pt idx="16">
                  <c:v>2005</c:v>
                </c:pt>
                <c:pt idx="17">
                  <c:v>2006</c:v>
                </c:pt>
                <c:pt idx="18">
                  <c:v>2007</c:v>
                </c:pt>
                <c:pt idx="19">
                  <c:v>2008</c:v>
                </c:pt>
                <c:pt idx="20">
                  <c:v>2009</c:v>
                </c:pt>
                <c:pt idx="21">
                  <c:v>2010</c:v>
                </c:pt>
                <c:pt idx="22">
                  <c:v>2011</c:v>
                </c:pt>
                <c:pt idx="23">
                  <c:v>2012</c:v>
                </c:pt>
                <c:pt idx="24">
                  <c:v>2013</c:v>
                </c:pt>
                <c:pt idx="25">
                  <c:v>2014</c:v>
                </c:pt>
                <c:pt idx="26">
                  <c:v>2015</c:v>
                </c:pt>
                <c:pt idx="27">
                  <c:v>2016</c:v>
                </c:pt>
                <c:pt idx="28">
                  <c:v>2017</c:v>
                </c:pt>
                <c:pt idx="29">
                  <c:v>2018</c:v>
                </c:pt>
              </c:numCache>
            </c:numRef>
          </c:cat>
          <c:val>
            <c:numRef>
              <c:f>'Datos evolutivos de trasplante'!$B$4:$AE$4</c:f>
              <c:numCache>
                <c:formatCode>#,##0</c:formatCode>
                <c:ptCount val="30"/>
                <c:pt idx="0">
                  <c:v>97</c:v>
                </c:pt>
                <c:pt idx="1">
                  <c:v>164</c:v>
                </c:pt>
                <c:pt idx="2">
                  <c:v>232</c:v>
                </c:pt>
                <c:pt idx="3">
                  <c:v>254</c:v>
                </c:pt>
                <c:pt idx="4" formatCode="General">
                  <c:v>287</c:v>
                </c:pt>
                <c:pt idx="5" formatCode="General">
                  <c:v>292</c:v>
                </c:pt>
                <c:pt idx="6" formatCode="General">
                  <c:v>278</c:v>
                </c:pt>
                <c:pt idx="7" formatCode="General">
                  <c:v>282</c:v>
                </c:pt>
                <c:pt idx="8" formatCode="General">
                  <c:v>318</c:v>
                </c:pt>
                <c:pt idx="9" formatCode="General">
                  <c:v>349</c:v>
                </c:pt>
                <c:pt idx="10" formatCode="General">
                  <c:v>336</c:v>
                </c:pt>
                <c:pt idx="11" formatCode="General">
                  <c:v>353</c:v>
                </c:pt>
                <c:pt idx="12" formatCode="General">
                  <c:v>341</c:v>
                </c:pt>
                <c:pt idx="13" formatCode="General">
                  <c:v>310</c:v>
                </c:pt>
                <c:pt idx="14" formatCode="General">
                  <c:v>290</c:v>
                </c:pt>
                <c:pt idx="15" formatCode="General">
                  <c:v>294</c:v>
                </c:pt>
                <c:pt idx="16" formatCode="General">
                  <c:v>287</c:v>
                </c:pt>
                <c:pt idx="17" formatCode="General">
                  <c:v>274</c:v>
                </c:pt>
                <c:pt idx="18" formatCode="General">
                  <c:v>241</c:v>
                </c:pt>
                <c:pt idx="19" formatCode="General">
                  <c:v>292</c:v>
                </c:pt>
                <c:pt idx="20" formatCode="General">
                  <c:v>274</c:v>
                </c:pt>
                <c:pt idx="21" formatCode="General">
                  <c:v>243</c:v>
                </c:pt>
                <c:pt idx="22" formatCode="General">
                  <c:v>237</c:v>
                </c:pt>
                <c:pt idx="23" formatCode="General">
                  <c:v>247</c:v>
                </c:pt>
                <c:pt idx="24" formatCode="General">
                  <c:v>249</c:v>
                </c:pt>
                <c:pt idx="25" formatCode="General">
                  <c:v>265</c:v>
                </c:pt>
                <c:pt idx="26" formatCode="General">
                  <c:v>299</c:v>
                </c:pt>
                <c:pt idx="27" formatCode="General">
                  <c:v>281</c:v>
                </c:pt>
                <c:pt idx="28" formatCode="General">
                  <c:v>304</c:v>
                </c:pt>
                <c:pt idx="29" formatCode="General">
                  <c:v>3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38EB-4272-8DF7-176CC28F7E48}"/>
            </c:ext>
          </c:extLst>
        </c:ser>
        <c:ser>
          <c:idx val="3"/>
          <c:order val="3"/>
          <c:tx>
            <c:strRef>
              <c:f>'Datos evolutivos de trasplante'!$A$5</c:f>
              <c:strCache>
                <c:ptCount val="1"/>
                <c:pt idx="0">
                  <c:v>Tx Pulmonar</c:v>
                </c:pt>
              </c:strCache>
            </c:strRef>
          </c:tx>
          <c:spPr>
            <a:solidFill>
              <a:schemeClr val="accent4"/>
            </a:solidFill>
          </c:spPr>
          <c:cat>
            <c:numRef>
              <c:f>'Datos evolutivos de trasplante'!$B$1:$AE$1</c:f>
              <c:numCache>
                <c:formatCode>General</c:formatCode>
                <c:ptCount val="30"/>
                <c:pt idx="0">
                  <c:v>1989</c:v>
                </c:pt>
                <c:pt idx="1">
                  <c:v>1990</c:v>
                </c:pt>
                <c:pt idx="2">
                  <c:v>1991</c:v>
                </c:pt>
                <c:pt idx="3">
                  <c:v>1992</c:v>
                </c:pt>
                <c:pt idx="4">
                  <c:v>1993</c:v>
                </c:pt>
                <c:pt idx="5">
                  <c:v>1994</c:v>
                </c:pt>
                <c:pt idx="6">
                  <c:v>1995</c:v>
                </c:pt>
                <c:pt idx="7">
                  <c:v>1996</c:v>
                </c:pt>
                <c:pt idx="8">
                  <c:v>1997</c:v>
                </c:pt>
                <c:pt idx="9">
                  <c:v>1998</c:v>
                </c:pt>
                <c:pt idx="10">
                  <c:v>1999</c:v>
                </c:pt>
                <c:pt idx="11">
                  <c:v>2000</c:v>
                </c:pt>
                <c:pt idx="12">
                  <c:v>2001</c:v>
                </c:pt>
                <c:pt idx="13">
                  <c:v>2002</c:v>
                </c:pt>
                <c:pt idx="14">
                  <c:v>2003</c:v>
                </c:pt>
                <c:pt idx="15">
                  <c:v>2004</c:v>
                </c:pt>
                <c:pt idx="16">
                  <c:v>2005</c:v>
                </c:pt>
                <c:pt idx="17">
                  <c:v>2006</c:v>
                </c:pt>
                <c:pt idx="18">
                  <c:v>2007</c:v>
                </c:pt>
                <c:pt idx="19">
                  <c:v>2008</c:v>
                </c:pt>
                <c:pt idx="20">
                  <c:v>2009</c:v>
                </c:pt>
                <c:pt idx="21">
                  <c:v>2010</c:v>
                </c:pt>
                <c:pt idx="22">
                  <c:v>2011</c:v>
                </c:pt>
                <c:pt idx="23">
                  <c:v>2012</c:v>
                </c:pt>
                <c:pt idx="24">
                  <c:v>2013</c:v>
                </c:pt>
                <c:pt idx="25">
                  <c:v>2014</c:v>
                </c:pt>
                <c:pt idx="26">
                  <c:v>2015</c:v>
                </c:pt>
                <c:pt idx="27">
                  <c:v>2016</c:v>
                </c:pt>
                <c:pt idx="28">
                  <c:v>2017</c:v>
                </c:pt>
                <c:pt idx="29">
                  <c:v>2018</c:v>
                </c:pt>
              </c:numCache>
            </c:numRef>
          </c:cat>
          <c:val>
            <c:numRef>
              <c:f>'Datos evolutivos de trasplante'!$B$5:$AE$5</c:f>
              <c:numCache>
                <c:formatCode>#,##0</c:formatCode>
                <c:ptCount val="30"/>
                <c:pt idx="0">
                  <c:v>0</c:v>
                </c:pt>
                <c:pt idx="1">
                  <c:v>6</c:v>
                </c:pt>
                <c:pt idx="2">
                  <c:v>6</c:v>
                </c:pt>
                <c:pt idx="3">
                  <c:v>11</c:v>
                </c:pt>
                <c:pt idx="4" formatCode="General">
                  <c:v>20</c:v>
                </c:pt>
                <c:pt idx="5" formatCode="General">
                  <c:v>36</c:v>
                </c:pt>
                <c:pt idx="6" formatCode="General">
                  <c:v>45</c:v>
                </c:pt>
                <c:pt idx="7" formatCode="General">
                  <c:v>76</c:v>
                </c:pt>
                <c:pt idx="8" formatCode="General">
                  <c:v>108</c:v>
                </c:pt>
                <c:pt idx="9" formatCode="General">
                  <c:v>128</c:v>
                </c:pt>
                <c:pt idx="10" formatCode="General">
                  <c:v>135</c:v>
                </c:pt>
                <c:pt idx="11" formatCode="General">
                  <c:v>138</c:v>
                </c:pt>
                <c:pt idx="12" formatCode="General">
                  <c:v>143</c:v>
                </c:pt>
                <c:pt idx="13" formatCode="General">
                  <c:v>161</c:v>
                </c:pt>
                <c:pt idx="14" formatCode="General">
                  <c:v>149</c:v>
                </c:pt>
                <c:pt idx="15" formatCode="General">
                  <c:v>143</c:v>
                </c:pt>
                <c:pt idx="16" formatCode="General">
                  <c:v>167</c:v>
                </c:pt>
                <c:pt idx="17" formatCode="General">
                  <c:v>169</c:v>
                </c:pt>
                <c:pt idx="18" formatCode="General">
                  <c:v>185</c:v>
                </c:pt>
                <c:pt idx="19" formatCode="General">
                  <c:v>192</c:v>
                </c:pt>
                <c:pt idx="20" formatCode="General">
                  <c:v>219</c:v>
                </c:pt>
                <c:pt idx="21" formatCode="General">
                  <c:v>235</c:v>
                </c:pt>
                <c:pt idx="22" formatCode="General">
                  <c:v>230</c:v>
                </c:pt>
                <c:pt idx="23" formatCode="General">
                  <c:v>238</c:v>
                </c:pt>
                <c:pt idx="24" formatCode="General">
                  <c:v>285</c:v>
                </c:pt>
                <c:pt idx="25" formatCode="General">
                  <c:v>262</c:v>
                </c:pt>
                <c:pt idx="26" formatCode="General">
                  <c:v>294</c:v>
                </c:pt>
                <c:pt idx="27" formatCode="General">
                  <c:v>307</c:v>
                </c:pt>
                <c:pt idx="28" formatCode="General">
                  <c:v>363</c:v>
                </c:pt>
                <c:pt idx="29" formatCode="General">
                  <c:v>36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8EB-4272-8DF7-176CC28F7E48}"/>
            </c:ext>
          </c:extLst>
        </c:ser>
        <c:ser>
          <c:idx val="4"/>
          <c:order val="4"/>
          <c:tx>
            <c:strRef>
              <c:f>'Datos evolutivos de trasplante'!$A$6</c:f>
              <c:strCache>
                <c:ptCount val="1"/>
                <c:pt idx="0">
                  <c:v>Tx Pancreático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</c:spPr>
          <c:cat>
            <c:numRef>
              <c:f>'Datos evolutivos de trasplante'!$B$1:$AE$1</c:f>
              <c:numCache>
                <c:formatCode>General</c:formatCode>
                <c:ptCount val="30"/>
                <c:pt idx="0">
                  <c:v>1989</c:v>
                </c:pt>
                <c:pt idx="1">
                  <c:v>1990</c:v>
                </c:pt>
                <c:pt idx="2">
                  <c:v>1991</c:v>
                </c:pt>
                <c:pt idx="3">
                  <c:v>1992</c:v>
                </c:pt>
                <c:pt idx="4">
                  <c:v>1993</c:v>
                </c:pt>
                <c:pt idx="5">
                  <c:v>1994</c:v>
                </c:pt>
                <c:pt idx="6">
                  <c:v>1995</c:v>
                </c:pt>
                <c:pt idx="7">
                  <c:v>1996</c:v>
                </c:pt>
                <c:pt idx="8">
                  <c:v>1997</c:v>
                </c:pt>
                <c:pt idx="9">
                  <c:v>1998</c:v>
                </c:pt>
                <c:pt idx="10">
                  <c:v>1999</c:v>
                </c:pt>
                <c:pt idx="11">
                  <c:v>2000</c:v>
                </c:pt>
                <c:pt idx="12">
                  <c:v>2001</c:v>
                </c:pt>
                <c:pt idx="13">
                  <c:v>2002</c:v>
                </c:pt>
                <c:pt idx="14">
                  <c:v>2003</c:v>
                </c:pt>
                <c:pt idx="15">
                  <c:v>2004</c:v>
                </c:pt>
                <c:pt idx="16">
                  <c:v>2005</c:v>
                </c:pt>
                <c:pt idx="17">
                  <c:v>2006</c:v>
                </c:pt>
                <c:pt idx="18">
                  <c:v>2007</c:v>
                </c:pt>
                <c:pt idx="19">
                  <c:v>2008</c:v>
                </c:pt>
                <c:pt idx="20">
                  <c:v>2009</c:v>
                </c:pt>
                <c:pt idx="21">
                  <c:v>2010</c:v>
                </c:pt>
                <c:pt idx="22">
                  <c:v>2011</c:v>
                </c:pt>
                <c:pt idx="23">
                  <c:v>2012</c:v>
                </c:pt>
                <c:pt idx="24">
                  <c:v>2013</c:v>
                </c:pt>
                <c:pt idx="25">
                  <c:v>2014</c:v>
                </c:pt>
                <c:pt idx="26">
                  <c:v>2015</c:v>
                </c:pt>
                <c:pt idx="27">
                  <c:v>2016</c:v>
                </c:pt>
                <c:pt idx="28">
                  <c:v>2017</c:v>
                </c:pt>
                <c:pt idx="29">
                  <c:v>2018</c:v>
                </c:pt>
              </c:numCache>
            </c:numRef>
          </c:cat>
          <c:val>
            <c:numRef>
              <c:f>'Datos evolutivos de trasplante'!$B$6:$AE$6</c:f>
              <c:numCache>
                <c:formatCode>#,##0</c:formatCode>
                <c:ptCount val="30"/>
                <c:pt idx="0">
                  <c:v>9</c:v>
                </c:pt>
                <c:pt idx="1">
                  <c:v>19</c:v>
                </c:pt>
                <c:pt idx="2">
                  <c:v>21</c:v>
                </c:pt>
                <c:pt idx="3">
                  <c:v>26</c:v>
                </c:pt>
                <c:pt idx="4" formatCode="General">
                  <c:v>24</c:v>
                </c:pt>
                <c:pt idx="5" formatCode="General">
                  <c:v>16</c:v>
                </c:pt>
                <c:pt idx="6" formatCode="General">
                  <c:v>24</c:v>
                </c:pt>
                <c:pt idx="7" formatCode="General">
                  <c:v>24</c:v>
                </c:pt>
                <c:pt idx="8" formatCode="General">
                  <c:v>27</c:v>
                </c:pt>
                <c:pt idx="9" formatCode="General">
                  <c:v>28</c:v>
                </c:pt>
                <c:pt idx="10" formatCode="General">
                  <c:v>25</c:v>
                </c:pt>
                <c:pt idx="11" formatCode="General">
                  <c:v>48</c:v>
                </c:pt>
                <c:pt idx="12" formatCode="General">
                  <c:v>60</c:v>
                </c:pt>
                <c:pt idx="13" formatCode="General">
                  <c:v>69</c:v>
                </c:pt>
                <c:pt idx="14" formatCode="General">
                  <c:v>74</c:v>
                </c:pt>
                <c:pt idx="15" formatCode="General">
                  <c:v>74</c:v>
                </c:pt>
                <c:pt idx="16" formatCode="General">
                  <c:v>96</c:v>
                </c:pt>
                <c:pt idx="17" formatCode="General">
                  <c:v>94</c:v>
                </c:pt>
                <c:pt idx="18" formatCode="General">
                  <c:v>76</c:v>
                </c:pt>
                <c:pt idx="19" formatCode="General">
                  <c:v>110</c:v>
                </c:pt>
                <c:pt idx="20" formatCode="General">
                  <c:v>97</c:v>
                </c:pt>
                <c:pt idx="21" formatCode="General">
                  <c:v>94</c:v>
                </c:pt>
                <c:pt idx="22" formatCode="General">
                  <c:v>111</c:v>
                </c:pt>
                <c:pt idx="23" formatCode="General">
                  <c:v>83</c:v>
                </c:pt>
                <c:pt idx="24" formatCode="General">
                  <c:v>92</c:v>
                </c:pt>
                <c:pt idx="25" formatCode="General">
                  <c:v>81</c:v>
                </c:pt>
                <c:pt idx="26" formatCode="General">
                  <c:v>97</c:v>
                </c:pt>
                <c:pt idx="27" formatCode="General">
                  <c:v>73</c:v>
                </c:pt>
                <c:pt idx="28" formatCode="General">
                  <c:v>70</c:v>
                </c:pt>
                <c:pt idx="29" formatCode="General">
                  <c:v>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8EB-4272-8DF7-176CC28F7E48}"/>
            </c:ext>
          </c:extLst>
        </c:ser>
        <c:ser>
          <c:idx val="5"/>
          <c:order val="5"/>
          <c:tx>
            <c:strRef>
              <c:f>'Datos evolutivos de trasplante'!$A$7</c:f>
              <c:strCache>
                <c:ptCount val="1"/>
                <c:pt idx="0">
                  <c:v>Tx Intestinal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</c:spPr>
          <c:cat>
            <c:numRef>
              <c:f>'Datos evolutivos de trasplante'!$B$1:$AE$1</c:f>
              <c:numCache>
                <c:formatCode>General</c:formatCode>
                <c:ptCount val="30"/>
                <c:pt idx="0">
                  <c:v>1989</c:v>
                </c:pt>
                <c:pt idx="1">
                  <c:v>1990</c:v>
                </c:pt>
                <c:pt idx="2">
                  <c:v>1991</c:v>
                </c:pt>
                <c:pt idx="3">
                  <c:v>1992</c:v>
                </c:pt>
                <c:pt idx="4">
                  <c:v>1993</c:v>
                </c:pt>
                <c:pt idx="5">
                  <c:v>1994</c:v>
                </c:pt>
                <c:pt idx="6">
                  <c:v>1995</c:v>
                </c:pt>
                <c:pt idx="7">
                  <c:v>1996</c:v>
                </c:pt>
                <c:pt idx="8">
                  <c:v>1997</c:v>
                </c:pt>
                <c:pt idx="9">
                  <c:v>1998</c:v>
                </c:pt>
                <c:pt idx="10">
                  <c:v>1999</c:v>
                </c:pt>
                <c:pt idx="11">
                  <c:v>2000</c:v>
                </c:pt>
                <c:pt idx="12">
                  <c:v>2001</c:v>
                </c:pt>
                <c:pt idx="13">
                  <c:v>2002</c:v>
                </c:pt>
                <c:pt idx="14">
                  <c:v>2003</c:v>
                </c:pt>
                <c:pt idx="15">
                  <c:v>2004</c:v>
                </c:pt>
                <c:pt idx="16">
                  <c:v>2005</c:v>
                </c:pt>
                <c:pt idx="17">
                  <c:v>2006</c:v>
                </c:pt>
                <c:pt idx="18">
                  <c:v>2007</c:v>
                </c:pt>
                <c:pt idx="19">
                  <c:v>2008</c:v>
                </c:pt>
                <c:pt idx="20">
                  <c:v>2009</c:v>
                </c:pt>
                <c:pt idx="21">
                  <c:v>2010</c:v>
                </c:pt>
                <c:pt idx="22">
                  <c:v>2011</c:v>
                </c:pt>
                <c:pt idx="23">
                  <c:v>2012</c:v>
                </c:pt>
                <c:pt idx="24">
                  <c:v>2013</c:v>
                </c:pt>
                <c:pt idx="25">
                  <c:v>2014</c:v>
                </c:pt>
                <c:pt idx="26">
                  <c:v>2015</c:v>
                </c:pt>
                <c:pt idx="27">
                  <c:v>2016</c:v>
                </c:pt>
                <c:pt idx="28">
                  <c:v>2017</c:v>
                </c:pt>
                <c:pt idx="29">
                  <c:v>2018</c:v>
                </c:pt>
              </c:numCache>
            </c:numRef>
          </c:cat>
          <c:val>
            <c:numRef>
              <c:f>'Datos evolutivos de trasplante'!$B$7:$AE$7</c:f>
              <c:numCache>
                <c:formatCode>#,##0</c:formatCode>
                <c:ptCount val="3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 formatCode="General">
                  <c:v>3</c:v>
                </c:pt>
                <c:pt idx="14" formatCode="General">
                  <c:v>7</c:v>
                </c:pt>
                <c:pt idx="15" formatCode="General">
                  <c:v>7</c:v>
                </c:pt>
                <c:pt idx="16" formatCode="General">
                  <c:v>12</c:v>
                </c:pt>
                <c:pt idx="17" formatCode="General">
                  <c:v>13</c:v>
                </c:pt>
                <c:pt idx="18" formatCode="General">
                  <c:v>5</c:v>
                </c:pt>
                <c:pt idx="19" formatCode="General">
                  <c:v>14</c:v>
                </c:pt>
                <c:pt idx="20" formatCode="General">
                  <c:v>11</c:v>
                </c:pt>
                <c:pt idx="21" formatCode="General">
                  <c:v>5</c:v>
                </c:pt>
                <c:pt idx="22" formatCode="General">
                  <c:v>9</c:v>
                </c:pt>
                <c:pt idx="23" formatCode="General">
                  <c:v>8</c:v>
                </c:pt>
                <c:pt idx="24" formatCode="General">
                  <c:v>8</c:v>
                </c:pt>
                <c:pt idx="25" formatCode="General">
                  <c:v>6</c:v>
                </c:pt>
                <c:pt idx="26" formatCode="General">
                  <c:v>12</c:v>
                </c:pt>
                <c:pt idx="27" formatCode="General">
                  <c:v>4</c:v>
                </c:pt>
                <c:pt idx="28" formatCode="General">
                  <c:v>8</c:v>
                </c:pt>
                <c:pt idx="29" formatCode="General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38EB-4272-8DF7-176CC28F7E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0320000"/>
        <c:axId val="100321536"/>
      </c:areaChart>
      <c:catAx>
        <c:axId val="1003200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00321536"/>
        <c:crosses val="autoZero"/>
        <c:auto val="1"/>
        <c:lblAlgn val="ctr"/>
        <c:lblOffset val="100"/>
        <c:noMultiLvlLbl val="0"/>
      </c:catAx>
      <c:valAx>
        <c:axId val="100321536"/>
        <c:scaling>
          <c:orientation val="minMax"/>
          <c:max val="5500"/>
          <c:min val="0"/>
        </c:scaling>
        <c:delete val="0"/>
        <c:axPos val="l"/>
        <c:majorGridlines>
          <c:spPr>
            <a:ln>
              <a:prstDash val="sysDot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Procedimientos de trasplante  (N absoluto)</a:t>
                </a:r>
              </a:p>
            </c:rich>
          </c:tx>
          <c:layout>
            <c:manualLayout>
              <c:xMode val="edge"/>
              <c:yMode val="edge"/>
              <c:x val="6.448600174978128E-3"/>
              <c:y val="0.15917687782510237"/>
            </c:manualLayout>
          </c:layout>
          <c:overlay val="0"/>
        </c:title>
        <c:numFmt formatCode="0" sourceLinked="0"/>
        <c:majorTickMark val="out"/>
        <c:minorTickMark val="none"/>
        <c:tickLblPos val="nextTo"/>
        <c:crossAx val="100320000"/>
        <c:crosses val="autoZero"/>
        <c:crossBetween val="midCat"/>
      </c:valAx>
    </c:plotArea>
    <c:legend>
      <c:legendPos val="t"/>
      <c:layout/>
      <c:overlay val="0"/>
    </c:legend>
    <c:plotVisOnly val="1"/>
    <c:dispBlanksAs val="zero"/>
    <c:showDLblsOverMax val="0"/>
  </c:chart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s-E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705846619343782E-2"/>
          <c:y val="8.7711863714489247E-2"/>
          <c:w val="0.88752750787863677"/>
          <c:h val="0.853173993739257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EVOLUTIVO_TX RENAL'!$A$2</c:f>
              <c:strCache>
                <c:ptCount val="1"/>
                <c:pt idx="0">
                  <c:v>Tx Renales números absolutos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EVOLUTIVO_TX RENAL'!$B$1:$AE$1</c:f>
              <c:numCache>
                <c:formatCode>General</c:formatCode>
                <c:ptCount val="30"/>
                <c:pt idx="0">
                  <c:v>1989</c:v>
                </c:pt>
                <c:pt idx="1">
                  <c:v>1990</c:v>
                </c:pt>
                <c:pt idx="2">
                  <c:v>1991</c:v>
                </c:pt>
                <c:pt idx="3">
                  <c:v>1992</c:v>
                </c:pt>
                <c:pt idx="4">
                  <c:v>1993</c:v>
                </c:pt>
                <c:pt idx="5">
                  <c:v>1994</c:v>
                </c:pt>
                <c:pt idx="6">
                  <c:v>1995</c:v>
                </c:pt>
                <c:pt idx="7">
                  <c:v>1996</c:v>
                </c:pt>
                <c:pt idx="8">
                  <c:v>1997</c:v>
                </c:pt>
                <c:pt idx="9">
                  <c:v>1998</c:v>
                </c:pt>
                <c:pt idx="10">
                  <c:v>1999</c:v>
                </c:pt>
                <c:pt idx="11">
                  <c:v>2000</c:v>
                </c:pt>
                <c:pt idx="12">
                  <c:v>2001</c:v>
                </c:pt>
                <c:pt idx="13">
                  <c:v>2002</c:v>
                </c:pt>
                <c:pt idx="14">
                  <c:v>2003</c:v>
                </c:pt>
                <c:pt idx="15">
                  <c:v>2004</c:v>
                </c:pt>
                <c:pt idx="16">
                  <c:v>2005</c:v>
                </c:pt>
                <c:pt idx="17">
                  <c:v>2006</c:v>
                </c:pt>
                <c:pt idx="18">
                  <c:v>2007</c:v>
                </c:pt>
                <c:pt idx="19">
                  <c:v>2008</c:v>
                </c:pt>
                <c:pt idx="20">
                  <c:v>2009</c:v>
                </c:pt>
                <c:pt idx="21">
                  <c:v>2010</c:v>
                </c:pt>
                <c:pt idx="22">
                  <c:v>2011</c:v>
                </c:pt>
                <c:pt idx="23">
                  <c:v>2012</c:v>
                </c:pt>
                <c:pt idx="24">
                  <c:v>2013</c:v>
                </c:pt>
                <c:pt idx="25">
                  <c:v>2014</c:v>
                </c:pt>
                <c:pt idx="26">
                  <c:v>2015</c:v>
                </c:pt>
                <c:pt idx="27">
                  <c:v>2016</c:v>
                </c:pt>
                <c:pt idx="28">
                  <c:v>2017</c:v>
                </c:pt>
                <c:pt idx="29">
                  <c:v>2018</c:v>
                </c:pt>
              </c:numCache>
            </c:numRef>
          </c:cat>
          <c:val>
            <c:numRef>
              <c:f>'EVOLUTIVO_TX RENAL'!$B$2:$AE$2</c:f>
              <c:numCache>
                <c:formatCode>0</c:formatCode>
                <c:ptCount val="30"/>
                <c:pt idx="0">
                  <c:v>1039</c:v>
                </c:pt>
                <c:pt idx="1">
                  <c:v>1240</c:v>
                </c:pt>
                <c:pt idx="2">
                  <c:v>1371</c:v>
                </c:pt>
                <c:pt idx="3">
                  <c:v>1492</c:v>
                </c:pt>
                <c:pt idx="4" formatCode="General">
                  <c:v>1488</c:v>
                </c:pt>
                <c:pt idx="5" formatCode="General">
                  <c:v>1633</c:v>
                </c:pt>
                <c:pt idx="6" formatCode="General">
                  <c:v>1800</c:v>
                </c:pt>
                <c:pt idx="7" formatCode="General">
                  <c:v>1707</c:v>
                </c:pt>
                <c:pt idx="8" formatCode="General">
                  <c:v>1861</c:v>
                </c:pt>
                <c:pt idx="9" formatCode="General">
                  <c:v>1996</c:v>
                </c:pt>
                <c:pt idx="10" formatCode="General">
                  <c:v>2023</c:v>
                </c:pt>
                <c:pt idx="11" formatCode="General">
                  <c:v>1938</c:v>
                </c:pt>
                <c:pt idx="12" formatCode="General">
                  <c:v>1924</c:v>
                </c:pt>
                <c:pt idx="13" formatCode="General">
                  <c:v>2032</c:v>
                </c:pt>
                <c:pt idx="14" formatCode="General">
                  <c:v>2131</c:v>
                </c:pt>
                <c:pt idx="15" formatCode="General">
                  <c:v>2125</c:v>
                </c:pt>
                <c:pt idx="16" formatCode="General">
                  <c:v>2200</c:v>
                </c:pt>
                <c:pt idx="17" formatCode="General">
                  <c:v>2157</c:v>
                </c:pt>
                <c:pt idx="18" formatCode="General">
                  <c:v>2211</c:v>
                </c:pt>
                <c:pt idx="19" formatCode="General">
                  <c:v>2229</c:v>
                </c:pt>
                <c:pt idx="20" formatCode="General">
                  <c:v>2328</c:v>
                </c:pt>
                <c:pt idx="21" formatCode="General">
                  <c:v>2225</c:v>
                </c:pt>
                <c:pt idx="22" formatCode="General">
                  <c:v>2498</c:v>
                </c:pt>
                <c:pt idx="23" formatCode="General">
                  <c:v>2551</c:v>
                </c:pt>
                <c:pt idx="24" formatCode="General">
                  <c:v>2552</c:v>
                </c:pt>
                <c:pt idx="25" formatCode="General">
                  <c:v>2678</c:v>
                </c:pt>
                <c:pt idx="26" formatCode="General">
                  <c:v>2905</c:v>
                </c:pt>
                <c:pt idx="27" formatCode="General">
                  <c:v>2997</c:v>
                </c:pt>
                <c:pt idx="28" formatCode="General">
                  <c:v>3269</c:v>
                </c:pt>
                <c:pt idx="29" formatCode="General">
                  <c:v>33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C0C-45A2-8061-E35CEBA458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108631936"/>
        <c:axId val="108633472"/>
      </c:barChart>
      <c:lineChart>
        <c:grouping val="standard"/>
        <c:varyColors val="0"/>
        <c:ser>
          <c:idx val="1"/>
          <c:order val="1"/>
          <c:tx>
            <c:strRef>
              <c:f>'EVOLUTIVO_TX RENAL'!$A$3</c:f>
              <c:strCache>
                <c:ptCount val="1"/>
                <c:pt idx="0">
                  <c:v>Tx Renales pmp</c:v>
                </c:pt>
              </c:strCache>
            </c:strRef>
          </c:tx>
          <c:dLbls>
            <c:numFmt formatCode="#,##0.0" sourceLinked="0"/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EVOLUTIVO_TX RENAL'!$B$1:$AE$1</c:f>
              <c:numCache>
                <c:formatCode>General</c:formatCode>
                <c:ptCount val="30"/>
                <c:pt idx="0">
                  <c:v>1989</c:v>
                </c:pt>
                <c:pt idx="1">
                  <c:v>1990</c:v>
                </c:pt>
                <c:pt idx="2">
                  <c:v>1991</c:v>
                </c:pt>
                <c:pt idx="3">
                  <c:v>1992</c:v>
                </c:pt>
                <c:pt idx="4">
                  <c:v>1993</c:v>
                </c:pt>
                <c:pt idx="5">
                  <c:v>1994</c:v>
                </c:pt>
                <c:pt idx="6">
                  <c:v>1995</c:v>
                </c:pt>
                <c:pt idx="7">
                  <c:v>1996</c:v>
                </c:pt>
                <c:pt idx="8">
                  <c:v>1997</c:v>
                </c:pt>
                <c:pt idx="9">
                  <c:v>1998</c:v>
                </c:pt>
                <c:pt idx="10">
                  <c:v>1999</c:v>
                </c:pt>
                <c:pt idx="11">
                  <c:v>2000</c:v>
                </c:pt>
                <c:pt idx="12">
                  <c:v>2001</c:v>
                </c:pt>
                <c:pt idx="13">
                  <c:v>2002</c:v>
                </c:pt>
                <c:pt idx="14">
                  <c:v>2003</c:v>
                </c:pt>
                <c:pt idx="15">
                  <c:v>2004</c:v>
                </c:pt>
                <c:pt idx="16">
                  <c:v>2005</c:v>
                </c:pt>
                <c:pt idx="17">
                  <c:v>2006</c:v>
                </c:pt>
                <c:pt idx="18">
                  <c:v>2007</c:v>
                </c:pt>
                <c:pt idx="19">
                  <c:v>2008</c:v>
                </c:pt>
                <c:pt idx="20">
                  <c:v>2009</c:v>
                </c:pt>
                <c:pt idx="21">
                  <c:v>2010</c:v>
                </c:pt>
                <c:pt idx="22">
                  <c:v>2011</c:v>
                </c:pt>
                <c:pt idx="23">
                  <c:v>2012</c:v>
                </c:pt>
                <c:pt idx="24">
                  <c:v>2013</c:v>
                </c:pt>
                <c:pt idx="25">
                  <c:v>2014</c:v>
                </c:pt>
                <c:pt idx="26">
                  <c:v>2015</c:v>
                </c:pt>
                <c:pt idx="27">
                  <c:v>2016</c:v>
                </c:pt>
                <c:pt idx="28">
                  <c:v>2017</c:v>
                </c:pt>
                <c:pt idx="29">
                  <c:v>2018</c:v>
                </c:pt>
              </c:numCache>
            </c:numRef>
          </c:cat>
          <c:val>
            <c:numRef>
              <c:f>'EVOLUTIVO_TX RENAL'!$B$3:$AE$3</c:f>
              <c:numCache>
                <c:formatCode>#,#00</c:formatCode>
                <c:ptCount val="30"/>
                <c:pt idx="0">
                  <c:v>26.987012987012989</c:v>
                </c:pt>
                <c:pt idx="1">
                  <c:v>32.20779220779221</c:v>
                </c:pt>
                <c:pt idx="2">
                  <c:v>35.684539302446638</c:v>
                </c:pt>
                <c:pt idx="3">
                  <c:v>38.833940655908378</c:v>
                </c:pt>
                <c:pt idx="4">
                  <c:v>38.729828214471631</c:v>
                </c:pt>
                <c:pt idx="5">
                  <c:v>42.503904216553877</c:v>
                </c:pt>
                <c:pt idx="6">
                  <c:v>46.850598646538259</c:v>
                </c:pt>
                <c:pt idx="7">
                  <c:v>44.429984383133785</c:v>
                </c:pt>
                <c:pt idx="8">
                  <c:v>46.923852748361071</c:v>
                </c:pt>
                <c:pt idx="9">
                  <c:v>50.327786182551691</c:v>
                </c:pt>
                <c:pt idx="10">
                  <c:v>51.008572869389816</c:v>
                </c:pt>
                <c:pt idx="11">
                  <c:v>48.865355521936465</c:v>
                </c:pt>
                <c:pt idx="12">
                  <c:v>46.789883268482491</c:v>
                </c:pt>
                <c:pt idx="13">
                  <c:v>48.565965583173991</c:v>
                </c:pt>
                <c:pt idx="14">
                  <c:v>49.882958801498127</c:v>
                </c:pt>
                <c:pt idx="15">
                  <c:v>49.18981481481481</c:v>
                </c:pt>
                <c:pt idx="16">
                  <c:v>49.875311720698257</c:v>
                </c:pt>
                <c:pt idx="17">
                  <c:v>48.244240662044284</c:v>
                </c:pt>
                <c:pt idx="18">
                  <c:v>48.915929203539818</c:v>
                </c:pt>
                <c:pt idx="19">
                  <c:v>48.288561525129985</c:v>
                </c:pt>
                <c:pt idx="20">
                  <c:v>49.796791443850267</c:v>
                </c:pt>
                <c:pt idx="21">
                  <c:v>47.320289238621861</c:v>
                </c:pt>
                <c:pt idx="22">
                  <c:v>52.934943844034756</c:v>
                </c:pt>
                <c:pt idx="23">
                  <c:v>53.977994075327977</c:v>
                </c:pt>
                <c:pt idx="24">
                  <c:v>54.159592529711375</c:v>
                </c:pt>
                <c:pt idx="25" formatCode="General">
                  <c:v>57.3</c:v>
                </c:pt>
                <c:pt idx="26">
                  <c:v>62.3</c:v>
                </c:pt>
                <c:pt idx="27">
                  <c:v>64.400000000000006</c:v>
                </c:pt>
                <c:pt idx="28">
                  <c:v>70.2</c:v>
                </c:pt>
                <c:pt idx="29">
                  <c:v>70.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8C0C-45A2-8061-E35CEBA458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8657280"/>
        <c:axId val="108655744"/>
      </c:lineChart>
      <c:catAx>
        <c:axId val="1086319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es-ES"/>
          </a:p>
        </c:txPr>
        <c:crossAx val="108633472"/>
        <c:crosses val="autoZero"/>
        <c:auto val="1"/>
        <c:lblAlgn val="ctr"/>
        <c:lblOffset val="100"/>
        <c:noMultiLvlLbl val="0"/>
      </c:catAx>
      <c:valAx>
        <c:axId val="108633472"/>
        <c:scaling>
          <c:orientation val="minMax"/>
          <c:max val="3500"/>
        </c:scaling>
        <c:delete val="0"/>
        <c:axPos val="l"/>
        <c:numFmt formatCode="0" sourceLinked="1"/>
        <c:majorTickMark val="out"/>
        <c:minorTickMark val="none"/>
        <c:tickLblPos val="nextTo"/>
        <c:crossAx val="108631936"/>
        <c:crosses val="autoZero"/>
        <c:crossBetween val="between"/>
      </c:valAx>
      <c:valAx>
        <c:axId val="108655744"/>
        <c:scaling>
          <c:orientation val="minMax"/>
          <c:max val="75"/>
        </c:scaling>
        <c:delete val="0"/>
        <c:axPos val="r"/>
        <c:numFmt formatCode="0" sourceLinked="0"/>
        <c:majorTickMark val="out"/>
        <c:minorTickMark val="none"/>
        <c:tickLblPos val="nextTo"/>
        <c:crossAx val="108657280"/>
        <c:crosses val="max"/>
        <c:crossBetween val="between"/>
      </c:valAx>
      <c:catAx>
        <c:axId val="1086572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8655744"/>
        <c:crosses val="autoZero"/>
        <c:auto val="1"/>
        <c:lblAlgn val="ctr"/>
        <c:lblOffset val="100"/>
        <c:noMultiLvlLbl val="0"/>
      </c:catAx>
      <c:spPr>
        <a:noFill/>
      </c:spPr>
    </c:plotArea>
    <c:legend>
      <c:legendPos val="t"/>
      <c:layout/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s-E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69017605505939E-2"/>
          <c:y val="5.0359712230215826E-2"/>
          <c:w val="0.91245792750542576"/>
          <c:h val="0.870213218863337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ORCENTAJE DE NEGATIVAS FAMILIARES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numFmt formatCode="#,##0.0" sourceLinked="0"/>
            <c:spPr>
              <a:solidFill>
                <a:schemeClr val="accent1">
                  <a:lumMod val="20000"/>
                  <a:lumOff val="80000"/>
                </a:schemeClr>
              </a:solidFill>
            </c:spPr>
            <c:txPr>
              <a:bodyPr/>
              <a:lstStyle/>
              <a:p>
                <a:pPr>
                  <a:defRPr sz="1100"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AB$1</c:f>
              <c:numCache>
                <c:formatCode>General</c:formatCode>
                <c:ptCount val="27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  <c:pt idx="24">
                  <c:v>2016</c:v>
                </c:pt>
                <c:pt idx="25">
                  <c:v>2017</c:v>
                </c:pt>
                <c:pt idx="26">
                  <c:v>2018</c:v>
                </c:pt>
              </c:numCache>
            </c:numRef>
          </c:cat>
          <c:val>
            <c:numRef>
              <c:f>Sheet1!$B$2:$AB$2</c:f>
              <c:numCache>
                <c:formatCode>General</c:formatCode>
                <c:ptCount val="27"/>
                <c:pt idx="0">
                  <c:v>27.6</c:v>
                </c:pt>
                <c:pt idx="1">
                  <c:v>25</c:v>
                </c:pt>
                <c:pt idx="2">
                  <c:v>23.6</c:v>
                </c:pt>
                <c:pt idx="3">
                  <c:v>24.8</c:v>
                </c:pt>
                <c:pt idx="4">
                  <c:v>24.8</c:v>
                </c:pt>
                <c:pt idx="5">
                  <c:v>21.7</c:v>
                </c:pt>
                <c:pt idx="6">
                  <c:v>21.3</c:v>
                </c:pt>
                <c:pt idx="7">
                  <c:v>21.8</c:v>
                </c:pt>
                <c:pt idx="8">
                  <c:v>22</c:v>
                </c:pt>
                <c:pt idx="9">
                  <c:v>23.4</c:v>
                </c:pt>
                <c:pt idx="10">
                  <c:v>20</c:v>
                </c:pt>
                <c:pt idx="11">
                  <c:v>20</c:v>
                </c:pt>
                <c:pt idx="12">
                  <c:v>18.600000000000001</c:v>
                </c:pt>
                <c:pt idx="13">
                  <c:v>16.5</c:v>
                </c:pt>
                <c:pt idx="14">
                  <c:v>15.2</c:v>
                </c:pt>
                <c:pt idx="15">
                  <c:v>16.8</c:v>
                </c:pt>
                <c:pt idx="16">
                  <c:v>17.8</c:v>
                </c:pt>
                <c:pt idx="17">
                  <c:v>16.399999999999999</c:v>
                </c:pt>
                <c:pt idx="18">
                  <c:v>19</c:v>
                </c:pt>
                <c:pt idx="19">
                  <c:v>16</c:v>
                </c:pt>
                <c:pt idx="20">
                  <c:v>15.7</c:v>
                </c:pt>
                <c:pt idx="21">
                  <c:v>15.9</c:v>
                </c:pt>
                <c:pt idx="22">
                  <c:v>17.899999999999999</c:v>
                </c:pt>
                <c:pt idx="23">
                  <c:v>15.3</c:v>
                </c:pt>
                <c:pt idx="24">
                  <c:v>15.7</c:v>
                </c:pt>
                <c:pt idx="25">
                  <c:v>12.9</c:v>
                </c:pt>
                <c:pt idx="26">
                  <c:v>14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242-4CDC-B071-3772842CB7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9592320"/>
        <c:axId val="129594112"/>
      </c:barChart>
      <c:catAx>
        <c:axId val="1295923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000"/>
            </a:pPr>
            <a:endParaRPr lang="es-ES"/>
          </a:p>
        </c:txPr>
        <c:crossAx val="129594112"/>
        <c:crosses val="autoZero"/>
        <c:auto val="1"/>
        <c:lblAlgn val="ctr"/>
        <c:lblOffset val="100"/>
        <c:noMultiLvlLbl val="0"/>
      </c:catAx>
      <c:valAx>
        <c:axId val="129594112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ES"/>
                  <a:t>%</a:t>
                </a:r>
              </a:p>
            </c:rich>
          </c:tx>
          <c:layout>
            <c:manualLayout>
              <c:xMode val="edge"/>
              <c:yMode val="edge"/>
              <c:x val="6.3491549189554552E-3"/>
              <c:y val="0.45157788011924516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200"/>
            </a:pPr>
            <a:endParaRPr lang="es-ES"/>
          </a:p>
        </c:txPr>
        <c:crossAx val="129592320"/>
        <c:crosses val="autoZero"/>
        <c:crossBetween val="between"/>
      </c:valAx>
    </c:plotArea>
    <c:plotVisOnly val="1"/>
    <c:dispBlanksAs val="gap"/>
    <c:showDLblsOverMax val="0"/>
  </c:chart>
  <c:spPr>
    <a:solidFill>
      <a:schemeClr val="bg1"/>
    </a:solidFill>
    <a:ln>
      <a:solidFill>
        <a:schemeClr val="bg1">
          <a:lumMod val="65000"/>
        </a:schemeClr>
      </a:solidFill>
    </a:ln>
  </c:spPr>
  <c:txPr>
    <a:bodyPr/>
    <a:lstStyle/>
    <a:p>
      <a:pPr>
        <a:defRPr sz="1050"/>
      </a:pPr>
      <a:endParaRPr lang="es-E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566</cdr:x>
      <cdr:y>0</cdr:y>
    </cdr:from>
    <cdr:to>
      <cdr:x>0.91374</cdr:x>
      <cdr:y>0.07316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7525245" y="0"/>
          <a:ext cx="501974" cy="3545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s-ES" sz="1800" b="1" dirty="0">
              <a:solidFill>
                <a:schemeClr val="accent2"/>
              </a:solidFill>
            </a:rPr>
            <a:t>94</a:t>
          </a:r>
        </a:p>
      </cdr:txBody>
    </cdr:sp>
  </cdr:relSizeAnchor>
  <cdr:relSizeAnchor xmlns:cdr="http://schemas.openxmlformats.org/drawingml/2006/chartDrawing">
    <cdr:from>
      <cdr:x>0.80328</cdr:x>
      <cdr:y>0.13373</cdr:y>
    </cdr:from>
    <cdr:to>
      <cdr:x>0.86042</cdr:x>
      <cdr:y>0.2069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7056784" y="648072"/>
          <a:ext cx="501974" cy="35458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ES" sz="1800" b="1" dirty="0">
              <a:solidFill>
                <a:schemeClr val="accent3"/>
              </a:solidFill>
            </a:rPr>
            <a:t>90</a:t>
          </a:r>
        </a:p>
      </cdr:txBody>
    </cdr:sp>
  </cdr:relSizeAnchor>
  <cdr:relSizeAnchor xmlns:cdr="http://schemas.openxmlformats.org/drawingml/2006/chartDrawing">
    <cdr:from>
      <cdr:x>0.48361</cdr:x>
      <cdr:y>0.17831</cdr:y>
    </cdr:from>
    <cdr:to>
      <cdr:x>0.54074</cdr:x>
      <cdr:y>0.25147</cdr:y>
    </cdr:to>
    <cdr:sp macro="" textlink="">
      <cdr:nvSpPr>
        <cdr:cNvPr id="4" name="1 CuadroTexto"/>
        <cdr:cNvSpPr txBox="1"/>
      </cdr:nvSpPr>
      <cdr:spPr>
        <a:xfrm xmlns:a="http://schemas.openxmlformats.org/drawingml/2006/main">
          <a:off x="4248472" y="864096"/>
          <a:ext cx="501886" cy="3545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ES" sz="1800" b="1" dirty="0">
              <a:solidFill>
                <a:srgbClr val="C00000"/>
              </a:solidFill>
            </a:rPr>
            <a:t>79</a:t>
          </a:r>
        </a:p>
      </cdr:txBody>
    </cdr:sp>
  </cdr:relSizeAnchor>
  <cdr:relSizeAnchor xmlns:cdr="http://schemas.openxmlformats.org/drawingml/2006/chartDrawing">
    <cdr:from>
      <cdr:x>0.85809</cdr:x>
      <cdr:y>0.17831</cdr:y>
    </cdr:from>
    <cdr:to>
      <cdr:x>0.91523</cdr:x>
      <cdr:y>0.25148</cdr:y>
    </cdr:to>
    <cdr:sp macro="" textlink="">
      <cdr:nvSpPr>
        <cdr:cNvPr id="5" name="1 CuadroTexto"/>
        <cdr:cNvSpPr txBox="1"/>
      </cdr:nvSpPr>
      <cdr:spPr>
        <a:xfrm xmlns:a="http://schemas.openxmlformats.org/drawingml/2006/main">
          <a:off x="7538298" y="864096"/>
          <a:ext cx="501974" cy="35458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ES" sz="1800" b="1" dirty="0">
              <a:solidFill>
                <a:schemeClr val="accent1"/>
              </a:solidFill>
            </a:rPr>
            <a:t>86</a:t>
          </a:r>
        </a:p>
      </cdr:txBody>
    </cdr:sp>
  </cdr:relSizeAnchor>
  <cdr:relSizeAnchor xmlns:cdr="http://schemas.openxmlformats.org/drawingml/2006/chartDrawing">
    <cdr:from>
      <cdr:x>0.7623</cdr:x>
      <cdr:y>0.35662</cdr:y>
    </cdr:from>
    <cdr:to>
      <cdr:x>0.81944</cdr:x>
      <cdr:y>0.42978</cdr:y>
    </cdr:to>
    <cdr:sp macro="" textlink="">
      <cdr:nvSpPr>
        <cdr:cNvPr id="6" name="1 CuadroTexto"/>
        <cdr:cNvSpPr txBox="1"/>
      </cdr:nvSpPr>
      <cdr:spPr>
        <a:xfrm xmlns:a="http://schemas.openxmlformats.org/drawingml/2006/main">
          <a:off x="6696744" y="1728192"/>
          <a:ext cx="501973" cy="3545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ES" sz="1800" b="1" dirty="0">
              <a:solidFill>
                <a:schemeClr val="accent6"/>
              </a:solidFill>
            </a:rPr>
            <a:t>55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E2C2F8-AC7F-45B8-8555-0787F09E5117}" type="datetimeFigureOut">
              <a:rPr lang="es-ES" smtClean="0"/>
              <a:t>11/01/2019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93D751-1D36-4435-9FA1-93D97CFF7590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603903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21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576D56A-4EAC-4FF8-9AF5-545E908C22C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8782489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_tradn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5D6A24-C256-4ED5-8132-4CCAEF506D01}" type="slidenum">
              <a:rPr lang="es-ES" smtClean="0"/>
              <a:pPr/>
              <a:t>1</a:t>
            </a:fld>
            <a:endParaRPr lang="es-E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 smtClean="0"/>
              <a:t>SON PACIENTES TRASPLANTADOS</a:t>
            </a:r>
          </a:p>
          <a:p>
            <a:endParaRPr lang="es-ES" dirty="0" smtClean="0"/>
          </a:p>
          <a:p>
            <a:r>
              <a:rPr lang="es-ES" dirty="0" smtClean="0"/>
              <a:t>992 EN 2017 </a:t>
            </a:r>
          </a:p>
          <a:p>
            <a:r>
              <a:rPr lang="es-ES" dirty="0" smtClean="0"/>
              <a:t>1111 en 2018</a:t>
            </a:r>
          </a:p>
          <a:p>
            <a:endParaRPr lang="es-ES" dirty="0" smtClean="0"/>
          </a:p>
          <a:p>
            <a:r>
              <a:rPr lang="es-ES" dirty="0" smtClean="0"/>
              <a:t>LLEVAMOS</a:t>
            </a:r>
            <a:r>
              <a:rPr lang="es-ES" baseline="0" dirty="0" smtClean="0"/>
              <a:t> 9 PÁNCREAS</a:t>
            </a:r>
            <a:endParaRPr lang="es-ES" dirty="0" smtClean="0"/>
          </a:p>
          <a:p>
            <a:endParaRPr lang="es-ES" dirty="0" smtClean="0"/>
          </a:p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76D56A-4EAC-4FF8-9AF5-545E908C22C0}" type="slidenum">
              <a:rPr lang="es-ES" smtClean="0"/>
              <a:pPr>
                <a:defRPr/>
              </a:pPr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388558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76D56A-4EAC-4FF8-9AF5-545E908C22C0}" type="slidenum">
              <a:rPr lang="es-ES" smtClean="0"/>
              <a:pPr>
                <a:defRPr/>
              </a:pPr>
              <a:t>1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624993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654" tIns="45327" rIns="90654" bIns="45327" anchor="b"/>
          <a:lstStyle/>
          <a:p>
            <a:pPr algn="r"/>
            <a:fld id="{862358F9-9346-46C8-8454-36760872E1A7}" type="slidenum">
              <a:rPr lang="es-ES" sz="1200"/>
              <a:pPr algn="r"/>
              <a:t>12</a:t>
            </a:fld>
            <a:endParaRPr lang="es-ES" sz="1200" dirty="0"/>
          </a:p>
        </p:txBody>
      </p:sp>
      <p:sp>
        <p:nvSpPr>
          <p:cNvPr id="1587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587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S_tradnl" dirty="0" smtClean="0"/>
          </a:p>
        </p:txBody>
      </p:sp>
    </p:spTree>
    <p:extLst>
      <p:ext uri="{BB962C8B-B14F-4D97-AF65-F5344CB8AC3E}">
        <p14:creationId xmlns:p14="http://schemas.microsoft.com/office/powerpoint/2010/main" val="36104393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2A9FA7A3-0E76-4D1C-B503-B74FD83E4862}" type="slidenum">
              <a:rPr lang="de-DE" altLang="es-ES" smtClean="0"/>
              <a:pPr eaLnBrk="1" hangingPunct="1">
                <a:spcBef>
                  <a:spcPct val="0"/>
                </a:spcBef>
              </a:pPr>
              <a:t>13</a:t>
            </a:fld>
            <a:endParaRPr lang="de-DE" altLang="es-ES" smtClean="0"/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s-ES" altLang="es-ES" smtClean="0"/>
          </a:p>
        </p:txBody>
      </p:sp>
    </p:spTree>
    <p:extLst>
      <p:ext uri="{BB962C8B-B14F-4D97-AF65-F5344CB8AC3E}">
        <p14:creationId xmlns:p14="http://schemas.microsoft.com/office/powerpoint/2010/main" val="3141756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6387" name="2 Marcador de notas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sz="120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Hasta 2017, 59.700 trasplantes hematopoyéticos, si añadimos los de 2018 (dato que tendremos a mediados de marzo) serán alrededor de 63.000.</a:t>
            </a:r>
          </a:p>
          <a:p>
            <a:pPr eaLnBrk="1" hangingPunct="1">
              <a:defRPr/>
            </a:pPr>
            <a:endParaRPr lang="es-ES" sz="800" dirty="0" smtClean="0"/>
          </a:p>
        </p:txBody>
      </p:sp>
      <p:sp>
        <p:nvSpPr>
          <p:cNvPr id="22532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9E9047F-175F-4CF9-9E2E-CC780F599AA7}" type="slidenum">
              <a:rPr lang="es-ES" smtClean="0"/>
              <a:pPr/>
              <a:t>14</a:t>
            </a:fld>
            <a:endParaRPr lang="es-ES" smtClean="0"/>
          </a:p>
        </p:txBody>
      </p:sp>
    </p:spTree>
    <p:extLst>
      <p:ext uri="{BB962C8B-B14F-4D97-AF65-F5344CB8AC3E}">
        <p14:creationId xmlns:p14="http://schemas.microsoft.com/office/powerpoint/2010/main" val="6401335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76D56A-4EAC-4FF8-9AF5-545E908C22C0}" type="slidenum">
              <a:rPr lang="es-ES" smtClean="0"/>
              <a:pPr>
                <a:defRPr/>
              </a:pPr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893972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331E0D2-3ADE-42EF-A579-70CDAE4777AF}" type="slidenum">
              <a:rPr lang="es-ES" smtClean="0">
                <a:latin typeface="Arial" pitchFamily="34" charset="0"/>
              </a:rPr>
              <a:pPr/>
              <a:t>16</a:t>
            </a:fld>
            <a:endParaRPr lang="es-ES" smtClean="0">
              <a:latin typeface="Arial" pitchFamily="34" charset="0"/>
            </a:endParaRPr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s-ES" dirty="0" smtClean="0">
                <a:latin typeface="Arial" pitchFamily="34" charset="0"/>
              </a:rPr>
              <a:t>17% en ME y 9% en asistolia</a:t>
            </a:r>
          </a:p>
        </p:txBody>
      </p:sp>
    </p:spTree>
    <p:extLst>
      <p:ext uri="{BB962C8B-B14F-4D97-AF65-F5344CB8AC3E}">
        <p14:creationId xmlns:p14="http://schemas.microsoft.com/office/powerpoint/2010/main" val="39532347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7523" name="2 Marcador de notas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s-ES_tradnl" altLang="es-ES" baseline="0" dirty="0" smtClean="0">
                <a:latin typeface="Arial" pitchFamily="34" charset="0"/>
              </a:rPr>
              <a:t>Total tx 4876 (no cuento vivos)</a:t>
            </a:r>
          </a:p>
          <a:p>
            <a:pPr eaLnBrk="1" hangingPunct="1"/>
            <a:r>
              <a:rPr lang="es-ES_tradnl" altLang="es-ES" baseline="0" dirty="0" smtClean="0">
                <a:latin typeface="Arial" pitchFamily="34" charset="0"/>
              </a:rPr>
              <a:t>AQUÍ HABLAMOS DE PACIENTES TRASPLANTADOS (LOS COMBINADOS SE CUENTAN COMO 1). Los 5314 de la </a:t>
            </a:r>
            <a:r>
              <a:rPr lang="es-ES_tradnl" altLang="es-ES" baseline="0" dirty="0" err="1" smtClean="0">
                <a:latin typeface="Arial" pitchFamily="34" charset="0"/>
              </a:rPr>
              <a:t>diapo</a:t>
            </a:r>
            <a:r>
              <a:rPr lang="es-ES_tradnl" altLang="es-ES" baseline="0" dirty="0" smtClean="0">
                <a:latin typeface="Arial" pitchFamily="34" charset="0"/>
              </a:rPr>
              <a:t> de </a:t>
            </a:r>
            <a:r>
              <a:rPr lang="es-ES_tradnl" altLang="es-ES" baseline="0" dirty="0" err="1" smtClean="0">
                <a:latin typeface="Arial" pitchFamily="34" charset="0"/>
              </a:rPr>
              <a:t>evol</a:t>
            </a:r>
            <a:r>
              <a:rPr lang="es-ES_tradnl" altLang="es-ES" baseline="0" dirty="0" smtClean="0">
                <a:latin typeface="Arial" pitchFamily="34" charset="0"/>
              </a:rPr>
              <a:t> tx cuenta órganos (y vivos)</a:t>
            </a:r>
          </a:p>
          <a:p>
            <a:pPr eaLnBrk="1" hangingPunct="1"/>
            <a:r>
              <a:rPr lang="es-ES_tradnl" altLang="es-ES" baseline="0" dirty="0" smtClean="0">
                <a:latin typeface="Arial" pitchFamily="34" charset="0"/>
              </a:rPr>
              <a:t>Hay 16 tx con donantes de centros internacionales</a:t>
            </a:r>
          </a:p>
          <a:p>
            <a:pPr eaLnBrk="1" hangingPunct="1"/>
            <a:endParaRPr lang="es-ES_tradnl" altLang="es-ES" baseline="0" dirty="0" smtClean="0">
              <a:latin typeface="Arial" pitchFamily="34" charset="0"/>
            </a:endParaRPr>
          </a:p>
          <a:p>
            <a:pPr eaLnBrk="1" hangingPunct="1"/>
            <a:r>
              <a:rPr lang="es-ES_tradnl" altLang="es-ES" baseline="0" dirty="0" smtClean="0">
                <a:latin typeface="Arial" pitchFamily="34" charset="0"/>
              </a:rPr>
              <a:t>El de </a:t>
            </a:r>
            <a:r>
              <a:rPr lang="es-ES_tradnl" altLang="es-ES" baseline="0" dirty="0" err="1" smtClean="0">
                <a:latin typeface="Arial" pitchFamily="34" charset="0"/>
              </a:rPr>
              <a:t>ceuta</a:t>
            </a:r>
            <a:r>
              <a:rPr lang="es-ES_tradnl" altLang="es-ES" baseline="0" dirty="0" smtClean="0">
                <a:latin typeface="Arial" pitchFamily="34" charset="0"/>
              </a:rPr>
              <a:t> se trasplantó en </a:t>
            </a:r>
            <a:r>
              <a:rPr lang="es-ES_tradnl" altLang="es-ES" baseline="0" dirty="0" err="1" smtClean="0">
                <a:latin typeface="Arial" pitchFamily="34" charset="0"/>
              </a:rPr>
              <a:t>andalucía</a:t>
            </a:r>
            <a:endParaRPr lang="es-ES_tradnl" altLang="es-ES" baseline="0" dirty="0" smtClean="0">
              <a:latin typeface="Arial" pitchFamily="34" charset="0"/>
            </a:endParaRPr>
          </a:p>
          <a:p>
            <a:pPr eaLnBrk="1" hangingPunct="1"/>
            <a:r>
              <a:rPr lang="es-ES_tradnl" altLang="es-ES" baseline="0" dirty="0" smtClean="0">
                <a:latin typeface="Arial" pitchFamily="34" charset="0"/>
              </a:rPr>
              <a:t>De los 4 tx de Melilla, 3 en </a:t>
            </a:r>
            <a:r>
              <a:rPr lang="es-ES_tradnl" altLang="es-ES" baseline="0" dirty="0" err="1" smtClean="0">
                <a:latin typeface="Arial" pitchFamily="34" charset="0"/>
              </a:rPr>
              <a:t>andalucía</a:t>
            </a:r>
            <a:r>
              <a:rPr lang="es-ES_tradnl" altLang="es-ES" baseline="0" dirty="0" smtClean="0">
                <a:latin typeface="Arial" pitchFamily="34" charset="0"/>
              </a:rPr>
              <a:t> y 1 en Cataluña (el pulmonar)</a:t>
            </a:r>
          </a:p>
          <a:p>
            <a:pPr eaLnBrk="1" hangingPunct="1"/>
            <a:endParaRPr lang="es-ES_tradnl" altLang="es-ES" baseline="0" dirty="0" smtClean="0">
              <a:latin typeface="Arial" pitchFamily="34" charset="0"/>
            </a:endParaRPr>
          </a:p>
          <a:p>
            <a:pPr eaLnBrk="1" hangingPunct="1"/>
            <a:r>
              <a:rPr lang="es-ES_tradnl" altLang="es-ES" baseline="0" dirty="0" smtClean="0">
                <a:latin typeface="Arial" pitchFamily="34" charset="0"/>
              </a:rPr>
              <a:t>Además se exportaron un corazón infantil (1 año) de Extremadura a Portugal y unos pulmones (BP) de Cataluña a Francia (adulto 46 años AB)</a:t>
            </a:r>
          </a:p>
        </p:txBody>
      </p:sp>
      <p:sp>
        <p:nvSpPr>
          <p:cNvPr id="107524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F0430C2B-9357-4B67-940B-A39F07C8DE81}" type="slidenum">
              <a:rPr lang="es-ES" altLang="es-ES" smtClean="0">
                <a:solidFill>
                  <a:prstClr val="black"/>
                </a:solidFill>
              </a:rPr>
              <a:pPr eaLnBrk="1" hangingPunct="1"/>
              <a:t>17</a:t>
            </a:fld>
            <a:endParaRPr lang="es-ES" altLang="es-E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6014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3C36CB6-FF1F-4630-8046-7D00A77FABF2}" type="slidenum">
              <a:rPr lang="es-ES"/>
              <a:pPr/>
              <a:t>18</a:t>
            </a:fld>
            <a:endParaRPr lang="es-ES"/>
          </a:p>
        </p:txBody>
      </p:sp>
      <p:sp>
        <p:nvSpPr>
          <p:cNvPr id="787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874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just">
              <a:buFont typeface="Symbol" pitchFamily="18" charset="2"/>
              <a:buChar char=""/>
            </a:pPr>
            <a:r>
              <a:rPr lang="es-ES_tradnl" b="1"/>
              <a:t>Thank you very much for your atention</a:t>
            </a:r>
            <a:endParaRPr lang="es-ES" b="1"/>
          </a:p>
          <a:p>
            <a:endParaRPr lang="es-ES" b="1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6518A76-7622-4542-B645-DFCEC60257D9}" type="slidenum">
              <a:rPr lang="es-ES" smtClean="0"/>
              <a:pPr>
                <a:defRPr/>
              </a:pPr>
              <a:t>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636672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4579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S_tradnl" dirty="0" smtClean="0"/>
          </a:p>
        </p:txBody>
      </p:sp>
      <p:sp>
        <p:nvSpPr>
          <p:cNvPr id="24580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CDE6E39-F77E-4711-842B-B7F699BE8880}" type="slidenum">
              <a:rPr lang="es-ES" smtClean="0"/>
              <a:pPr/>
              <a:t>3</a:t>
            </a:fld>
            <a:endParaRPr lang="es-ES" smtClean="0"/>
          </a:p>
        </p:txBody>
      </p:sp>
    </p:spTree>
    <p:extLst>
      <p:ext uri="{BB962C8B-B14F-4D97-AF65-F5344CB8AC3E}">
        <p14:creationId xmlns:p14="http://schemas.microsoft.com/office/powerpoint/2010/main" val="35126125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94C7363-8E79-4E56-B255-9DBED97DF1C6}" type="slidenum">
              <a:rPr lang="es-ES"/>
              <a:pPr/>
              <a:t>4</a:t>
            </a:fld>
            <a:endParaRPr lang="es-ES"/>
          </a:p>
        </p:txBody>
      </p:sp>
      <p:sp>
        <p:nvSpPr>
          <p:cNvPr id="216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6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s-ES" b="1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6627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s-ES" dirty="0" smtClean="0"/>
              <a:t>Media de edad 60,1 años</a:t>
            </a:r>
          </a:p>
        </p:txBody>
      </p:sp>
      <p:sp>
        <p:nvSpPr>
          <p:cNvPr id="26628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F9C1FC2-8465-4D22-9EA8-08DA5EB2B719}" type="slidenum">
              <a:rPr lang="es-ES" smtClean="0"/>
              <a:pPr/>
              <a:t>5</a:t>
            </a:fld>
            <a:endParaRPr lang="es-ES" smtClean="0"/>
          </a:p>
        </p:txBody>
      </p:sp>
    </p:spTree>
    <p:extLst>
      <p:ext uri="{BB962C8B-B14F-4D97-AF65-F5344CB8AC3E}">
        <p14:creationId xmlns:p14="http://schemas.microsoft.com/office/powerpoint/2010/main" val="365444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651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s-ES" smtClean="0"/>
          </a:p>
        </p:txBody>
      </p:sp>
      <p:sp>
        <p:nvSpPr>
          <p:cNvPr id="27652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3AF4F14-DCB2-440D-9BA4-0BC0BB19D263}" type="slidenum">
              <a:rPr lang="es-ES" smtClean="0"/>
              <a:pPr/>
              <a:t>6</a:t>
            </a:fld>
            <a:endParaRPr lang="es-ES" smtClean="0"/>
          </a:p>
        </p:txBody>
      </p:sp>
    </p:spTree>
    <p:extLst>
      <p:ext uri="{BB962C8B-B14F-4D97-AF65-F5344CB8AC3E}">
        <p14:creationId xmlns:p14="http://schemas.microsoft.com/office/powerpoint/2010/main" val="25152134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99B89F88-4CE0-46B3-8768-B0AE67F72C1C}" type="slidenum">
              <a:rPr lang="es-ES" altLang="es-ES" smtClean="0">
                <a:solidFill>
                  <a:prstClr val="black"/>
                </a:solidFill>
              </a:rPr>
              <a:pPr eaLnBrk="1" hangingPunct="1"/>
              <a:t>7</a:t>
            </a:fld>
            <a:endParaRPr lang="es-ES" altLang="es-ES" smtClean="0">
              <a:solidFill>
                <a:prstClr val="black"/>
              </a:solidFill>
            </a:endParaRPr>
          </a:p>
        </p:txBody>
      </p:sp>
      <p:sp>
        <p:nvSpPr>
          <p:cNvPr id="1034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34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altLang="es-ES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5218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1075" name="2 Marcador de notas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s-ES" altLang="es-ES" dirty="0" smtClean="0"/>
              <a:t>629 donantes</a:t>
            </a:r>
            <a:r>
              <a:rPr lang="es-ES" altLang="es-ES" baseline="0" dirty="0" smtClean="0"/>
              <a:t> en asistolia</a:t>
            </a:r>
            <a:endParaRPr lang="es-ES" altLang="es-ES" dirty="0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73C5365-B2D1-474B-86F0-672747D0CE31}" type="slidenum">
              <a:rPr lang="es-ES" smtClean="0"/>
              <a:pPr>
                <a:defRPr/>
              </a:pPr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301423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s-ES" dirty="0" smtClean="0">
                <a:latin typeface="+mn-lt"/>
              </a:rPr>
              <a:t>Total tx (absoluto y pmp) SON</a:t>
            </a:r>
            <a:r>
              <a:rPr lang="es-ES" baseline="0" dirty="0" smtClean="0">
                <a:latin typeface="+mn-lt"/>
              </a:rPr>
              <a:t> ORGANOS TRASPLANTADOS</a:t>
            </a:r>
            <a:endParaRPr lang="es-ES" dirty="0" smtClean="0">
              <a:latin typeface="+mn-lt"/>
            </a:endParaRPr>
          </a:p>
          <a:p>
            <a:endParaRPr lang="es-ES" dirty="0" smtClean="0">
              <a:latin typeface="+mn-lt"/>
            </a:endParaRPr>
          </a:p>
          <a:p>
            <a:r>
              <a:rPr lang="es-ES" b="0" dirty="0" smtClean="0">
                <a:latin typeface="+mn-lt"/>
              </a:rPr>
              <a:t>2013:               4279                   90,8</a:t>
            </a:r>
          </a:p>
          <a:p>
            <a:r>
              <a:rPr lang="es-ES" b="1" dirty="0" smtClean="0">
                <a:latin typeface="+mn-lt"/>
              </a:rPr>
              <a:t>2018:               5318                  113,8</a:t>
            </a:r>
          </a:p>
          <a:p>
            <a:endParaRPr lang="es-ES" b="1" dirty="0" smtClean="0">
              <a:latin typeface="+mn-lt"/>
            </a:endParaRPr>
          </a:p>
          <a:p>
            <a:pPr algn="l"/>
            <a:r>
              <a:rPr lang="es-ES" dirty="0" smtClean="0">
                <a:latin typeface="Calibri" panose="020F0502020204030204" pitchFamily="34" charset="0"/>
                <a:cs typeface="Calibri" panose="020F0502020204030204" pitchFamily="34" charset="0"/>
              </a:rPr>
              <a:t>25% incremento 5 años (</a:t>
            </a:r>
            <a:r>
              <a:rPr lang="es-ES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mp</a:t>
            </a:r>
            <a:r>
              <a:rPr lang="es-ES" dirty="0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algn="l"/>
            <a:endParaRPr lang="es-ES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es-ES" dirty="0" smtClean="0">
                <a:latin typeface="Calibri" panose="020F0502020204030204" pitchFamily="34" charset="0"/>
                <a:cs typeface="Calibri" panose="020F0502020204030204" pitchFamily="34" charset="0"/>
              </a:rPr>
              <a:t>24% incremento 5 años (n absoluto)</a:t>
            </a:r>
          </a:p>
          <a:p>
            <a:endParaRPr lang="es-ES" b="1" dirty="0" smtClean="0">
              <a:latin typeface="+mn-lt"/>
            </a:endParaRPr>
          </a:p>
        </p:txBody>
      </p:sp>
      <p:sp>
        <p:nvSpPr>
          <p:cNvPr id="36868" name="3 Marcador de número de diapositiva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E2EB1C1-56AC-46A8-9235-EDA76FD03D5B}" type="slidenum">
              <a:rPr lang="es-ES" smtClean="0"/>
              <a:pPr/>
              <a:t>9</a:t>
            </a:fld>
            <a:endParaRPr lang="es-ES" smtClean="0"/>
          </a:p>
        </p:txBody>
      </p:sp>
    </p:spTree>
    <p:extLst>
      <p:ext uri="{BB962C8B-B14F-4D97-AF65-F5344CB8AC3E}">
        <p14:creationId xmlns:p14="http://schemas.microsoft.com/office/powerpoint/2010/main" val="31241791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/>
          <p:nvPr/>
        </p:nvSpPr>
        <p:spPr bwMode="white">
          <a:xfrm>
            <a:off x="0" y="5971032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9 Rectángulo"/>
          <p:cNvSpPr/>
          <p:nvPr/>
        </p:nvSpPr>
        <p:spPr>
          <a:xfrm>
            <a:off x="-9144" y="6053328"/>
            <a:ext cx="2249424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10 Rectángulo"/>
          <p:cNvSpPr/>
          <p:nvPr/>
        </p:nvSpPr>
        <p:spPr>
          <a:xfrm>
            <a:off x="2359152" y="6044184"/>
            <a:ext cx="6784848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7 Título"/>
          <p:cNvSpPr>
            <a:spLocks noGrp="1"/>
          </p:cNvSpPr>
          <p:nvPr>
            <p:ph type="ctrTitle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9" name="8 Subtítulo"/>
          <p:cNvSpPr>
            <a:spLocks noGrp="1"/>
          </p:cNvSpPr>
          <p:nvPr>
            <p:ph type="subTitle" idx="1"/>
          </p:nvPr>
        </p:nvSpPr>
        <p:spPr>
          <a:xfrm>
            <a:off x="2362200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s-ES" smtClean="0"/>
              <a:t>Haga clic para modificar el estilo de subtítulo del patrón</a:t>
            </a:r>
            <a:endParaRPr kumimoji="0" lang="en-US"/>
          </a:p>
        </p:txBody>
      </p:sp>
      <p:sp>
        <p:nvSpPr>
          <p:cNvPr id="28" name="27 Marcador de fecha"/>
          <p:cNvSpPr>
            <a:spLocks noGrp="1"/>
          </p:cNvSpPr>
          <p:nvPr>
            <p:ph type="dt" sz="half" idx="10"/>
          </p:nvPr>
        </p:nvSpPr>
        <p:spPr>
          <a:xfrm>
            <a:off x="76200" y="6068699"/>
            <a:ext cx="20574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7" name="16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085393" y="236538"/>
            <a:ext cx="58674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29" name="2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001000" y="228600"/>
            <a:ext cx="838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DDB3BD88-D360-4355-AB78-6FE5715FA16B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1" t="29927" r="3946" b="26886"/>
          <a:stretch>
            <a:fillRect/>
          </a:stretch>
        </p:blipFill>
        <p:spPr bwMode="auto">
          <a:xfrm>
            <a:off x="7596188" y="-27384"/>
            <a:ext cx="1547812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Imagen 14"/>
          <p:cNvPicPr>
            <a:picLocks noChangeAspect="1"/>
          </p:cNvPicPr>
          <p:nvPr userDrawn="1"/>
        </p:nvPicPr>
        <p:blipFill rotWithShape="1">
          <a:blip r:embed="rId3"/>
          <a:srcRect t="2157" r="25397" b="1"/>
          <a:stretch/>
        </p:blipFill>
        <p:spPr>
          <a:xfrm>
            <a:off x="0" y="-12032"/>
            <a:ext cx="2309984" cy="604578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6BB4182-8F66-4FC0-8675-868FD594BB98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vertical y tex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553200" y="609600"/>
            <a:ext cx="2057400" cy="5516563"/>
          </a:xfrm>
        </p:spPr>
        <p:txBody>
          <a:bodyPr vert="eaVert"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5562600" cy="5516564"/>
          </a:xfrm>
        </p:spPr>
        <p:txBody>
          <a:bodyPr vert="eaVert"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553200" y="6248402"/>
            <a:ext cx="2209800" cy="365125"/>
          </a:xfrm>
        </p:spPr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57201" y="6248207"/>
            <a:ext cx="5573483" cy="365125"/>
          </a:xfrm>
        </p:spPr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7" name="6 Rectángulo"/>
          <p:cNvSpPr/>
          <p:nvPr/>
        </p:nvSpPr>
        <p:spPr bwMode="white">
          <a:xfrm>
            <a:off x="6096318" y="0"/>
            <a:ext cx="320040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7 Rectángulo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8 Rectángulo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2"/>
            <a:ext cx="533400" cy="244476"/>
          </a:xfrm>
        </p:spPr>
        <p:txBody>
          <a:bodyPr/>
          <a:lstStyle/>
          <a:p>
            <a:pPr>
              <a:defRPr/>
            </a:pPr>
            <a:fld id="{A3E53004-8726-4EE0-86E4-376F65F53164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pic>
        <p:nvPicPr>
          <p:cNvPr id="11" name="Picture 1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1" t="29927" r="3946" b="26886"/>
          <a:stretch>
            <a:fillRect/>
          </a:stretch>
        </p:blipFill>
        <p:spPr bwMode="auto">
          <a:xfrm>
            <a:off x="7596188" y="-27384"/>
            <a:ext cx="1547812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Imagen 11"/>
          <p:cNvPicPr>
            <a:picLocks noChangeAspect="1"/>
          </p:cNvPicPr>
          <p:nvPr userDrawn="1"/>
        </p:nvPicPr>
        <p:blipFill rotWithShape="1">
          <a:blip r:embed="rId3"/>
          <a:srcRect t="2157" r="25397" b="1"/>
          <a:stretch/>
        </p:blipFill>
        <p:spPr>
          <a:xfrm>
            <a:off x="0" y="-12032"/>
            <a:ext cx="2309984" cy="60457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0" y="6643710"/>
            <a:ext cx="7143768" cy="21429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s-ES" dirty="0" smtClean="0"/>
              <a:t>Donación y Trasplante en Medicina Intensiva. Valladolid 4.marzo.2009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44159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0" y="6643710"/>
            <a:ext cx="7143768" cy="21429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s-ES" dirty="0" smtClean="0"/>
              <a:t>Donación y Trasplante en Medicina Intensiva. Valladolid 4.marzo.2009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610566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CF445597-86D5-4A84-91FE-C70CDE6D5B6D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8" name="7 Marcador de contenido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Encabezado de secció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7" name="6 Rectángulo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7 Rectángulo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8 Rectángulo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12" name="1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13" name="12 Marcador de número de diapositiva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295400" cy="701676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320B55FB-462E-4ADD-B6ED-A6EFED1B5C42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14" name="13 Marcador de pie de página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pic>
        <p:nvPicPr>
          <p:cNvPr id="15" name="Picture 1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1" t="29927" r="3946" b="26886"/>
          <a:stretch>
            <a:fillRect/>
          </a:stretch>
        </p:blipFill>
        <p:spPr bwMode="auto">
          <a:xfrm>
            <a:off x="7596188" y="-27384"/>
            <a:ext cx="1547812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 rotWithShape="1">
          <a:blip r:embed="rId3"/>
          <a:srcRect t="2157" r="25397" b="1"/>
          <a:stretch/>
        </p:blipFill>
        <p:spPr>
          <a:xfrm>
            <a:off x="0" y="-12032"/>
            <a:ext cx="2309984" cy="60457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9" name="8 Marcador de contenido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11" name="10 Marcador de contenido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8" name="7 Marcador de fecha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>
              <a:defRPr/>
            </a:pPr>
            <a:endParaRPr lang="es-ES"/>
          </a:p>
        </p:txBody>
      </p:sp>
      <p:sp>
        <p:nvSpPr>
          <p:cNvPr id="10" name="9 Marcador de número de diapositiva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>
              <a:defRPr/>
            </a:pPr>
            <a:fld id="{3AEE9BA4-6948-4BE3-ACD0-DB3E0F418908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12" name="11 Marcador de pie de página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>
              <a:defRPr/>
            </a:pPr>
            <a:endParaRPr lang="es-E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33400" y="273050"/>
            <a:ext cx="8153400" cy="8699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11" name="10 Marcador de contenido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13" name="12 Marcador de contenido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  <p:sp>
        <p:nvSpPr>
          <p:cNvPr id="10" name="9 Marcador de fecha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>
              <a:defRPr/>
            </a:pPr>
            <a:endParaRPr lang="es-ES"/>
          </a:p>
        </p:txBody>
      </p:sp>
      <p:sp>
        <p:nvSpPr>
          <p:cNvPr id="12" name="11 Marcador de número de diapositiva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>
              <a:defRPr/>
            </a:pPr>
            <a:fld id="{8221AD8F-85F0-48BC-B0A9-4C1C14B132AE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14" name="13 Marcador de pie de página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>
              <a:defRPr/>
            </a:pPr>
            <a:endParaRPr lang="es-ES"/>
          </a:p>
        </p:txBody>
      </p:sp>
      <p:sp>
        <p:nvSpPr>
          <p:cNvPr id="16" name="15 Marcador de texto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15" name="14 Marcador de texto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ED0FB07C-B316-4666-903C-7C21849E5403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B201F719-471D-42E0-A0DB-58F47F3A1856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pic>
        <p:nvPicPr>
          <p:cNvPr id="7" name="Picture 1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1" t="29927" r="3946" b="26886"/>
          <a:stretch>
            <a:fillRect/>
          </a:stretch>
        </p:blipFill>
        <p:spPr bwMode="auto">
          <a:xfrm>
            <a:off x="7596188" y="-27384"/>
            <a:ext cx="1547812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Imagen 7"/>
          <p:cNvPicPr>
            <a:picLocks noChangeAspect="1"/>
          </p:cNvPicPr>
          <p:nvPr userDrawn="1"/>
        </p:nvPicPr>
        <p:blipFill rotWithShape="1">
          <a:blip r:embed="rId3"/>
          <a:srcRect t="2157" r="25397" b="1"/>
          <a:stretch/>
        </p:blipFill>
        <p:spPr>
          <a:xfrm>
            <a:off x="0" y="-12032"/>
            <a:ext cx="2309984" cy="60457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0" y="273050"/>
            <a:ext cx="8077200" cy="869950"/>
          </a:xfrm>
        </p:spPr>
        <p:txBody>
          <a:bodyPr anchor="ctr"/>
          <a:lstStyle>
            <a:lvl1pPr algn="l">
              <a:buNone/>
              <a:defRPr sz="4400" b="0"/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68B0FA72-7F30-4A65-8789-F3881EA9A317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9" name="8 Marcador de contenido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 eaLnBrk="1" latinLnBrk="0" hangingPunct="1"/>
            <a:r>
              <a:rPr lang="es-ES" smtClean="0"/>
              <a:t>Haga clic para modificar el estilo de texto del patrón</a:t>
            </a:r>
          </a:p>
          <a:p>
            <a:pPr lvl="1" eaLnBrk="1" latinLnBrk="0" hangingPunct="1"/>
            <a:r>
              <a:rPr lang="es-ES" smtClean="0"/>
              <a:t>Segundo nivel</a:t>
            </a:r>
          </a:p>
          <a:p>
            <a:pPr lvl="2" eaLnBrk="1" latinLnBrk="0" hangingPunct="1"/>
            <a:r>
              <a:rPr lang="es-ES" smtClean="0"/>
              <a:t>Tercer nivel</a:t>
            </a:r>
          </a:p>
          <a:p>
            <a:pPr lvl="3" eaLnBrk="1" latinLnBrk="0" hangingPunct="1"/>
            <a:r>
              <a:rPr lang="es-ES" smtClean="0"/>
              <a:t>Cuarto nivel</a:t>
            </a:r>
          </a:p>
          <a:p>
            <a:pPr lvl="4" eaLnBrk="1" latinLnBrk="0" hangingPunct="1"/>
            <a:r>
              <a:rPr lang="es-ES" smtClean="0"/>
              <a:t>Quinto nivel</a:t>
            </a:r>
            <a:endParaRPr kumimoji="0"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n con título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</p:txBody>
      </p:sp>
      <p:sp>
        <p:nvSpPr>
          <p:cNvPr id="8" name="7 Rectángulo"/>
          <p:cNvSpPr/>
          <p:nvPr/>
        </p:nvSpPr>
        <p:spPr bwMode="white">
          <a:xfrm>
            <a:off x="-9144" y="4572000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8 Rectángulo"/>
          <p:cNvSpPr/>
          <p:nvPr/>
        </p:nvSpPr>
        <p:spPr>
          <a:xfrm>
            <a:off x="-9144" y="4663440"/>
            <a:ext cx="1463040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9 Rectángulo"/>
          <p:cNvSpPr/>
          <p:nvPr/>
        </p:nvSpPr>
        <p:spPr>
          <a:xfrm>
            <a:off x="1545336" y="4654296"/>
            <a:ext cx="7598664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11" name="10 Rectángulo"/>
          <p:cNvSpPr/>
          <p:nvPr/>
        </p:nvSpPr>
        <p:spPr bwMode="white">
          <a:xfrm>
            <a:off x="1447800" y="0"/>
            <a:ext cx="100584" cy="686714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11 Marcador de fecha"/>
          <p:cNvSpPr>
            <a:spLocks noGrp="1"/>
          </p:cNvSpPr>
          <p:nvPr>
            <p:ph type="dt" sz="half" idx="10"/>
          </p:nvPr>
        </p:nvSpPr>
        <p:spPr>
          <a:xfrm>
            <a:off x="6248400" y="6248400"/>
            <a:ext cx="2667000" cy="365125"/>
          </a:xfrm>
        </p:spPr>
        <p:txBody>
          <a:bodyPr rtlCol="0"/>
          <a:lstStyle/>
          <a:p>
            <a:pPr>
              <a:defRPr/>
            </a:pPr>
            <a:endParaRPr lang="es-ES"/>
          </a:p>
        </p:txBody>
      </p:sp>
      <p:sp>
        <p:nvSpPr>
          <p:cNvPr id="13" name="12 Marcador de número de diapositiva"/>
          <p:cNvSpPr>
            <a:spLocks noGrp="1"/>
          </p:cNvSpPr>
          <p:nvPr>
            <p:ph type="sldNum" sz="quarter" idx="11"/>
          </p:nvPr>
        </p:nvSpPr>
        <p:spPr>
          <a:xfrm>
            <a:off x="0" y="4667249"/>
            <a:ext cx="1447800" cy="663578"/>
          </a:xfrm>
        </p:spPr>
        <p:txBody>
          <a:bodyPr rtlCol="0"/>
          <a:lstStyle>
            <a:lvl1pPr>
              <a:defRPr sz="2800"/>
            </a:lvl1pPr>
          </a:lstStyle>
          <a:p>
            <a:pPr>
              <a:defRPr/>
            </a:pPr>
            <a:fld id="{59E3EED1-1F3B-472F-9CF3-5408176AFF31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sp>
        <p:nvSpPr>
          <p:cNvPr id="14" name="13 Marcador de pie de página"/>
          <p:cNvSpPr>
            <a:spLocks noGrp="1"/>
          </p:cNvSpPr>
          <p:nvPr>
            <p:ph type="ftr" sz="quarter" idx="12"/>
          </p:nvPr>
        </p:nvSpPr>
        <p:spPr>
          <a:xfrm>
            <a:off x="1600200" y="6248206"/>
            <a:ext cx="4572000" cy="365125"/>
          </a:xfrm>
        </p:spPr>
        <p:txBody>
          <a:bodyPr rtlCol="0"/>
          <a:lstStyle/>
          <a:p>
            <a:pPr>
              <a:defRPr/>
            </a:pP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s-ES" smtClean="0"/>
              <a:t>Haga clic en el icono para agregar una imagen</a:t>
            </a:r>
            <a:endParaRPr kumimoji="0" lang="en-US" dirty="0"/>
          </a:p>
        </p:txBody>
      </p:sp>
      <p:pic>
        <p:nvPicPr>
          <p:cNvPr id="15" name="Picture 1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1" t="29927" r="3946" b="26886"/>
          <a:stretch>
            <a:fillRect/>
          </a:stretch>
        </p:blipFill>
        <p:spPr bwMode="auto">
          <a:xfrm>
            <a:off x="7596188" y="-27384"/>
            <a:ext cx="1547812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 rotWithShape="1">
          <a:blip r:embed="rId3"/>
          <a:srcRect t="2157" r="25397" b="1"/>
          <a:stretch/>
        </p:blipFill>
        <p:spPr>
          <a:xfrm>
            <a:off x="0" y="-12032"/>
            <a:ext cx="2309984" cy="604578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21 Marcador de título"/>
          <p:cNvSpPr>
            <a:spLocks noGrp="1"/>
          </p:cNvSpPr>
          <p:nvPr>
            <p:ph type="title"/>
          </p:nvPr>
        </p:nvSpPr>
        <p:spPr>
          <a:xfrm>
            <a:off x="609600" y="228600"/>
            <a:ext cx="8153400" cy="990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s-ES" smtClean="0"/>
              <a:t>Haga clic para modificar el estilo de título del patrón</a:t>
            </a:r>
            <a:endParaRPr kumimoji="0" lang="en-US"/>
          </a:p>
        </p:txBody>
      </p:sp>
      <p:sp>
        <p:nvSpPr>
          <p:cNvPr id="13" name="12 Marcador de texto"/>
          <p:cNvSpPr>
            <a:spLocks noGrp="1"/>
          </p:cNvSpPr>
          <p:nvPr>
            <p:ph type="body" idx="1"/>
          </p:nvPr>
        </p:nvSpPr>
        <p:spPr>
          <a:xfrm>
            <a:off x="612648" y="1600200"/>
            <a:ext cx="8153400" cy="452628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s-ES" smtClean="0"/>
              <a:t>Haga clic para modificar el estilo de texto del patrón</a:t>
            </a:r>
          </a:p>
          <a:p>
            <a:pPr lvl="1" eaLnBrk="1" latinLnBrk="0" hangingPunct="1"/>
            <a:r>
              <a:rPr kumimoji="0" lang="es-ES" smtClean="0"/>
              <a:t>Segundo nivel</a:t>
            </a:r>
          </a:p>
          <a:p>
            <a:pPr lvl="2" eaLnBrk="1" latinLnBrk="0" hangingPunct="1"/>
            <a:r>
              <a:rPr kumimoji="0" lang="es-ES" smtClean="0"/>
              <a:t>Tercer nivel</a:t>
            </a:r>
          </a:p>
          <a:p>
            <a:pPr lvl="3" eaLnBrk="1" latinLnBrk="0" hangingPunct="1"/>
            <a:r>
              <a:rPr kumimoji="0" lang="es-ES" smtClean="0"/>
              <a:t>Cuarto nivel</a:t>
            </a:r>
          </a:p>
          <a:p>
            <a:pPr lvl="4" eaLnBrk="1" latinLnBrk="0" hangingPunct="1"/>
            <a:r>
              <a:rPr kumimoji="0" lang="es-ES" smtClean="0"/>
              <a:t>Quinto nivel</a:t>
            </a:r>
            <a:endParaRPr kumimoji="0" lang="en-US"/>
          </a:p>
        </p:txBody>
      </p:sp>
      <p:sp>
        <p:nvSpPr>
          <p:cNvPr id="14" name="13 Marcador de fecha"/>
          <p:cNvSpPr>
            <a:spLocks noGrp="1"/>
          </p:cNvSpPr>
          <p:nvPr>
            <p:ph type="dt" sz="half" idx="2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609600" y="6248206"/>
            <a:ext cx="5421083" cy="365125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6 Rectángulo"/>
          <p:cNvSpPr/>
          <p:nvPr/>
        </p:nvSpPr>
        <p:spPr bwMode="white">
          <a:xfrm>
            <a:off x="0" y="1234440"/>
            <a:ext cx="9144000" cy="32004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7 Rectángulo"/>
          <p:cNvSpPr/>
          <p:nvPr/>
        </p:nvSpPr>
        <p:spPr>
          <a:xfrm>
            <a:off x="0" y="1280160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8 Rectángulo"/>
          <p:cNvSpPr/>
          <p:nvPr/>
        </p:nvSpPr>
        <p:spPr>
          <a:xfrm>
            <a:off x="590550" y="1280160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3" name="22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0" y="1272222"/>
            <a:ext cx="5334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D1C95273-216B-4E79-BF2F-261ED5256BF7}" type="slidenum">
              <a:rPr lang="es-ES" smtClean="0"/>
              <a:pPr>
                <a:defRPr/>
              </a:pPr>
              <a:t>‹Nº›</a:t>
            </a:fld>
            <a:endParaRPr lang="es-ES"/>
          </a:p>
        </p:txBody>
      </p:sp>
      <p:pic>
        <p:nvPicPr>
          <p:cNvPr id="15" name="Picture 19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1" t="29927" r="3946" b="26886"/>
          <a:stretch>
            <a:fillRect/>
          </a:stretch>
        </p:blipFill>
        <p:spPr bwMode="auto">
          <a:xfrm>
            <a:off x="7596188" y="-27384"/>
            <a:ext cx="1547812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n 15"/>
          <p:cNvPicPr>
            <a:picLocks noChangeAspect="1"/>
          </p:cNvPicPr>
          <p:nvPr userDrawn="1"/>
        </p:nvPicPr>
        <p:blipFill rotWithShape="1">
          <a:blip r:embed="rId16"/>
          <a:srcRect t="2157" r="25397" b="1"/>
          <a:stretch/>
        </p:blipFill>
        <p:spPr>
          <a:xfrm>
            <a:off x="0" y="-12032"/>
            <a:ext cx="2309984" cy="60457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kumimoji="0"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7" Type="http://schemas.openxmlformats.org/officeDocument/2006/relationships/image" Target="../media/image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.jpg"/><Relationship Id="rId5" Type="http://schemas.openxmlformats.org/officeDocument/2006/relationships/image" Target="../media/image25.jpg"/><Relationship Id="rId4" Type="http://schemas.openxmlformats.org/officeDocument/2006/relationships/image" Target="../media/image24.jpg"/></Relationships>
</file>

<file path=ppt/slides/_rels/slide13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7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13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image" Target="../media/image28.png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image" Target="../media/image29.png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jpe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66.166.49.197/images/usa.gif" TargetMode="External"/><Relationship Id="rId3" Type="http://schemas.openxmlformats.org/officeDocument/2006/relationships/hyperlink" Target="http://www.google.es/url?sa=i&amp;rct=j&amp;q=&amp;esrc=s&amp;source=images&amp;cd=&amp;cad=rja&amp;uact=8&amp;ved=0ahUKEwjI2o734bbYAhXBOhQKHfFQDjgQjRwIBw&amp;url=http://siemprecolombia.com/vuelos-aerolineas-canada-hasta-bogota/mapa-y-bandera-de-canada/&amp;psig=AOvVaw1qtueOrXtxbfNWd1SbPnaL&amp;ust=1514896077498684" TargetMode="External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hyperlink" Target="http://www.google.es/url?sa=i&amp;rct=j&amp;q=&amp;esrc=s&amp;source=images&amp;cd=&amp;cad=rja&amp;uact=8&amp;ved=0ahUKEwiv1MzI4bbYAhXEPRQKHStBABQQjRwIBw&amp;url=http://anzoateguitv.com/la-union-europea-no-reconocio-los-resultados-la-constituyente/&amp;psig=AOvVaw1CK3nOjSjdyg-YCfMwhYCQ&amp;ust=1514895990233588" TargetMode="External"/><Relationship Id="rId4" Type="http://schemas.openxmlformats.org/officeDocument/2006/relationships/image" Target="../media/image8.jpeg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png"/><Relationship Id="rId5" Type="http://schemas.openxmlformats.org/officeDocument/2006/relationships/oleObject" Target="../embeddings/oleObject1.bin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jpeg"/><Relationship Id="rId5" Type="http://schemas.openxmlformats.org/officeDocument/2006/relationships/image" Target="../media/image4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3111154" y="2805212"/>
            <a:ext cx="184150" cy="366713"/>
          </a:xfrm>
          <a:prstGeom prst="rect">
            <a:avLst/>
          </a:prstGeom>
          <a:solidFill>
            <a:srgbClr val="00FFFF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3311178" y="2390875"/>
            <a:ext cx="184731" cy="461665"/>
          </a:xfrm>
          <a:prstGeom prst="rect">
            <a:avLst/>
          </a:prstGeom>
          <a:solidFill>
            <a:srgbClr val="00FFFF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endParaRPr lang="es-E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 Box 8"/>
          <p:cNvSpPr txBox="1">
            <a:spLocks noChangeArrowheads="1"/>
          </p:cNvSpPr>
          <p:nvPr/>
        </p:nvSpPr>
        <p:spPr bwMode="auto">
          <a:xfrm>
            <a:off x="1187624" y="1840756"/>
            <a:ext cx="6840759" cy="2308324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s-ES" sz="2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VIDAD DE DONACIÓN Y TRASPLANTE </a:t>
            </a:r>
            <a:endParaRPr lang="es-ES" sz="2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s-ES" sz="2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s-ES" sz="2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s-ES" sz="2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s-ES" sz="2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s-ES" sz="2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sz="2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 ESPAÑA - 2018</a:t>
            </a:r>
            <a:endParaRPr lang="es-ES" sz="2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Picture 11"/>
          <p:cNvPicPr>
            <a:picLocks noChangeAspect="1" noChangeArrowheads="1"/>
          </p:cNvPicPr>
          <p:nvPr/>
        </p:nvPicPr>
        <p:blipFill>
          <a:blip r:embed="rId3" cstate="print"/>
          <a:srcRect t="50000" b="12535"/>
          <a:stretch>
            <a:fillRect/>
          </a:stretch>
        </p:blipFill>
        <p:spPr bwMode="auto">
          <a:xfrm>
            <a:off x="1979712" y="2660750"/>
            <a:ext cx="1225550" cy="668337"/>
          </a:xfrm>
          <a:prstGeom prst="rect">
            <a:avLst/>
          </a:prstGeom>
          <a:solidFill>
            <a:srgbClr val="00FFFF"/>
          </a:solidFill>
          <a:ln w="9525">
            <a:noFill/>
            <a:miter lim="800000"/>
            <a:headEnd/>
            <a:tailEnd/>
          </a:ln>
        </p:spPr>
      </p:pic>
      <p:pic>
        <p:nvPicPr>
          <p:cNvPr id="19" name="Picture 13"/>
          <p:cNvPicPr>
            <a:picLocks noChangeAspect="1" noChangeArrowheads="1"/>
          </p:cNvPicPr>
          <p:nvPr/>
        </p:nvPicPr>
        <p:blipFill>
          <a:blip r:embed="rId4" cstate="print"/>
          <a:srcRect l="7050" t="18126" r="58252" b="34831"/>
          <a:stretch>
            <a:fillRect/>
          </a:stretch>
        </p:blipFill>
        <p:spPr bwMode="auto">
          <a:xfrm>
            <a:off x="6084862" y="2463900"/>
            <a:ext cx="1152525" cy="1112837"/>
          </a:xfrm>
          <a:prstGeom prst="rect">
            <a:avLst/>
          </a:prstGeom>
          <a:solidFill>
            <a:srgbClr val="00FFFF"/>
          </a:solidFill>
          <a:ln w="9525">
            <a:noFill/>
            <a:miter lim="800000"/>
            <a:headEnd/>
            <a:tailEnd/>
          </a:ln>
        </p:spPr>
      </p:pic>
      <p:pic>
        <p:nvPicPr>
          <p:cNvPr id="21" name="Picture 12"/>
          <p:cNvPicPr>
            <a:picLocks noChangeAspect="1" noChangeArrowheads="1"/>
          </p:cNvPicPr>
          <p:nvPr/>
        </p:nvPicPr>
        <p:blipFill>
          <a:blip r:embed="rId5" cstate="print">
            <a:lum contrast="-6000"/>
          </a:blip>
          <a:srcRect l="5251" t="29927" r="3946" b="26886"/>
          <a:stretch>
            <a:fillRect/>
          </a:stretch>
        </p:blipFill>
        <p:spPr bwMode="auto">
          <a:xfrm>
            <a:off x="3419872" y="2497386"/>
            <a:ext cx="2485843" cy="936104"/>
          </a:xfrm>
          <a:prstGeom prst="rect">
            <a:avLst/>
          </a:prstGeom>
          <a:solidFill>
            <a:srgbClr val="00FFFF"/>
          </a:solidFill>
        </p:spPr>
      </p:pic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r"/>
            <a:r>
              <a:rPr lang="es-E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OSSIER PRENSA 2019</a:t>
            </a:r>
            <a:endParaRPr lang="es-E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1237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9682" name="Picture 2" descr="http://del-tras-rs.trasplante.msc/RSONT/Reserved.ReportViewerWebControl.axd?ReportSession=wgsxq0n2odgv1u55p0f2503f&amp;Culture=3082&amp;CultureOverrides=False&amp;UICulture=10&amp;UICultureOverrides=False&amp;ReportStack=1&amp;ControlID=ced3d65cd0dd49549ca634a93a6d1eb0&amp;OpType=ReportImage&amp;IterationId=36cd039800b24a8192d9d0dd11adf395&amp;StreamID=C_12iT0_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440" y="1628800"/>
            <a:ext cx="8848056" cy="488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4 Conector recto de flecha"/>
          <p:cNvCxnSpPr/>
          <p:nvPr/>
        </p:nvCxnSpPr>
        <p:spPr>
          <a:xfrm flipV="1">
            <a:off x="1401315" y="2636912"/>
            <a:ext cx="7128792" cy="3163928"/>
          </a:xfrm>
          <a:prstGeom prst="straightConnector1">
            <a:avLst/>
          </a:prstGeom>
          <a:ln w="25400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lipse 2"/>
          <p:cNvSpPr/>
          <p:nvPr/>
        </p:nvSpPr>
        <p:spPr>
          <a:xfrm>
            <a:off x="4166540" y="2564904"/>
            <a:ext cx="2733971" cy="792528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400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+ 5600 </a:t>
            </a:r>
            <a:r>
              <a:rPr lang="es-ES" sz="1200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desde los inicios de la DA en España</a:t>
            </a:r>
            <a:endParaRPr lang="es-ES" sz="1200" b="1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5 Rectángulo"/>
          <p:cNvSpPr/>
          <p:nvPr/>
        </p:nvSpPr>
        <p:spPr>
          <a:xfrm>
            <a:off x="1948172" y="4692970"/>
            <a:ext cx="2664296" cy="6458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De 24 </a:t>
            </a:r>
            <a:r>
              <a:rPr lang="es-E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a más de </a:t>
            </a:r>
            <a:r>
              <a:rPr lang="es-ES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1100 </a:t>
            </a:r>
          </a:p>
          <a:p>
            <a:pPr algn="ctr"/>
            <a:r>
              <a:rPr lang="es-ES" b="1" i="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tx</a:t>
            </a:r>
            <a:r>
              <a:rPr lang="es-ES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 / año</a:t>
            </a:r>
            <a:endParaRPr lang="es-ES" b="1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1 Título"/>
          <p:cNvSpPr txBox="1">
            <a:spLocks/>
          </p:cNvSpPr>
          <p:nvPr/>
        </p:nvSpPr>
        <p:spPr bwMode="auto">
          <a:xfrm>
            <a:off x="484857" y="485800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s-ES" sz="3200" b="1" i="0" dirty="0" smtClean="0">
                <a:solidFill>
                  <a:srgbClr val="C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rasplantes de donantes en asistolia en España</a:t>
            </a:r>
            <a:endParaRPr lang="es-ES" sz="3200" b="1" i="0" dirty="0">
              <a:solidFill>
                <a:srgbClr val="C00000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179512" y="6546830"/>
            <a:ext cx="8040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i="0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Fuente: Organización Nacional de Trasplantes</a:t>
            </a:r>
            <a:endParaRPr lang="es-ES" sz="1600" i="0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556360E0-B62B-45CE-85CA-70CF333FC8C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651" t="12200" r="23225" b="5201"/>
          <a:stretch/>
        </p:blipFill>
        <p:spPr>
          <a:xfrm>
            <a:off x="1488329" y="2517243"/>
            <a:ext cx="2293560" cy="1933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710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5119567"/>
              </p:ext>
            </p:extLst>
          </p:nvPr>
        </p:nvGraphicFramePr>
        <p:xfrm>
          <a:off x="179512" y="1556792"/>
          <a:ext cx="8784976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79512" y="620688"/>
            <a:ext cx="894635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s-ES" sz="2800" b="1" i="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vidad de trasplante renal. 1989-2018</a:t>
            </a:r>
            <a:endParaRPr lang="es-ES" sz="2800" b="1" i="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7887825" y="1426755"/>
            <a:ext cx="806631" cy="46166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s-ES" sz="2400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3310</a:t>
            </a:r>
          </a:p>
        </p:txBody>
      </p:sp>
      <p:sp>
        <p:nvSpPr>
          <p:cNvPr id="8" name="2 CuadroTexto"/>
          <p:cNvSpPr txBox="1"/>
          <p:nvPr/>
        </p:nvSpPr>
        <p:spPr>
          <a:xfrm>
            <a:off x="755576" y="4966850"/>
            <a:ext cx="838691" cy="46166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s-ES" sz="2400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1039</a:t>
            </a:r>
            <a:endParaRPr lang="es-ES" sz="2400" b="1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4345687" y="2011487"/>
            <a:ext cx="1377300" cy="769441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s-ES" sz="3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</a:t>
            </a:r>
            <a:r>
              <a:rPr lang="es-ES" sz="4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3!!!</a:t>
            </a:r>
            <a:endParaRPr lang="es-ES" sz="4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6" name="5 Conector recto de flecha"/>
          <p:cNvCxnSpPr/>
          <p:nvPr/>
        </p:nvCxnSpPr>
        <p:spPr>
          <a:xfrm flipV="1">
            <a:off x="850762" y="2204864"/>
            <a:ext cx="7609670" cy="2592288"/>
          </a:xfrm>
          <a:prstGeom prst="straightConnector1">
            <a:avLst/>
          </a:prstGeom>
          <a:ln w="28575">
            <a:solidFill>
              <a:srgbClr val="C00000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uto0"/>
          <p:cNvPicPr>
            <a:picLocks noChangeAspect="1" noChangeArrowheads="1"/>
          </p:cNvPicPr>
          <p:nvPr/>
        </p:nvPicPr>
        <p:blipFill>
          <a:blip r:embed="rId4" cstate="print">
            <a:lum bright="-12000" contrast="12000"/>
          </a:blip>
          <a:srcRect r="8791" b="32693"/>
          <a:stretch>
            <a:fillRect/>
          </a:stretch>
        </p:blipFill>
        <p:spPr bwMode="auto">
          <a:xfrm>
            <a:off x="3535337" y="4255156"/>
            <a:ext cx="1620699" cy="15943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8"/>
          <p:cNvPicPr>
            <a:picLocks noChangeAspect="1" noChangeArrowheads="1"/>
          </p:cNvPicPr>
          <p:nvPr/>
        </p:nvPicPr>
        <p:blipFill>
          <a:blip r:embed="rId5" cstate="print"/>
          <a:srcRect b="28434"/>
          <a:stretch>
            <a:fillRect/>
          </a:stretch>
        </p:blipFill>
        <p:spPr bwMode="auto">
          <a:xfrm>
            <a:off x="5466806" y="4124742"/>
            <a:ext cx="2880076" cy="17525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13 CuadroTexto"/>
          <p:cNvSpPr txBox="1"/>
          <p:nvPr/>
        </p:nvSpPr>
        <p:spPr>
          <a:xfrm>
            <a:off x="179512" y="6546830"/>
            <a:ext cx="8040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i="0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Fuente: Organización Nacional de Trasplantes</a:t>
            </a:r>
            <a:endParaRPr lang="es-ES" sz="1600" i="0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17 Estrella de 6 puntas"/>
          <p:cNvSpPr/>
          <p:nvPr/>
        </p:nvSpPr>
        <p:spPr>
          <a:xfrm>
            <a:off x="7149576" y="2771396"/>
            <a:ext cx="1476499" cy="1281337"/>
          </a:xfrm>
          <a:prstGeom prst="star6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VIVO 9% del total</a:t>
            </a:r>
            <a:endParaRPr lang="es-ES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Line 39"/>
          <p:cNvSpPr>
            <a:spLocks noChangeShapeType="1"/>
          </p:cNvSpPr>
          <p:nvPr/>
        </p:nvSpPr>
        <p:spPr bwMode="auto">
          <a:xfrm>
            <a:off x="850762" y="3234688"/>
            <a:ext cx="0" cy="792163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1" name="Imagen 20"/>
          <p:cNvPicPr>
            <a:picLocks noChangeAspect="1"/>
          </p:cNvPicPr>
          <p:nvPr/>
        </p:nvPicPr>
        <p:blipFill rotWithShape="1">
          <a:blip r:embed="rId6"/>
          <a:srcRect t="2157" r="25397" b="1"/>
          <a:stretch/>
        </p:blipFill>
        <p:spPr>
          <a:xfrm>
            <a:off x="850762" y="1988840"/>
            <a:ext cx="2309984" cy="604578"/>
          </a:xfrm>
          <a:prstGeom prst="rect">
            <a:avLst/>
          </a:prstGeom>
        </p:spPr>
      </p:pic>
      <p:pic>
        <p:nvPicPr>
          <p:cNvPr id="22" name="Picture 1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1" t="29927" r="3946" b="26886"/>
          <a:stretch>
            <a:fillRect/>
          </a:stretch>
        </p:blipFill>
        <p:spPr bwMode="auto">
          <a:xfrm>
            <a:off x="863948" y="2580142"/>
            <a:ext cx="1547812" cy="58261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8353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 b="21987"/>
          <a:stretch/>
        </p:blipFill>
        <p:spPr bwMode="auto">
          <a:xfrm>
            <a:off x="6961484" y="4664698"/>
            <a:ext cx="2063029" cy="18160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3 CuadroTexto"/>
          <p:cNvSpPr txBox="1">
            <a:spLocks noChangeArrowheads="1"/>
          </p:cNvSpPr>
          <p:nvPr/>
        </p:nvSpPr>
        <p:spPr bwMode="auto">
          <a:xfrm>
            <a:off x="444444" y="620688"/>
            <a:ext cx="8208912" cy="58477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s-ES" altLang="es-ES" b="1" i="0" dirty="0" smtClean="0">
                <a:solidFill>
                  <a:srgbClr val="C00000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Trasplantes 2018</a:t>
            </a:r>
            <a:endParaRPr lang="es-ES" altLang="es-ES" b="1" i="0" dirty="0">
              <a:solidFill>
                <a:srgbClr val="C00000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179512" y="6546830"/>
            <a:ext cx="8040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i="0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Fuente: Organización Nacional de Trasplantes</a:t>
            </a:r>
            <a:endParaRPr lang="es-ES" sz="1600" i="0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1990832" y="1844824"/>
            <a:ext cx="4908524" cy="360040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noAutofit/>
          </a:bodyPr>
          <a:lstStyle/>
          <a:p>
            <a:pPr>
              <a:lnSpc>
                <a:spcPct val="300000"/>
              </a:lnSpc>
              <a:tabLst>
                <a:tab pos="4481513" algn="r"/>
              </a:tabLst>
            </a:pPr>
            <a:r>
              <a:rPr lang="es-E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RASPLANTE HEPÁTICO 	1.230</a:t>
            </a:r>
          </a:p>
          <a:p>
            <a:pPr>
              <a:lnSpc>
                <a:spcPct val="300000"/>
              </a:lnSpc>
              <a:tabLst>
                <a:tab pos="4481513" algn="r"/>
              </a:tabLst>
            </a:pPr>
            <a:r>
              <a:rPr lang="es-E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RASPLANTE PULMONAR 	369</a:t>
            </a:r>
          </a:p>
          <a:p>
            <a:pPr>
              <a:lnSpc>
                <a:spcPct val="300000"/>
              </a:lnSpc>
              <a:tabLst>
                <a:tab pos="4481513" algn="r"/>
              </a:tabLst>
            </a:pPr>
            <a:r>
              <a:rPr lang="es-E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RASPLANTE CARDIACO 	321</a:t>
            </a:r>
          </a:p>
          <a:p>
            <a:pPr>
              <a:lnSpc>
                <a:spcPct val="300000"/>
              </a:lnSpc>
              <a:tabLst>
                <a:tab pos="4481513" algn="r"/>
              </a:tabLst>
            </a:pPr>
            <a:r>
              <a:rPr lang="es-E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RASPLANTE PANCREÁTICO 	82</a:t>
            </a:r>
            <a:endParaRPr lang="es-E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10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692" y="4434180"/>
            <a:ext cx="1011044" cy="1011044"/>
          </a:xfrm>
          <a:prstGeom prst="rect">
            <a:avLst/>
          </a:prstGeom>
        </p:spPr>
      </p:pic>
      <p:pic>
        <p:nvPicPr>
          <p:cNvPr id="6" name="5 Imagen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12" y="3679936"/>
            <a:ext cx="901192" cy="901192"/>
          </a:xfrm>
          <a:prstGeom prst="rect">
            <a:avLst/>
          </a:prstGeom>
        </p:spPr>
      </p:pic>
      <p:pic>
        <p:nvPicPr>
          <p:cNvPr id="10" name="9 Imagen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067" y="2766583"/>
            <a:ext cx="846073" cy="846073"/>
          </a:xfrm>
          <a:prstGeom prst="rect">
            <a:avLst/>
          </a:prstGeom>
        </p:spPr>
      </p:pic>
      <p:pic>
        <p:nvPicPr>
          <p:cNvPr id="12" name="11 Imagen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384" y="1786136"/>
            <a:ext cx="980447" cy="980447"/>
          </a:xfrm>
          <a:prstGeom prst="rect">
            <a:avLst/>
          </a:prstGeom>
        </p:spPr>
      </p:pic>
      <p:sp>
        <p:nvSpPr>
          <p:cNvPr id="13" name="12 Rectángulo redondeado"/>
          <p:cNvSpPr/>
          <p:nvPr/>
        </p:nvSpPr>
        <p:spPr>
          <a:xfrm>
            <a:off x="5747228" y="3082280"/>
            <a:ext cx="2785212" cy="597656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s-ES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ÁXIMO </a:t>
            </a:r>
          </a:p>
          <a:p>
            <a:pPr algn="r"/>
            <a:r>
              <a:rPr lang="es-ES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ISTÓRICO</a:t>
            </a:r>
            <a:endParaRPr lang="es-ES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4743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19363" y="5710039"/>
            <a:ext cx="33337" cy="57150"/>
          </a:xfrm>
          <a:custGeom>
            <a:avLst/>
            <a:gdLst>
              <a:gd name="T0" fmla="*/ 0 w 73"/>
              <a:gd name="T1" fmla="*/ 0 h 20"/>
              <a:gd name="T2" fmla="*/ 2147483647 w 73"/>
              <a:gd name="T3" fmla="*/ 2147483647 h 20"/>
              <a:gd name="T4" fmla="*/ 2147483647 w 73"/>
              <a:gd name="T5" fmla="*/ 2147483647 h 20"/>
              <a:gd name="T6" fmla="*/ 2147483647 w 73"/>
              <a:gd name="T7" fmla="*/ 2147483647 h 20"/>
              <a:gd name="T8" fmla="*/ 2147483647 w 73"/>
              <a:gd name="T9" fmla="*/ 2147483647 h 20"/>
              <a:gd name="T10" fmla="*/ 2147483647 w 73"/>
              <a:gd name="T11" fmla="*/ 2147483647 h 20"/>
              <a:gd name="T12" fmla="*/ 2147483647 w 73"/>
              <a:gd name="T13" fmla="*/ 2147483647 h 20"/>
              <a:gd name="T14" fmla="*/ 2147483647 w 73"/>
              <a:gd name="T15" fmla="*/ 2147483647 h 20"/>
              <a:gd name="T16" fmla="*/ 2147483647 w 73"/>
              <a:gd name="T17" fmla="*/ 2147483647 h 20"/>
              <a:gd name="T18" fmla="*/ 2147483647 w 73"/>
              <a:gd name="T19" fmla="*/ 2147483647 h 20"/>
              <a:gd name="T20" fmla="*/ 2147483647 w 73"/>
              <a:gd name="T21" fmla="*/ 2147483647 h 20"/>
              <a:gd name="T22" fmla="*/ 2147483647 w 73"/>
              <a:gd name="T23" fmla="*/ 2147483647 h 20"/>
              <a:gd name="T24" fmla="*/ 2147483647 w 73"/>
              <a:gd name="T25" fmla="*/ 2147483647 h 20"/>
              <a:gd name="T26" fmla="*/ 2147483647 w 73"/>
              <a:gd name="T27" fmla="*/ 2147483647 h 20"/>
              <a:gd name="T28" fmla="*/ 2147483647 w 73"/>
              <a:gd name="T29" fmla="*/ 2147483647 h 20"/>
              <a:gd name="T30" fmla="*/ 2147483647 w 73"/>
              <a:gd name="T31" fmla="*/ 2147483647 h 20"/>
              <a:gd name="T32" fmla="*/ 214748364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51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7863" y="1811139"/>
            <a:ext cx="784225" cy="446088"/>
          </a:xfrm>
          <a:custGeom>
            <a:avLst/>
            <a:gdLst>
              <a:gd name="T0" fmla="*/ 2147483647 w 1808"/>
              <a:gd name="T1" fmla="*/ 2147483647 h 850"/>
              <a:gd name="T2" fmla="*/ 2147483647 w 1808"/>
              <a:gd name="T3" fmla="*/ 2147483647 h 850"/>
              <a:gd name="T4" fmla="*/ 2147483647 w 1808"/>
              <a:gd name="T5" fmla="*/ 2147483647 h 850"/>
              <a:gd name="T6" fmla="*/ 2147483647 w 1808"/>
              <a:gd name="T7" fmla="*/ 2147483647 h 850"/>
              <a:gd name="T8" fmla="*/ 2147483647 w 1808"/>
              <a:gd name="T9" fmla="*/ 2147483647 h 850"/>
              <a:gd name="T10" fmla="*/ 2147483647 w 1808"/>
              <a:gd name="T11" fmla="*/ 2147483647 h 850"/>
              <a:gd name="T12" fmla="*/ 2147483647 w 1808"/>
              <a:gd name="T13" fmla="*/ 2147483647 h 850"/>
              <a:gd name="T14" fmla="*/ 2147483647 w 1808"/>
              <a:gd name="T15" fmla="*/ 2147483647 h 850"/>
              <a:gd name="T16" fmla="*/ 2147483647 w 1808"/>
              <a:gd name="T17" fmla="*/ 2147483647 h 850"/>
              <a:gd name="T18" fmla="*/ 2147483647 w 1808"/>
              <a:gd name="T19" fmla="*/ 2147483647 h 850"/>
              <a:gd name="T20" fmla="*/ 2147483647 w 1808"/>
              <a:gd name="T21" fmla="*/ 2147483647 h 850"/>
              <a:gd name="T22" fmla="*/ 2147483647 w 1808"/>
              <a:gd name="T23" fmla="*/ 2147483647 h 850"/>
              <a:gd name="T24" fmla="*/ 2147483647 w 1808"/>
              <a:gd name="T25" fmla="*/ 2147483647 h 850"/>
              <a:gd name="T26" fmla="*/ 2147483647 w 1808"/>
              <a:gd name="T27" fmla="*/ 2147483647 h 850"/>
              <a:gd name="T28" fmla="*/ 2147483647 w 1808"/>
              <a:gd name="T29" fmla="*/ 2147483647 h 850"/>
              <a:gd name="T30" fmla="*/ 2147483647 w 1808"/>
              <a:gd name="T31" fmla="*/ 2147483647 h 850"/>
              <a:gd name="T32" fmla="*/ 2147483647 w 1808"/>
              <a:gd name="T33" fmla="*/ 2147483647 h 850"/>
              <a:gd name="T34" fmla="*/ 2147483647 w 1808"/>
              <a:gd name="T35" fmla="*/ 2147483647 h 850"/>
              <a:gd name="T36" fmla="*/ 2147483647 w 1808"/>
              <a:gd name="T37" fmla="*/ 2147483647 h 850"/>
              <a:gd name="T38" fmla="*/ 2147483647 w 1808"/>
              <a:gd name="T39" fmla="*/ 2147483647 h 850"/>
              <a:gd name="T40" fmla="*/ 2147483647 w 1808"/>
              <a:gd name="T41" fmla="*/ 2147483647 h 850"/>
              <a:gd name="T42" fmla="*/ 2147483647 w 1808"/>
              <a:gd name="T43" fmla="*/ 2147483647 h 850"/>
              <a:gd name="T44" fmla="*/ 2147483647 w 1808"/>
              <a:gd name="T45" fmla="*/ 2147483647 h 850"/>
              <a:gd name="T46" fmla="*/ 2147483647 w 1808"/>
              <a:gd name="T47" fmla="*/ 2147483647 h 850"/>
              <a:gd name="T48" fmla="*/ 2147483647 w 1808"/>
              <a:gd name="T49" fmla="*/ 2147483647 h 850"/>
              <a:gd name="T50" fmla="*/ 2147483647 w 1808"/>
              <a:gd name="T51" fmla="*/ 2147483647 h 850"/>
              <a:gd name="T52" fmla="*/ 2147483647 w 1808"/>
              <a:gd name="T53" fmla="*/ 2147483647 h 850"/>
              <a:gd name="T54" fmla="*/ 2147483647 w 1808"/>
              <a:gd name="T55" fmla="*/ 2147483647 h 850"/>
              <a:gd name="T56" fmla="*/ 2147483647 w 1808"/>
              <a:gd name="T57" fmla="*/ 2147483647 h 850"/>
              <a:gd name="T58" fmla="*/ 2147483647 w 1808"/>
              <a:gd name="T59" fmla="*/ 2147483647 h 850"/>
              <a:gd name="T60" fmla="*/ 2147483647 w 1808"/>
              <a:gd name="T61" fmla="*/ 2147483647 h 850"/>
              <a:gd name="T62" fmla="*/ 2147483647 w 1808"/>
              <a:gd name="T63" fmla="*/ 2147483647 h 850"/>
              <a:gd name="T64" fmla="*/ 2147483647 w 1808"/>
              <a:gd name="T65" fmla="*/ 2147483647 h 850"/>
              <a:gd name="T66" fmla="*/ 2147483647 w 1808"/>
              <a:gd name="T67" fmla="*/ 2147483647 h 850"/>
              <a:gd name="T68" fmla="*/ 2147483647 w 1808"/>
              <a:gd name="T69" fmla="*/ 2147483647 h 850"/>
              <a:gd name="T70" fmla="*/ 2147483647 w 1808"/>
              <a:gd name="T71" fmla="*/ 2147483647 h 850"/>
              <a:gd name="T72" fmla="*/ 2147483647 w 1808"/>
              <a:gd name="T73" fmla="*/ 2147483647 h 850"/>
              <a:gd name="T74" fmla="*/ 2147483647 w 1808"/>
              <a:gd name="T75" fmla="*/ 2147483647 h 850"/>
              <a:gd name="T76" fmla="*/ 2147483647 w 1808"/>
              <a:gd name="T77" fmla="*/ 2147483647 h 850"/>
              <a:gd name="T78" fmla="*/ 2147483647 w 1808"/>
              <a:gd name="T79" fmla="*/ 2147483647 h 850"/>
              <a:gd name="T80" fmla="*/ 2147483647 w 1808"/>
              <a:gd name="T81" fmla="*/ 2147483647 h 850"/>
              <a:gd name="T82" fmla="*/ 2147483647 w 1808"/>
              <a:gd name="T83" fmla="*/ 2147483647 h 850"/>
              <a:gd name="T84" fmla="*/ 2147483647 w 1808"/>
              <a:gd name="T85" fmla="*/ 2147483647 h 850"/>
              <a:gd name="T86" fmla="*/ 2147483647 w 1808"/>
              <a:gd name="T87" fmla="*/ 2147483647 h 850"/>
              <a:gd name="T88" fmla="*/ 2147483647 w 1808"/>
              <a:gd name="T89" fmla="*/ 2147483647 h 850"/>
              <a:gd name="T90" fmla="*/ 2147483647 w 1808"/>
              <a:gd name="T91" fmla="*/ 2147483647 h 850"/>
              <a:gd name="T92" fmla="*/ 2147483647 w 1808"/>
              <a:gd name="T93" fmla="*/ 2147483647 h 850"/>
              <a:gd name="T94" fmla="*/ 2147483647 w 1808"/>
              <a:gd name="T95" fmla="*/ 2147483647 h 850"/>
              <a:gd name="T96" fmla="*/ 2147483647 w 1808"/>
              <a:gd name="T97" fmla="*/ 2147483647 h 850"/>
              <a:gd name="T98" fmla="*/ 2147483647 w 1808"/>
              <a:gd name="T99" fmla="*/ 2147483647 h 850"/>
              <a:gd name="T100" fmla="*/ 2147483647 w 1808"/>
              <a:gd name="T101" fmla="*/ 2147483647 h 850"/>
              <a:gd name="T102" fmla="*/ 2147483647 w 1808"/>
              <a:gd name="T103" fmla="*/ 2147483647 h 850"/>
              <a:gd name="T104" fmla="*/ 2147483647 w 1808"/>
              <a:gd name="T105" fmla="*/ 2147483647 h 850"/>
              <a:gd name="T106" fmla="*/ 2147483647 w 1808"/>
              <a:gd name="T107" fmla="*/ 2147483647 h 850"/>
              <a:gd name="T108" fmla="*/ 2147483647 w 1808"/>
              <a:gd name="T109" fmla="*/ 2147483647 h 850"/>
              <a:gd name="T110" fmla="*/ 2147483647 w 1808"/>
              <a:gd name="T111" fmla="*/ 2147483647 h 850"/>
              <a:gd name="T112" fmla="*/ 2147483647 w 1808"/>
              <a:gd name="T113" fmla="*/ 2147483647 h 850"/>
              <a:gd name="T114" fmla="*/ 2147483647 w 1808"/>
              <a:gd name="T115" fmla="*/ 2147483647 h 850"/>
              <a:gd name="T116" fmla="*/ 2147483647 w 1808"/>
              <a:gd name="T117" fmla="*/ 2147483647 h 850"/>
              <a:gd name="T118" fmla="*/ 2147483647 w 1808"/>
              <a:gd name="T119" fmla="*/ 2147483647 h 850"/>
              <a:gd name="T120" fmla="*/ 2147483647 w 1808"/>
              <a:gd name="T121" fmla="*/ 2147483647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52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38238" y="2427089"/>
            <a:ext cx="1381125" cy="769938"/>
          </a:xfrm>
          <a:custGeom>
            <a:avLst/>
            <a:gdLst>
              <a:gd name="T0" fmla="*/ 554050800 w 3175"/>
              <a:gd name="T1" fmla="*/ 96576483 h 1472"/>
              <a:gd name="T2" fmla="*/ 547995600 w 3175"/>
              <a:gd name="T3" fmla="*/ 120378656 h 1472"/>
              <a:gd name="T4" fmla="*/ 537966675 w 3175"/>
              <a:gd name="T5" fmla="*/ 126397458 h 1472"/>
              <a:gd name="T6" fmla="*/ 504663075 w 3175"/>
              <a:gd name="T7" fmla="*/ 154850642 h 1472"/>
              <a:gd name="T8" fmla="*/ 491038875 w 3175"/>
              <a:gd name="T9" fmla="*/ 160048770 h 1472"/>
              <a:gd name="T10" fmla="*/ 486308250 w 3175"/>
              <a:gd name="T11" fmla="*/ 185218733 h 1472"/>
              <a:gd name="T12" fmla="*/ 475711650 w 3175"/>
              <a:gd name="T13" fmla="*/ 169897908 h 1472"/>
              <a:gd name="T14" fmla="*/ 472873275 w 3175"/>
              <a:gd name="T15" fmla="*/ 188774989 h 1472"/>
              <a:gd name="T16" fmla="*/ 466439625 w 3175"/>
              <a:gd name="T17" fmla="*/ 203548697 h 1472"/>
              <a:gd name="T18" fmla="*/ 467574975 w 3175"/>
              <a:gd name="T19" fmla="*/ 225162405 h 1472"/>
              <a:gd name="T20" fmla="*/ 441272700 w 3175"/>
              <a:gd name="T21" fmla="*/ 253889148 h 1472"/>
              <a:gd name="T22" fmla="*/ 409672125 w 3175"/>
              <a:gd name="T23" fmla="*/ 285898588 h 1472"/>
              <a:gd name="T24" fmla="*/ 399643200 w 3175"/>
              <a:gd name="T25" fmla="*/ 326937015 h 1472"/>
              <a:gd name="T26" fmla="*/ 397940175 w 3175"/>
              <a:gd name="T27" fmla="*/ 398616569 h 1472"/>
              <a:gd name="T28" fmla="*/ 383369850 w 3175"/>
              <a:gd name="T29" fmla="*/ 386852524 h 1472"/>
              <a:gd name="T30" fmla="*/ 377125425 w 3175"/>
              <a:gd name="T31" fmla="*/ 362776792 h 1472"/>
              <a:gd name="T32" fmla="*/ 370691775 w 3175"/>
              <a:gd name="T33" fmla="*/ 323927353 h 1472"/>
              <a:gd name="T34" fmla="*/ 346660200 w 3175"/>
              <a:gd name="T35" fmla="*/ 319549900 h 1472"/>
              <a:gd name="T36" fmla="*/ 312788925 w 3175"/>
              <a:gd name="T37" fmla="*/ 312710423 h 1472"/>
              <a:gd name="T38" fmla="*/ 305787600 w 3175"/>
              <a:gd name="T39" fmla="*/ 324474469 h 1472"/>
              <a:gd name="T40" fmla="*/ 292920300 w 3175"/>
              <a:gd name="T41" fmla="*/ 338701061 h 1472"/>
              <a:gd name="T42" fmla="*/ 271727100 w 3175"/>
              <a:gd name="T43" fmla="*/ 326115818 h 1472"/>
              <a:gd name="T44" fmla="*/ 232935975 w 3175"/>
              <a:gd name="T45" fmla="*/ 348003084 h 1472"/>
              <a:gd name="T46" fmla="*/ 219501000 w 3175"/>
              <a:gd name="T47" fmla="*/ 380833722 h 1472"/>
              <a:gd name="T48" fmla="*/ 204363000 w 3175"/>
              <a:gd name="T49" fmla="*/ 378097617 h 1472"/>
              <a:gd name="T50" fmla="*/ 196226325 w 3175"/>
              <a:gd name="T51" fmla="*/ 335691399 h 1472"/>
              <a:gd name="T52" fmla="*/ 177871500 w 3175"/>
              <a:gd name="T53" fmla="*/ 325568702 h 1472"/>
              <a:gd name="T54" fmla="*/ 164058075 w 3175"/>
              <a:gd name="T55" fmla="*/ 333502934 h 1472"/>
              <a:gd name="T56" fmla="*/ 147973950 w 3175"/>
              <a:gd name="T57" fmla="*/ 297389599 h 1472"/>
              <a:gd name="T58" fmla="*/ 126780750 w 3175"/>
              <a:gd name="T59" fmla="*/ 291370274 h 1472"/>
              <a:gd name="T60" fmla="*/ 87421950 w 3175"/>
              <a:gd name="T61" fmla="*/ 291370274 h 1472"/>
              <a:gd name="T62" fmla="*/ 41629500 w 3175"/>
              <a:gd name="T63" fmla="*/ 277964879 h 1472"/>
              <a:gd name="T64" fmla="*/ 16651800 w 3175"/>
              <a:gd name="T65" fmla="*/ 251700160 h 1472"/>
              <a:gd name="T66" fmla="*/ 7379775 w 3175"/>
              <a:gd name="T67" fmla="*/ 232001882 h 1472"/>
              <a:gd name="T68" fmla="*/ 5487525 w 3175"/>
              <a:gd name="T69" fmla="*/ 181114838 h 1472"/>
              <a:gd name="T70" fmla="*/ 0 w 3175"/>
              <a:gd name="T71" fmla="*/ 165246897 h 1472"/>
              <a:gd name="T72" fmla="*/ 26680725 w 3175"/>
              <a:gd name="T73" fmla="*/ 91925471 h 1472"/>
              <a:gd name="T74" fmla="*/ 46738575 w 3175"/>
              <a:gd name="T75" fmla="*/ 48151462 h 1472"/>
              <a:gd name="T76" fmla="*/ 67174875 w 3175"/>
              <a:gd name="T77" fmla="*/ 27906068 h 1472"/>
              <a:gd name="T78" fmla="*/ 71148600 w 3175"/>
              <a:gd name="T79" fmla="*/ 32830638 h 1472"/>
              <a:gd name="T80" fmla="*/ 345714075 w 3175"/>
              <a:gd name="T81" fmla="*/ 0 h 1472"/>
              <a:gd name="T82" fmla="*/ 364447350 w 3175"/>
              <a:gd name="T83" fmla="*/ 15047267 h 1472"/>
              <a:gd name="T84" fmla="*/ 381288375 w 3175"/>
              <a:gd name="T85" fmla="*/ 18877604 h 1472"/>
              <a:gd name="T86" fmla="*/ 365015025 w 3175"/>
              <a:gd name="T87" fmla="*/ 35019103 h 1472"/>
              <a:gd name="T88" fmla="*/ 374097825 w 3175"/>
              <a:gd name="T89" fmla="*/ 45415358 h 1472"/>
              <a:gd name="T90" fmla="*/ 396237150 w 3175"/>
              <a:gd name="T91" fmla="*/ 42406218 h 1472"/>
              <a:gd name="T92" fmla="*/ 432189900 w 3175"/>
              <a:gd name="T93" fmla="*/ 52802474 h 1472"/>
              <a:gd name="T94" fmla="*/ 419511825 w 3175"/>
              <a:gd name="T95" fmla="*/ 55811613 h 1472"/>
              <a:gd name="T96" fmla="*/ 394912575 w 3175"/>
              <a:gd name="T97" fmla="*/ 72227193 h 1472"/>
              <a:gd name="T98" fmla="*/ 382423725 w 3175"/>
              <a:gd name="T99" fmla="*/ 97123599 h 1472"/>
              <a:gd name="T100" fmla="*/ 380720700 w 3175"/>
              <a:gd name="T101" fmla="*/ 123387795 h 1472"/>
              <a:gd name="T102" fmla="*/ 392831100 w 3175"/>
              <a:gd name="T103" fmla="*/ 114085772 h 1472"/>
              <a:gd name="T104" fmla="*/ 417241125 w 3175"/>
              <a:gd name="T105" fmla="*/ 68943973 h 1472"/>
              <a:gd name="T106" fmla="*/ 428973075 w 3175"/>
              <a:gd name="T107" fmla="*/ 82897007 h 1472"/>
              <a:gd name="T108" fmla="*/ 435028275 w 3175"/>
              <a:gd name="T109" fmla="*/ 107793412 h 1472"/>
              <a:gd name="T110" fmla="*/ 417430350 w 3175"/>
              <a:gd name="T111" fmla="*/ 124208469 h 1472"/>
              <a:gd name="T112" fmla="*/ 438434325 w 3175"/>
              <a:gd name="T113" fmla="*/ 125029144 h 1472"/>
              <a:gd name="T114" fmla="*/ 486308250 w 3175"/>
              <a:gd name="T115" fmla="*/ 102048168 h 1472"/>
              <a:gd name="T116" fmla="*/ 516584250 w 3175"/>
              <a:gd name="T117" fmla="*/ 68943973 h 1472"/>
              <a:gd name="T118" fmla="*/ 570702600 w 3175"/>
              <a:gd name="T119" fmla="*/ 55538055 h 1472"/>
              <a:gd name="T120" fmla="*/ 593409600 w 3175"/>
              <a:gd name="T121" fmla="*/ 32283521 h 1472"/>
              <a:gd name="T122" fmla="*/ 595869525 w 3175"/>
              <a:gd name="T123" fmla="*/ 50339927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53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71675" y="3978077"/>
            <a:ext cx="339725" cy="590550"/>
          </a:xfrm>
          <a:custGeom>
            <a:avLst/>
            <a:gdLst>
              <a:gd name="T0" fmla="*/ 109469015 w 784"/>
              <a:gd name="T1" fmla="*/ 75923370 h 1128"/>
              <a:gd name="T2" fmla="*/ 103084871 w 784"/>
              <a:gd name="T3" fmla="*/ 80856661 h 1128"/>
              <a:gd name="T4" fmla="*/ 90879904 w 784"/>
              <a:gd name="T5" fmla="*/ 106073355 h 1128"/>
              <a:gd name="T6" fmla="*/ 87312358 w 784"/>
              <a:gd name="T7" fmla="*/ 125259948 h 1128"/>
              <a:gd name="T8" fmla="*/ 90316585 w 784"/>
              <a:gd name="T9" fmla="*/ 143075397 h 1128"/>
              <a:gd name="T10" fmla="*/ 99517326 w 784"/>
              <a:gd name="T11" fmla="*/ 161988179 h 1128"/>
              <a:gd name="T12" fmla="*/ 108718067 w 784"/>
              <a:gd name="T13" fmla="*/ 168840234 h 1128"/>
              <a:gd name="T14" fmla="*/ 117355488 w 784"/>
              <a:gd name="T15" fmla="*/ 164454563 h 1128"/>
              <a:gd name="T16" fmla="*/ 122800621 w 784"/>
              <a:gd name="T17" fmla="*/ 178981674 h 1128"/>
              <a:gd name="T18" fmla="*/ 126180538 w 784"/>
              <a:gd name="T19" fmla="*/ 187204350 h 1128"/>
              <a:gd name="T20" fmla="*/ 134066578 w 784"/>
              <a:gd name="T21" fmla="*/ 188300637 h 1128"/>
              <a:gd name="T22" fmla="*/ 140638784 w 784"/>
              <a:gd name="T23" fmla="*/ 195153216 h 1128"/>
              <a:gd name="T24" fmla="*/ 144581587 w 784"/>
              <a:gd name="T25" fmla="*/ 207212896 h 1128"/>
              <a:gd name="T26" fmla="*/ 142892062 w 784"/>
              <a:gd name="T27" fmla="*/ 216531859 h 1128"/>
              <a:gd name="T28" fmla="*/ 142704000 w 784"/>
              <a:gd name="T29" fmla="*/ 226125155 h 1128"/>
              <a:gd name="T30" fmla="*/ 144957278 w 784"/>
              <a:gd name="T31" fmla="*/ 241748553 h 1128"/>
              <a:gd name="T32" fmla="*/ 142328742 w 784"/>
              <a:gd name="T33" fmla="*/ 255453187 h 1128"/>
              <a:gd name="T34" fmla="*/ 144581587 w 784"/>
              <a:gd name="T35" fmla="*/ 272446682 h 1128"/>
              <a:gd name="T36" fmla="*/ 143267319 w 784"/>
              <a:gd name="T37" fmla="*/ 288892034 h 1128"/>
              <a:gd name="T38" fmla="*/ 129748084 w 784"/>
              <a:gd name="T39" fmla="*/ 307530483 h 1128"/>
              <a:gd name="T40" fmla="*/ 121673982 w 784"/>
              <a:gd name="T41" fmla="*/ 302322858 h 1128"/>
              <a:gd name="T42" fmla="*/ 113036561 w 784"/>
              <a:gd name="T43" fmla="*/ 289440178 h 1128"/>
              <a:gd name="T44" fmla="*/ 86936667 w 784"/>
              <a:gd name="T45" fmla="*/ 273542969 h 1128"/>
              <a:gd name="T46" fmla="*/ 79801576 w 784"/>
              <a:gd name="T47" fmla="*/ 265046484 h 1128"/>
              <a:gd name="T48" fmla="*/ 62151475 w 784"/>
              <a:gd name="T49" fmla="*/ 245037414 h 1128"/>
              <a:gd name="T50" fmla="*/ 59710569 w 784"/>
              <a:gd name="T51" fmla="*/ 237637215 h 1128"/>
              <a:gd name="T52" fmla="*/ 61588156 w 784"/>
              <a:gd name="T53" fmla="*/ 223384438 h 1128"/>
              <a:gd name="T54" fmla="*/ 54453064 w 784"/>
              <a:gd name="T55" fmla="*/ 213242998 h 1128"/>
              <a:gd name="T56" fmla="*/ 48632240 w 784"/>
              <a:gd name="T57" fmla="*/ 204197845 h 1128"/>
              <a:gd name="T58" fmla="*/ 45627581 w 784"/>
              <a:gd name="T59" fmla="*/ 188848780 h 1128"/>
              <a:gd name="T60" fmla="*/ 28728429 w 784"/>
              <a:gd name="T61" fmla="*/ 145268494 h 1128"/>
              <a:gd name="T62" fmla="*/ 22532347 w 784"/>
              <a:gd name="T63" fmla="*/ 133482624 h 1128"/>
              <a:gd name="T64" fmla="*/ 16899152 w 784"/>
              <a:gd name="T65" fmla="*/ 118407369 h 1128"/>
              <a:gd name="T66" fmla="*/ 4130865 w 784"/>
              <a:gd name="T67" fmla="*/ 108814073 h 1128"/>
              <a:gd name="T68" fmla="*/ 0 w 784"/>
              <a:gd name="T69" fmla="*/ 99495110 h 1128"/>
              <a:gd name="T70" fmla="*/ 2440907 w 784"/>
              <a:gd name="T71" fmla="*/ 75649036 h 1128"/>
              <a:gd name="T72" fmla="*/ 5257504 w 784"/>
              <a:gd name="T73" fmla="*/ 67426360 h 1128"/>
              <a:gd name="T74" fmla="*/ 13519235 w 784"/>
              <a:gd name="T75" fmla="*/ 60848115 h 1128"/>
              <a:gd name="T76" fmla="*/ 17838162 w 784"/>
              <a:gd name="T77" fmla="*/ 74552749 h 1128"/>
              <a:gd name="T78" fmla="*/ 29667439 w 784"/>
              <a:gd name="T79" fmla="*/ 84146045 h 1128"/>
              <a:gd name="T80" fmla="*/ 34549253 w 784"/>
              <a:gd name="T81" fmla="*/ 74278939 h 1128"/>
              <a:gd name="T82" fmla="*/ 37741541 w 784"/>
              <a:gd name="T83" fmla="*/ 61670592 h 1128"/>
              <a:gd name="T84" fmla="*/ 50697456 w 784"/>
              <a:gd name="T85" fmla="*/ 46595337 h 1128"/>
              <a:gd name="T86" fmla="*/ 64592382 w 784"/>
              <a:gd name="T87" fmla="*/ 32890703 h 1128"/>
              <a:gd name="T88" fmla="*/ 67033289 w 784"/>
              <a:gd name="T89" fmla="*/ 19186593 h 1128"/>
              <a:gd name="T90" fmla="*/ 65155702 w 784"/>
              <a:gd name="T91" fmla="*/ 1370620 h 1128"/>
              <a:gd name="T92" fmla="*/ 79238256 w 784"/>
              <a:gd name="T93" fmla="*/ 14526588 h 1128"/>
              <a:gd name="T94" fmla="*/ 87688049 w 784"/>
              <a:gd name="T95" fmla="*/ 29327509 h 1128"/>
              <a:gd name="T96" fmla="*/ 95010769 w 784"/>
              <a:gd name="T97" fmla="*/ 42210189 h 1128"/>
              <a:gd name="T98" fmla="*/ 105338149 w 784"/>
              <a:gd name="T99" fmla="*/ 43032143 h 1128"/>
              <a:gd name="T100" fmla="*/ 115853158 w 784"/>
              <a:gd name="T101" fmla="*/ 40839569 h 1128"/>
              <a:gd name="T102" fmla="*/ 120172086 w 784"/>
              <a:gd name="T103" fmla="*/ 42758333 h 1128"/>
              <a:gd name="T104" fmla="*/ 122800621 w 784"/>
              <a:gd name="T105" fmla="*/ 52899773 h 1128"/>
              <a:gd name="T106" fmla="*/ 117730745 w 784"/>
              <a:gd name="T107" fmla="*/ 57559254 h 1128"/>
              <a:gd name="T108" fmla="*/ 117730745 w 784"/>
              <a:gd name="T109" fmla="*/ 65781930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54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271713" y="4541639"/>
            <a:ext cx="261937" cy="1130300"/>
          </a:xfrm>
          <a:custGeom>
            <a:avLst/>
            <a:gdLst>
              <a:gd name="T0" fmla="*/ 80198714 w 598"/>
              <a:gd name="T1" fmla="*/ 554435196 h 2158"/>
              <a:gd name="T2" fmla="*/ 65616971 w 598"/>
              <a:gd name="T3" fmla="*/ 536328921 h 2158"/>
              <a:gd name="T4" fmla="*/ 65041410 w 598"/>
              <a:gd name="T5" fmla="*/ 519319949 h 2158"/>
              <a:gd name="T6" fmla="*/ 66192969 w 598"/>
              <a:gd name="T7" fmla="*/ 505603408 h 2158"/>
              <a:gd name="T8" fmla="*/ 69454479 w 598"/>
              <a:gd name="T9" fmla="*/ 491337953 h 2158"/>
              <a:gd name="T10" fmla="*/ 67919651 w 598"/>
              <a:gd name="T11" fmla="*/ 477346431 h 2158"/>
              <a:gd name="T12" fmla="*/ 63698435 w 598"/>
              <a:gd name="T13" fmla="*/ 461709218 h 2158"/>
              <a:gd name="T14" fmla="*/ 58134683 w 598"/>
              <a:gd name="T15" fmla="*/ 433727222 h 2158"/>
              <a:gd name="T16" fmla="*/ 43361086 w 598"/>
              <a:gd name="T17" fmla="*/ 400532123 h 2158"/>
              <a:gd name="T18" fmla="*/ 39523578 w 598"/>
              <a:gd name="T19" fmla="*/ 378859485 h 2158"/>
              <a:gd name="T20" fmla="*/ 41634404 w 598"/>
              <a:gd name="T21" fmla="*/ 356364001 h 2158"/>
              <a:gd name="T22" fmla="*/ 39907723 w 598"/>
              <a:gd name="T23" fmla="*/ 338806116 h 2158"/>
              <a:gd name="T24" fmla="*/ 35494654 w 598"/>
              <a:gd name="T25" fmla="*/ 319602539 h 2158"/>
              <a:gd name="T26" fmla="*/ 40483283 w 598"/>
              <a:gd name="T27" fmla="*/ 308080602 h 2158"/>
              <a:gd name="T28" fmla="*/ 37413189 w 598"/>
              <a:gd name="T29" fmla="*/ 296832598 h 2158"/>
              <a:gd name="T30" fmla="*/ 40483283 w 598"/>
              <a:gd name="T31" fmla="*/ 281195385 h 2158"/>
              <a:gd name="T32" fmla="*/ 40291430 w 598"/>
              <a:gd name="T33" fmla="*/ 272416966 h 2158"/>
              <a:gd name="T34" fmla="*/ 35878361 w 598"/>
              <a:gd name="T35" fmla="*/ 254310691 h 2158"/>
              <a:gd name="T36" fmla="*/ 26093393 w 598"/>
              <a:gd name="T37" fmla="*/ 233735355 h 2158"/>
              <a:gd name="T38" fmla="*/ 25709686 w 598"/>
              <a:gd name="T39" fmla="*/ 188195474 h 2158"/>
              <a:gd name="T40" fmla="*/ 35110947 w 598"/>
              <a:gd name="T41" fmla="*/ 160212954 h 2158"/>
              <a:gd name="T42" fmla="*/ 36262068 w 598"/>
              <a:gd name="T43" fmla="*/ 143203982 h 2158"/>
              <a:gd name="T44" fmla="*/ 30697878 w 598"/>
              <a:gd name="T45" fmla="*/ 125920553 h 2158"/>
              <a:gd name="T46" fmla="*/ 34919093 w 598"/>
              <a:gd name="T47" fmla="*/ 111380642 h 2158"/>
              <a:gd name="T48" fmla="*/ 43936647 w 598"/>
              <a:gd name="T49" fmla="*/ 94920583 h 2158"/>
              <a:gd name="T50" fmla="*/ 38372456 w 598"/>
              <a:gd name="T51" fmla="*/ 84495948 h 2158"/>
              <a:gd name="T52" fmla="*/ 28395635 w 598"/>
              <a:gd name="T53" fmla="*/ 60902638 h 2158"/>
              <a:gd name="T54" fmla="*/ 24750418 w 598"/>
              <a:gd name="T55" fmla="*/ 34292401 h 2158"/>
              <a:gd name="T56" fmla="*/ 17459547 w 598"/>
              <a:gd name="T57" fmla="*/ 10150702 h 2158"/>
              <a:gd name="T58" fmla="*/ 0 w 598"/>
              <a:gd name="T59" fmla="*/ 12070850 h 2158"/>
              <a:gd name="T60" fmla="*/ 5947897 w 598"/>
              <a:gd name="T61" fmla="*/ 54867213 h 2158"/>
              <a:gd name="T62" fmla="*/ 8058286 w 598"/>
              <a:gd name="T63" fmla="*/ 83398646 h 2158"/>
              <a:gd name="T64" fmla="*/ 5180483 w 598"/>
              <a:gd name="T65" fmla="*/ 102602223 h 2158"/>
              <a:gd name="T66" fmla="*/ 9976821 w 598"/>
              <a:gd name="T67" fmla="*/ 143752895 h 2158"/>
              <a:gd name="T68" fmla="*/ 8825700 w 598"/>
              <a:gd name="T69" fmla="*/ 178044772 h 2158"/>
              <a:gd name="T70" fmla="*/ 6907165 w 598"/>
              <a:gd name="T71" fmla="*/ 196973893 h 2158"/>
              <a:gd name="T72" fmla="*/ 9976821 w 598"/>
              <a:gd name="T73" fmla="*/ 210416501 h 2158"/>
              <a:gd name="T74" fmla="*/ 12279063 w 598"/>
              <a:gd name="T75" fmla="*/ 238947410 h 2158"/>
              <a:gd name="T76" fmla="*/ 15541011 w 598"/>
              <a:gd name="T77" fmla="*/ 250469871 h 2158"/>
              <a:gd name="T78" fmla="*/ 14006183 w 598"/>
              <a:gd name="T79" fmla="*/ 286682420 h 2158"/>
              <a:gd name="T80" fmla="*/ 12087210 w 598"/>
              <a:gd name="T81" fmla="*/ 316036175 h 2158"/>
              <a:gd name="T82" fmla="*/ 7674579 w 598"/>
              <a:gd name="T83" fmla="*/ 325912420 h 2158"/>
              <a:gd name="T84" fmla="*/ 11511649 w 598"/>
              <a:gd name="T85" fmla="*/ 345115997 h 2158"/>
              <a:gd name="T86" fmla="*/ 20337349 w 598"/>
              <a:gd name="T87" fmla="*/ 368434851 h 2158"/>
              <a:gd name="T88" fmla="*/ 17843254 w 598"/>
              <a:gd name="T89" fmla="*/ 382974762 h 2158"/>
              <a:gd name="T90" fmla="*/ 20337349 w 598"/>
              <a:gd name="T91" fmla="*/ 397514673 h 2158"/>
              <a:gd name="T92" fmla="*/ 31465730 w 598"/>
              <a:gd name="T93" fmla="*/ 402452795 h 2158"/>
              <a:gd name="T94" fmla="*/ 40099576 w 598"/>
              <a:gd name="T95" fmla="*/ 444700246 h 2158"/>
              <a:gd name="T96" fmla="*/ 43552940 w 598"/>
              <a:gd name="T97" fmla="*/ 468841945 h 2158"/>
              <a:gd name="T98" fmla="*/ 28971196 w 598"/>
              <a:gd name="T99" fmla="*/ 479815493 h 2158"/>
              <a:gd name="T100" fmla="*/ 39715869 w 598"/>
              <a:gd name="T101" fmla="*/ 487222676 h 2158"/>
              <a:gd name="T102" fmla="*/ 47965571 w 598"/>
              <a:gd name="T103" fmla="*/ 499293526 h 2158"/>
              <a:gd name="T104" fmla="*/ 52762347 w 598"/>
              <a:gd name="T105" fmla="*/ 513284524 h 2158"/>
              <a:gd name="T106" fmla="*/ 59093951 w 598"/>
              <a:gd name="T107" fmla="*/ 537975137 h 2158"/>
              <a:gd name="T108" fmla="*/ 68878918 w 598"/>
              <a:gd name="T109" fmla="*/ 552240591 h 2158"/>
              <a:gd name="T110" fmla="*/ 75402376 w 598"/>
              <a:gd name="T111" fmla="*/ 561842380 h 2158"/>
              <a:gd name="T112" fmla="*/ 81349835 w 598"/>
              <a:gd name="T113" fmla="*/ 568975107 h 2158"/>
              <a:gd name="T114" fmla="*/ 89216268 w 598"/>
              <a:gd name="T115" fmla="*/ 578851352 h 2158"/>
              <a:gd name="T116" fmla="*/ 99576796 w 598"/>
              <a:gd name="T117" fmla="*/ 587081382 h 2158"/>
              <a:gd name="T118" fmla="*/ 103222451 w 598"/>
              <a:gd name="T119" fmla="*/ 590099356 h 2158"/>
              <a:gd name="T120" fmla="*/ 112431858 w 598"/>
              <a:gd name="T121" fmla="*/ 575559445 h 2158"/>
              <a:gd name="T122" fmla="*/ 113391126 w 598"/>
              <a:gd name="T123" fmla="*/ 568152261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55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176463" y="3824089"/>
            <a:ext cx="966787" cy="1203325"/>
          </a:xfrm>
          <a:custGeom>
            <a:avLst/>
            <a:gdLst>
              <a:gd name="T0" fmla="*/ 82997318 w 2226"/>
              <a:gd name="T1" fmla="*/ 246970381 h 2292"/>
              <a:gd name="T2" fmla="*/ 95258053 w 2226"/>
              <a:gd name="T3" fmla="*/ 271502041 h 2292"/>
              <a:gd name="T4" fmla="*/ 107896643 w 2226"/>
              <a:gd name="T5" fmla="*/ 290520561 h 2292"/>
              <a:gd name="T6" fmla="*/ 135059188 w 2226"/>
              <a:gd name="T7" fmla="*/ 302648838 h 2292"/>
              <a:gd name="T8" fmla="*/ 150526912 w 2226"/>
              <a:gd name="T9" fmla="*/ 331866220 h 2292"/>
              <a:gd name="T10" fmla="*/ 159581094 w 2226"/>
              <a:gd name="T11" fmla="*/ 356122249 h 2292"/>
              <a:gd name="T12" fmla="*/ 177123978 w 2226"/>
              <a:gd name="T13" fmla="*/ 373487509 h 2292"/>
              <a:gd name="T14" fmla="*/ 180519025 w 2226"/>
              <a:gd name="T15" fmla="*/ 404083045 h 2292"/>
              <a:gd name="T16" fmla="*/ 184102999 w 2226"/>
              <a:gd name="T17" fmla="*/ 424755875 h 2292"/>
              <a:gd name="T18" fmla="*/ 187121059 w 2226"/>
              <a:gd name="T19" fmla="*/ 449838796 h 2292"/>
              <a:gd name="T20" fmla="*/ 213340705 w 2226"/>
              <a:gd name="T21" fmla="*/ 468030949 h 2292"/>
              <a:gd name="T22" fmla="*/ 225035961 w 2226"/>
              <a:gd name="T23" fmla="*/ 497523961 h 2292"/>
              <a:gd name="T24" fmla="*/ 234467563 w 2226"/>
              <a:gd name="T25" fmla="*/ 513786174 h 2292"/>
              <a:gd name="T26" fmla="*/ 223149728 w 2226"/>
              <a:gd name="T27" fmla="*/ 552099895 h 2292"/>
              <a:gd name="T28" fmla="*/ 204475016 w 2226"/>
              <a:gd name="T29" fmla="*/ 586554261 h 2292"/>
              <a:gd name="T30" fmla="*/ 222583814 w 2226"/>
              <a:gd name="T31" fmla="*/ 595650600 h 2292"/>
              <a:gd name="T32" fmla="*/ 244464645 w 2226"/>
              <a:gd name="T33" fmla="*/ 615771643 h 2292"/>
              <a:gd name="T34" fmla="*/ 267666230 w 2226"/>
              <a:gd name="T35" fmla="*/ 605848937 h 2292"/>
              <a:gd name="T36" fmla="*/ 286340507 w 2226"/>
              <a:gd name="T37" fmla="*/ 561195709 h 2292"/>
              <a:gd name="T38" fmla="*/ 285209114 w 2226"/>
              <a:gd name="T39" fmla="*/ 528670759 h 2292"/>
              <a:gd name="T40" fmla="*/ 294451789 w 2226"/>
              <a:gd name="T41" fmla="*/ 494216393 h 2292"/>
              <a:gd name="T42" fmla="*/ 321803262 w 2226"/>
              <a:gd name="T43" fmla="*/ 476024240 h 2292"/>
              <a:gd name="T44" fmla="*/ 339157218 w 2226"/>
              <a:gd name="T45" fmla="*/ 463344701 h 2292"/>
              <a:gd name="T46" fmla="*/ 357831495 w 2226"/>
              <a:gd name="T47" fmla="*/ 452319472 h 2292"/>
              <a:gd name="T48" fmla="*/ 373865132 w 2226"/>
              <a:gd name="T49" fmla="*/ 385890892 h 2292"/>
              <a:gd name="T50" fmla="*/ 379901254 w 2226"/>
              <a:gd name="T51" fmla="*/ 355019726 h 2292"/>
              <a:gd name="T52" fmla="*/ 377637600 w 2226"/>
              <a:gd name="T53" fmla="*/ 300443792 h 2292"/>
              <a:gd name="T54" fmla="*/ 391030596 w 2226"/>
              <a:gd name="T55" fmla="*/ 278117178 h 2292"/>
              <a:gd name="T56" fmla="*/ 413100354 w 2226"/>
              <a:gd name="T57" fmla="*/ 241733397 h 2292"/>
              <a:gd name="T58" fmla="*/ 419136475 w 2226"/>
              <a:gd name="T59" fmla="*/ 201765892 h 2292"/>
              <a:gd name="T60" fmla="*/ 406875306 w 2226"/>
              <a:gd name="T61" fmla="*/ 165106480 h 2292"/>
              <a:gd name="T62" fmla="*/ 388389522 w 2226"/>
              <a:gd name="T63" fmla="*/ 155183249 h 2292"/>
              <a:gd name="T64" fmla="*/ 362358804 w 2226"/>
              <a:gd name="T65" fmla="*/ 127344021 h 2292"/>
              <a:gd name="T66" fmla="*/ 328593789 w 2226"/>
              <a:gd name="T67" fmla="*/ 124036452 h 2292"/>
              <a:gd name="T68" fmla="*/ 315012299 w 2226"/>
              <a:gd name="T69" fmla="*/ 123209560 h 2292"/>
              <a:gd name="T70" fmla="*/ 308599192 w 2226"/>
              <a:gd name="T71" fmla="*/ 108600606 h 2292"/>
              <a:gd name="T72" fmla="*/ 285209114 w 2226"/>
              <a:gd name="T73" fmla="*/ 95921593 h 2292"/>
              <a:gd name="T74" fmla="*/ 266157417 w 2226"/>
              <a:gd name="T75" fmla="*/ 112735067 h 2292"/>
              <a:gd name="T76" fmla="*/ 252387434 w 2226"/>
              <a:gd name="T77" fmla="*/ 111632544 h 2292"/>
              <a:gd name="T78" fmla="*/ 235221970 w 2226"/>
              <a:gd name="T79" fmla="*/ 105844299 h 2292"/>
              <a:gd name="T80" fmla="*/ 248426039 w 2226"/>
              <a:gd name="T81" fmla="*/ 73870610 h 2292"/>
              <a:gd name="T82" fmla="*/ 252387434 w 2226"/>
              <a:gd name="T83" fmla="*/ 50717104 h 2292"/>
              <a:gd name="T84" fmla="*/ 243521745 w 2226"/>
              <a:gd name="T85" fmla="*/ 18743414 h 2292"/>
              <a:gd name="T86" fmla="*/ 212020385 w 2226"/>
              <a:gd name="T87" fmla="*/ 37210673 h 2292"/>
              <a:gd name="T88" fmla="*/ 189196220 w 2226"/>
              <a:gd name="T89" fmla="*/ 46858274 h 2292"/>
              <a:gd name="T90" fmla="*/ 181084938 w 2226"/>
              <a:gd name="T91" fmla="*/ 51543996 h 2292"/>
              <a:gd name="T92" fmla="*/ 153167552 w 2226"/>
              <a:gd name="T93" fmla="*/ 48512058 h 2292"/>
              <a:gd name="T94" fmla="*/ 152979059 w 2226"/>
              <a:gd name="T95" fmla="*/ 18467784 h 2292"/>
              <a:gd name="T96" fmla="*/ 140529396 w 2226"/>
              <a:gd name="T97" fmla="*/ 0 h 2292"/>
              <a:gd name="T98" fmla="*/ 132041128 w 2226"/>
              <a:gd name="T99" fmla="*/ 8544553 h 2292"/>
              <a:gd name="T100" fmla="*/ 111103197 w 2226"/>
              <a:gd name="T101" fmla="*/ 19294676 h 2292"/>
              <a:gd name="T102" fmla="*/ 105632989 w 2226"/>
              <a:gd name="T103" fmla="*/ 54575934 h 2292"/>
              <a:gd name="T104" fmla="*/ 85449465 w 2226"/>
              <a:gd name="T105" fmla="*/ 71114302 h 2292"/>
              <a:gd name="T106" fmla="*/ 53948104 w 2226"/>
              <a:gd name="T107" fmla="*/ 54300303 h 2292"/>
              <a:gd name="T108" fmla="*/ 47723490 w 2226"/>
              <a:gd name="T109" fmla="*/ 66152949 h 2292"/>
              <a:gd name="T110" fmla="*/ 37348988 w 2226"/>
              <a:gd name="T111" fmla="*/ 85722731 h 2292"/>
              <a:gd name="T112" fmla="*/ 46403170 w 2226"/>
              <a:gd name="T113" fmla="*/ 106946822 h 2292"/>
              <a:gd name="T114" fmla="*/ 36594147 w 2226"/>
              <a:gd name="T115" fmla="*/ 154356357 h 2292"/>
              <a:gd name="T116" fmla="*/ 18863204 w 2226"/>
              <a:gd name="T117" fmla="*/ 156285772 h 2292"/>
              <a:gd name="T118" fmla="*/ 3018061 w 2226"/>
              <a:gd name="T119" fmla="*/ 189361984 h 2292"/>
              <a:gd name="T120" fmla="*/ 4149888 w 2226"/>
              <a:gd name="T121" fmla="*/ 227124444 h 2292"/>
              <a:gd name="T122" fmla="*/ 22635672 w 2226"/>
              <a:gd name="T123" fmla="*/ 249451058 h 2292"/>
              <a:gd name="T124" fmla="*/ 36028234 w 2226"/>
              <a:gd name="T125" fmla="*/ 261578810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56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289425" y="2769989"/>
            <a:ext cx="69850" cy="49213"/>
          </a:xfrm>
          <a:custGeom>
            <a:avLst/>
            <a:gdLst>
              <a:gd name="T0" fmla="*/ 2147483647 w 161"/>
              <a:gd name="T1" fmla="*/ 0 h 93"/>
              <a:gd name="T2" fmla="*/ 2147483647 w 161"/>
              <a:gd name="T3" fmla="*/ 2147483647 h 93"/>
              <a:gd name="T4" fmla="*/ 2147483647 w 161"/>
              <a:gd name="T5" fmla="*/ 2147483647 h 93"/>
              <a:gd name="T6" fmla="*/ 2147483647 w 161"/>
              <a:gd name="T7" fmla="*/ 2147483647 h 93"/>
              <a:gd name="T8" fmla="*/ 2147483647 w 161"/>
              <a:gd name="T9" fmla="*/ 2147483647 h 93"/>
              <a:gd name="T10" fmla="*/ 2147483647 w 161"/>
              <a:gd name="T11" fmla="*/ 2147483647 h 93"/>
              <a:gd name="T12" fmla="*/ 2147483647 w 161"/>
              <a:gd name="T13" fmla="*/ 2147483647 h 93"/>
              <a:gd name="T14" fmla="*/ 2147483647 w 161"/>
              <a:gd name="T15" fmla="*/ 0 h 93"/>
              <a:gd name="T16" fmla="*/ 2147483647 w 161"/>
              <a:gd name="T17" fmla="*/ 0 h 93"/>
              <a:gd name="T18" fmla="*/ 2147483647 w 161"/>
              <a:gd name="T19" fmla="*/ 0 h 93"/>
              <a:gd name="T20" fmla="*/ 2147483647 w 161"/>
              <a:gd name="T21" fmla="*/ 2147483647 h 93"/>
              <a:gd name="T22" fmla="*/ 2147483647 w 161"/>
              <a:gd name="T23" fmla="*/ 2147483647 h 93"/>
              <a:gd name="T24" fmla="*/ 2147483647 w 161"/>
              <a:gd name="T25" fmla="*/ 2147483647 h 93"/>
              <a:gd name="T26" fmla="*/ 2147483647 w 161"/>
              <a:gd name="T27" fmla="*/ 2147483647 h 93"/>
              <a:gd name="T28" fmla="*/ 2147483647 w 161"/>
              <a:gd name="T29" fmla="*/ 2147483647 h 93"/>
              <a:gd name="T30" fmla="*/ 2147483647 w 161"/>
              <a:gd name="T31" fmla="*/ 2147483647 h 93"/>
              <a:gd name="T32" fmla="*/ 2147483647 w 161"/>
              <a:gd name="T33" fmla="*/ 2147483647 h 93"/>
              <a:gd name="T34" fmla="*/ 2147483647 w 161"/>
              <a:gd name="T35" fmla="*/ 2147483647 h 93"/>
              <a:gd name="T36" fmla="*/ 2147483647 w 161"/>
              <a:gd name="T37" fmla="*/ 2147483647 h 93"/>
              <a:gd name="T38" fmla="*/ 2147483647 w 161"/>
              <a:gd name="T39" fmla="*/ 2147483647 h 93"/>
              <a:gd name="T40" fmla="*/ 2147483647 w 161"/>
              <a:gd name="T41" fmla="*/ 2147483647 h 93"/>
              <a:gd name="T42" fmla="*/ 2147483647 w 161"/>
              <a:gd name="T43" fmla="*/ 2147483647 h 93"/>
              <a:gd name="T44" fmla="*/ 2147483647 w 161"/>
              <a:gd name="T45" fmla="*/ 2147483647 h 93"/>
              <a:gd name="T46" fmla="*/ 2147483647 w 161"/>
              <a:gd name="T47" fmla="*/ 2147483647 h 93"/>
              <a:gd name="T48" fmla="*/ 2147483647 w 161"/>
              <a:gd name="T49" fmla="*/ 2147483647 h 93"/>
              <a:gd name="T50" fmla="*/ 2147483647 w 161"/>
              <a:gd name="T51" fmla="*/ 2147483647 h 93"/>
              <a:gd name="T52" fmla="*/ 2147483647 w 161"/>
              <a:gd name="T53" fmla="*/ 2147483647 h 93"/>
              <a:gd name="T54" fmla="*/ 2147483647 w 161"/>
              <a:gd name="T55" fmla="*/ 2147483647 h 93"/>
              <a:gd name="T56" fmla="*/ 2147483647 w 161"/>
              <a:gd name="T57" fmla="*/ 2147483647 h 93"/>
              <a:gd name="T58" fmla="*/ 2147483647 w 161"/>
              <a:gd name="T59" fmla="*/ 2147483647 h 93"/>
              <a:gd name="T60" fmla="*/ 2147483647 w 161"/>
              <a:gd name="T61" fmla="*/ 2147483647 h 93"/>
              <a:gd name="T62" fmla="*/ 2147483647 w 161"/>
              <a:gd name="T63" fmla="*/ 2147483647 h 93"/>
              <a:gd name="T64" fmla="*/ 2147483647 w 161"/>
              <a:gd name="T65" fmla="*/ 2147483647 h 93"/>
              <a:gd name="T66" fmla="*/ 2147483647 w 161"/>
              <a:gd name="T67" fmla="*/ 2147483647 h 93"/>
              <a:gd name="T68" fmla="*/ 2147483647 w 161"/>
              <a:gd name="T69" fmla="*/ 2147483647 h 93"/>
              <a:gd name="T70" fmla="*/ 2147483647 w 161"/>
              <a:gd name="T71" fmla="*/ 2147483647 h 93"/>
              <a:gd name="T72" fmla="*/ 0 w 161"/>
              <a:gd name="T73" fmla="*/ 0 h 93"/>
              <a:gd name="T74" fmla="*/ 2147483647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57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787775" y="2644577"/>
            <a:ext cx="82550" cy="160337"/>
          </a:xfrm>
          <a:custGeom>
            <a:avLst/>
            <a:gdLst>
              <a:gd name="T0" fmla="*/ 7024489 w 192"/>
              <a:gd name="T1" fmla="*/ 818398 h 307"/>
              <a:gd name="T2" fmla="*/ 6839611 w 192"/>
              <a:gd name="T3" fmla="*/ 0 h 307"/>
              <a:gd name="T4" fmla="*/ 10536734 w 192"/>
              <a:gd name="T5" fmla="*/ 818398 h 307"/>
              <a:gd name="T6" fmla="*/ 20333957 w 192"/>
              <a:gd name="T7" fmla="*/ 3818841 h 307"/>
              <a:gd name="T8" fmla="*/ 28652589 w 192"/>
              <a:gd name="T9" fmla="*/ 6819284 h 307"/>
              <a:gd name="T10" fmla="*/ 33458977 w 192"/>
              <a:gd name="T11" fmla="*/ 7637682 h 307"/>
              <a:gd name="T12" fmla="*/ 35492201 w 192"/>
              <a:gd name="T13" fmla="*/ 9546580 h 307"/>
              <a:gd name="T14" fmla="*/ 34752690 w 192"/>
              <a:gd name="T15" fmla="*/ 12820170 h 307"/>
              <a:gd name="T16" fmla="*/ 32349711 w 192"/>
              <a:gd name="T17" fmla="*/ 22366750 h 307"/>
              <a:gd name="T18" fmla="*/ 29207222 w 192"/>
              <a:gd name="T19" fmla="*/ 34641148 h 307"/>
              <a:gd name="T20" fmla="*/ 27173568 w 192"/>
              <a:gd name="T21" fmla="*/ 45006648 h 307"/>
              <a:gd name="T22" fmla="*/ 26988691 w 192"/>
              <a:gd name="T23" fmla="*/ 56462648 h 307"/>
              <a:gd name="T24" fmla="*/ 26619365 w 192"/>
              <a:gd name="T25" fmla="*/ 67918649 h 307"/>
              <a:gd name="T26" fmla="*/ 24770589 w 192"/>
              <a:gd name="T27" fmla="*/ 75556330 h 307"/>
              <a:gd name="T28" fmla="*/ 19594446 w 192"/>
              <a:gd name="T29" fmla="*/ 80738819 h 307"/>
              <a:gd name="T30" fmla="*/ 15343121 w 192"/>
              <a:gd name="T31" fmla="*/ 82648240 h 307"/>
              <a:gd name="T32" fmla="*/ 13309468 w 192"/>
              <a:gd name="T33" fmla="*/ 83739262 h 307"/>
              <a:gd name="T34" fmla="*/ 9612346 w 192"/>
              <a:gd name="T35" fmla="*/ 83193490 h 307"/>
              <a:gd name="T36" fmla="*/ 5915223 w 192"/>
              <a:gd name="T37" fmla="*/ 79375171 h 307"/>
              <a:gd name="T38" fmla="*/ 5545468 w 192"/>
              <a:gd name="T39" fmla="*/ 75556330 h 307"/>
              <a:gd name="T40" fmla="*/ 4066877 w 192"/>
              <a:gd name="T41" fmla="*/ 70100694 h 307"/>
              <a:gd name="T42" fmla="*/ 1848346 w 192"/>
              <a:gd name="T43" fmla="*/ 63008785 h 307"/>
              <a:gd name="T44" fmla="*/ 369755 w 192"/>
              <a:gd name="T45" fmla="*/ 57553671 h 307"/>
              <a:gd name="T46" fmla="*/ 0 w 192"/>
              <a:gd name="T47" fmla="*/ 53734830 h 307"/>
              <a:gd name="T48" fmla="*/ 0 w 192"/>
              <a:gd name="T49" fmla="*/ 49098114 h 307"/>
              <a:gd name="T50" fmla="*/ 369755 w 192"/>
              <a:gd name="T51" fmla="*/ 45006648 h 307"/>
              <a:gd name="T52" fmla="*/ 2033224 w 192"/>
              <a:gd name="T53" fmla="*/ 39551012 h 307"/>
              <a:gd name="T54" fmla="*/ 6100101 w 192"/>
              <a:gd name="T55" fmla="*/ 29731285 h 307"/>
              <a:gd name="T56" fmla="*/ 8873265 w 192"/>
              <a:gd name="T57" fmla="*/ 22094125 h 307"/>
              <a:gd name="T58" fmla="*/ 9612346 w 192"/>
              <a:gd name="T59" fmla="*/ 16911636 h 307"/>
              <a:gd name="T60" fmla="*/ 9797223 w 192"/>
              <a:gd name="T61" fmla="*/ 11183375 h 307"/>
              <a:gd name="T62" fmla="*/ 10166978 w 192"/>
              <a:gd name="T63" fmla="*/ 8182932 h 307"/>
              <a:gd name="T64" fmla="*/ 10536734 w 192"/>
              <a:gd name="T65" fmla="*/ 7091909 h 307"/>
              <a:gd name="T66" fmla="*/ 11091366 w 192"/>
              <a:gd name="T67" fmla="*/ 6000886 h 307"/>
              <a:gd name="T68" fmla="*/ 8133755 w 192"/>
              <a:gd name="T69" fmla="*/ 1909420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58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868738" y="2130227"/>
            <a:ext cx="171450" cy="269875"/>
          </a:xfrm>
          <a:custGeom>
            <a:avLst/>
            <a:gdLst>
              <a:gd name="T0" fmla="*/ 4824724 w 398"/>
              <a:gd name="T1" fmla="*/ 542876 h 518"/>
              <a:gd name="T2" fmla="*/ 17629195 w 398"/>
              <a:gd name="T3" fmla="*/ 3528694 h 518"/>
              <a:gd name="T4" fmla="*/ 21526021 w 398"/>
              <a:gd name="T5" fmla="*/ 6243074 h 518"/>
              <a:gd name="T6" fmla="*/ 14845502 w 398"/>
              <a:gd name="T7" fmla="*/ 12757585 h 518"/>
              <a:gd name="T8" fmla="*/ 11876574 w 398"/>
              <a:gd name="T9" fmla="*/ 16829155 h 518"/>
              <a:gd name="T10" fmla="*/ 14288936 w 398"/>
              <a:gd name="T11" fmla="*/ 18729221 h 518"/>
              <a:gd name="T12" fmla="*/ 30990234 w 398"/>
              <a:gd name="T13" fmla="*/ 21443601 h 518"/>
              <a:gd name="T14" fmla="*/ 38969982 w 398"/>
              <a:gd name="T15" fmla="*/ 29586219 h 518"/>
              <a:gd name="T16" fmla="*/ 28577872 w 398"/>
              <a:gd name="T17" fmla="*/ 34472103 h 518"/>
              <a:gd name="T18" fmla="*/ 27278643 w 398"/>
              <a:gd name="T19" fmla="*/ 37457921 h 518"/>
              <a:gd name="T20" fmla="*/ 35444057 w 398"/>
              <a:gd name="T21" fmla="*/ 38815111 h 518"/>
              <a:gd name="T22" fmla="*/ 39155217 w 398"/>
              <a:gd name="T23" fmla="*/ 42343804 h 518"/>
              <a:gd name="T24" fmla="*/ 45093504 w 398"/>
              <a:gd name="T25" fmla="*/ 51844134 h 518"/>
              <a:gd name="T26" fmla="*/ 47877197 w 398"/>
              <a:gd name="T27" fmla="*/ 57544331 h 518"/>
              <a:gd name="T28" fmla="*/ 48248529 w 398"/>
              <a:gd name="T29" fmla="*/ 64330281 h 518"/>
              <a:gd name="T30" fmla="*/ 50475225 w 398"/>
              <a:gd name="T31" fmla="*/ 68944727 h 518"/>
              <a:gd name="T32" fmla="*/ 53073252 w 398"/>
              <a:gd name="T33" fmla="*/ 75730155 h 518"/>
              <a:gd name="T34" fmla="*/ 56784412 w 398"/>
              <a:gd name="T35" fmla="*/ 80616039 h 518"/>
              <a:gd name="T36" fmla="*/ 60681669 w 398"/>
              <a:gd name="T37" fmla="*/ 86859112 h 518"/>
              <a:gd name="T38" fmla="*/ 64207163 w 398"/>
              <a:gd name="T39" fmla="*/ 91473558 h 518"/>
              <a:gd name="T40" fmla="*/ 68660986 w 398"/>
              <a:gd name="T41" fmla="*/ 92559310 h 518"/>
              <a:gd name="T42" fmla="*/ 73485710 w 398"/>
              <a:gd name="T43" fmla="*/ 99073822 h 518"/>
              <a:gd name="T44" fmla="*/ 73300475 w 398"/>
              <a:gd name="T45" fmla="*/ 107216961 h 518"/>
              <a:gd name="T46" fmla="*/ 70888113 w 398"/>
              <a:gd name="T47" fmla="*/ 109659903 h 518"/>
              <a:gd name="T48" fmla="*/ 68104420 w 398"/>
              <a:gd name="T49" fmla="*/ 112645721 h 518"/>
              <a:gd name="T50" fmla="*/ 68290086 w 398"/>
              <a:gd name="T51" fmla="*/ 115631539 h 518"/>
              <a:gd name="T52" fmla="*/ 69774550 w 398"/>
              <a:gd name="T53" fmla="*/ 120245463 h 518"/>
              <a:gd name="T54" fmla="*/ 66619956 w 398"/>
              <a:gd name="T55" fmla="*/ 125674223 h 518"/>
              <a:gd name="T56" fmla="*/ 27093408 w 398"/>
              <a:gd name="T57" fmla="*/ 135717428 h 518"/>
              <a:gd name="T58" fmla="*/ 12618806 w 398"/>
              <a:gd name="T59" fmla="*/ 137888932 h 518"/>
              <a:gd name="T60" fmla="*/ 9835113 w 398"/>
              <a:gd name="T61" fmla="*/ 140603312 h 518"/>
              <a:gd name="T62" fmla="*/ 10763011 w 398"/>
              <a:gd name="T63" fmla="*/ 133817362 h 518"/>
              <a:gd name="T64" fmla="*/ 13175372 w 398"/>
              <a:gd name="T65" fmla="*/ 129202917 h 518"/>
              <a:gd name="T66" fmla="*/ 21155121 w 398"/>
              <a:gd name="T67" fmla="*/ 124317033 h 518"/>
              <a:gd name="T68" fmla="*/ 31918131 w 398"/>
              <a:gd name="T69" fmla="*/ 119159711 h 518"/>
              <a:gd name="T70" fmla="*/ 33216930 w 398"/>
              <a:gd name="T71" fmla="*/ 115631539 h 518"/>
              <a:gd name="T72" fmla="*/ 31732466 w 398"/>
              <a:gd name="T73" fmla="*/ 117802521 h 518"/>
              <a:gd name="T74" fmla="*/ 20598124 w 398"/>
              <a:gd name="T75" fmla="*/ 117259646 h 518"/>
              <a:gd name="T76" fmla="*/ 14103270 w 398"/>
              <a:gd name="T77" fmla="*/ 114002911 h 518"/>
              <a:gd name="T78" fmla="*/ 14288936 w 398"/>
              <a:gd name="T79" fmla="*/ 109117027 h 518"/>
              <a:gd name="T80" fmla="*/ 17629195 w 398"/>
              <a:gd name="T81" fmla="*/ 106131209 h 518"/>
              <a:gd name="T82" fmla="*/ 16144731 w 398"/>
              <a:gd name="T83" fmla="*/ 95545128 h 518"/>
              <a:gd name="T84" fmla="*/ 19484991 w 398"/>
              <a:gd name="T85" fmla="*/ 89302054 h 518"/>
              <a:gd name="T86" fmla="*/ 28577872 w 398"/>
              <a:gd name="T87" fmla="*/ 83873295 h 518"/>
              <a:gd name="T88" fmla="*/ 31918131 w 398"/>
              <a:gd name="T89" fmla="*/ 78987411 h 518"/>
              <a:gd name="T90" fmla="*/ 27464308 w 398"/>
              <a:gd name="T91" fmla="*/ 73558651 h 518"/>
              <a:gd name="T92" fmla="*/ 25794179 w 398"/>
              <a:gd name="T93" fmla="*/ 67044661 h 518"/>
              <a:gd name="T94" fmla="*/ 17443530 w 398"/>
              <a:gd name="T95" fmla="*/ 64873157 h 518"/>
              <a:gd name="T96" fmla="*/ 14845502 w 398"/>
              <a:gd name="T97" fmla="*/ 58630083 h 518"/>
              <a:gd name="T98" fmla="*/ 16701298 w 398"/>
              <a:gd name="T99" fmla="*/ 52115572 h 518"/>
              <a:gd name="T100" fmla="*/ 18557093 w 398"/>
              <a:gd name="T101" fmla="*/ 45601060 h 518"/>
              <a:gd name="T102" fmla="*/ 13546704 w 398"/>
              <a:gd name="T103" fmla="*/ 50486944 h 518"/>
              <a:gd name="T104" fmla="*/ 4082492 w 398"/>
              <a:gd name="T105" fmla="*/ 43972432 h 518"/>
              <a:gd name="T106" fmla="*/ 3711591 w 398"/>
              <a:gd name="T107" fmla="*/ 38543673 h 518"/>
              <a:gd name="T108" fmla="*/ 2598028 w 398"/>
              <a:gd name="T109" fmla="*/ 35557855 h 518"/>
              <a:gd name="T110" fmla="*/ 3711591 w 398"/>
              <a:gd name="T111" fmla="*/ 17100593 h 518"/>
              <a:gd name="T112" fmla="*/ 3525925 w 398"/>
              <a:gd name="T113" fmla="*/ 13300461 h 518"/>
              <a:gd name="T114" fmla="*/ 742232 w 398"/>
              <a:gd name="T115" fmla="*/ 10857519 h 518"/>
              <a:gd name="T116" fmla="*/ 3711591 w 398"/>
              <a:gd name="T117" fmla="*/ 5157322 h 518"/>
              <a:gd name="T118" fmla="*/ 556566 w 398"/>
              <a:gd name="T119" fmla="*/ 2442942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chemeClr val="tx2">
              <a:lumMod val="50000"/>
            </a:schemeClr>
          </a:solidFill>
          <a:ln>
            <a:solidFill>
              <a:schemeClr val="accent5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59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27513" y="2433439"/>
            <a:ext cx="169862" cy="76200"/>
          </a:xfrm>
          <a:custGeom>
            <a:avLst/>
            <a:gdLst>
              <a:gd name="T0" fmla="*/ 37567961 w 382"/>
              <a:gd name="T1" fmla="*/ 5566719 h 148"/>
              <a:gd name="T2" fmla="*/ 34997797 w 382"/>
              <a:gd name="T3" fmla="*/ 8217758 h 148"/>
              <a:gd name="T4" fmla="*/ 34404614 w 382"/>
              <a:gd name="T5" fmla="*/ 11928904 h 148"/>
              <a:gd name="T6" fmla="*/ 33218248 w 382"/>
              <a:gd name="T7" fmla="*/ 14049632 h 148"/>
              <a:gd name="T8" fmla="*/ 32822497 w 382"/>
              <a:gd name="T9" fmla="*/ 16170361 h 148"/>
              <a:gd name="T10" fmla="*/ 34997797 w 382"/>
              <a:gd name="T11" fmla="*/ 19616351 h 148"/>
              <a:gd name="T12" fmla="*/ 30647640 w 382"/>
              <a:gd name="T13" fmla="*/ 22797186 h 148"/>
              <a:gd name="T14" fmla="*/ 21354588 w 382"/>
              <a:gd name="T15" fmla="*/ 25448226 h 148"/>
              <a:gd name="T16" fmla="*/ 15224882 w 382"/>
              <a:gd name="T17" fmla="*/ 25713381 h 148"/>
              <a:gd name="T18" fmla="*/ 10281987 w 382"/>
              <a:gd name="T19" fmla="*/ 25183070 h 148"/>
              <a:gd name="T20" fmla="*/ 791059 w 382"/>
              <a:gd name="T21" fmla="*/ 29424527 h 148"/>
              <a:gd name="T22" fmla="*/ 0 w 382"/>
              <a:gd name="T23" fmla="*/ 34196295 h 148"/>
              <a:gd name="T24" fmla="*/ 791059 w 382"/>
              <a:gd name="T25" fmla="*/ 34726091 h 148"/>
              <a:gd name="T26" fmla="*/ 2372732 w 382"/>
              <a:gd name="T27" fmla="*/ 34726091 h 148"/>
              <a:gd name="T28" fmla="*/ 10084111 w 382"/>
              <a:gd name="T29" fmla="*/ 34196295 h 148"/>
              <a:gd name="T30" fmla="*/ 22540954 w 382"/>
              <a:gd name="T31" fmla="*/ 33665984 h 148"/>
              <a:gd name="T32" fmla="*/ 24320503 w 382"/>
              <a:gd name="T33" fmla="*/ 35521557 h 148"/>
              <a:gd name="T34" fmla="*/ 27088542 w 382"/>
              <a:gd name="T35" fmla="*/ 37377130 h 148"/>
              <a:gd name="T36" fmla="*/ 31438699 w 382"/>
              <a:gd name="T37" fmla="*/ 38967547 h 148"/>
              <a:gd name="T38" fmla="*/ 36579470 w 382"/>
              <a:gd name="T39" fmla="*/ 39232703 h 148"/>
              <a:gd name="T40" fmla="*/ 41522810 w 382"/>
              <a:gd name="T41" fmla="*/ 39232703 h 148"/>
              <a:gd name="T42" fmla="*/ 46070399 w 382"/>
              <a:gd name="T43" fmla="*/ 39232703 h 148"/>
              <a:gd name="T44" fmla="*/ 50420555 w 382"/>
              <a:gd name="T45" fmla="*/ 39232703 h 148"/>
              <a:gd name="T46" fmla="*/ 54374961 w 382"/>
              <a:gd name="T47" fmla="*/ 37907441 h 148"/>
              <a:gd name="T48" fmla="*/ 59515732 w 382"/>
              <a:gd name="T49" fmla="*/ 35521557 h 148"/>
              <a:gd name="T50" fmla="*/ 66040745 w 382"/>
              <a:gd name="T51" fmla="*/ 32075566 h 148"/>
              <a:gd name="T52" fmla="*/ 69797719 w 382"/>
              <a:gd name="T53" fmla="*/ 27303799 h 148"/>
              <a:gd name="T54" fmla="*/ 73554248 w 382"/>
              <a:gd name="T55" fmla="*/ 19086041 h 148"/>
              <a:gd name="T56" fmla="*/ 74345307 w 382"/>
              <a:gd name="T57" fmla="*/ 13784477 h 148"/>
              <a:gd name="T58" fmla="*/ 71774699 w 382"/>
              <a:gd name="T59" fmla="*/ 11663749 h 148"/>
              <a:gd name="T60" fmla="*/ 70588333 w 382"/>
              <a:gd name="T61" fmla="*/ 8482914 h 148"/>
              <a:gd name="T62" fmla="*/ 68611353 w 382"/>
              <a:gd name="T63" fmla="*/ 5831874 h 148"/>
              <a:gd name="T64" fmla="*/ 66040745 w 382"/>
              <a:gd name="T65" fmla="*/ 4506612 h 148"/>
              <a:gd name="T66" fmla="*/ 63074830 w 382"/>
              <a:gd name="T67" fmla="*/ 2120728 h 148"/>
              <a:gd name="T68" fmla="*/ 40138568 w 382"/>
              <a:gd name="T69" fmla="*/ 47717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60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719763" y="2282627"/>
            <a:ext cx="1281112" cy="1038225"/>
          </a:xfrm>
          <a:custGeom>
            <a:avLst/>
            <a:gdLst>
              <a:gd name="T0" fmla="*/ 2147483647 w 2936"/>
              <a:gd name="T1" fmla="*/ 2147483647 h 1983"/>
              <a:gd name="T2" fmla="*/ 2147483647 w 2936"/>
              <a:gd name="T3" fmla="*/ 2147483647 h 1983"/>
              <a:gd name="T4" fmla="*/ 2147483647 w 2936"/>
              <a:gd name="T5" fmla="*/ 2147483647 h 1983"/>
              <a:gd name="T6" fmla="*/ 2147483647 w 2936"/>
              <a:gd name="T7" fmla="*/ 2147483647 h 1983"/>
              <a:gd name="T8" fmla="*/ 2147483647 w 2936"/>
              <a:gd name="T9" fmla="*/ 2147483647 h 1983"/>
              <a:gd name="T10" fmla="*/ 2147483647 w 2936"/>
              <a:gd name="T11" fmla="*/ 2147483647 h 1983"/>
              <a:gd name="T12" fmla="*/ 2147483647 w 2936"/>
              <a:gd name="T13" fmla="*/ 2147483647 h 1983"/>
              <a:gd name="T14" fmla="*/ 2147483647 w 2936"/>
              <a:gd name="T15" fmla="*/ 2147483647 h 1983"/>
              <a:gd name="T16" fmla="*/ 2147483647 w 2936"/>
              <a:gd name="T17" fmla="*/ 2147483647 h 1983"/>
              <a:gd name="T18" fmla="*/ 2147483647 w 2936"/>
              <a:gd name="T19" fmla="*/ 2147483647 h 1983"/>
              <a:gd name="T20" fmla="*/ 2147483647 w 2936"/>
              <a:gd name="T21" fmla="*/ 2147483647 h 1983"/>
              <a:gd name="T22" fmla="*/ 2147483647 w 2936"/>
              <a:gd name="T23" fmla="*/ 2147483647 h 1983"/>
              <a:gd name="T24" fmla="*/ 2147483647 w 2936"/>
              <a:gd name="T25" fmla="*/ 2147483647 h 1983"/>
              <a:gd name="T26" fmla="*/ 2147483647 w 2936"/>
              <a:gd name="T27" fmla="*/ 2147483647 h 1983"/>
              <a:gd name="T28" fmla="*/ 2147483647 w 2936"/>
              <a:gd name="T29" fmla="*/ 2147483647 h 1983"/>
              <a:gd name="T30" fmla="*/ 2147483647 w 2936"/>
              <a:gd name="T31" fmla="*/ 2147483647 h 1983"/>
              <a:gd name="T32" fmla="*/ 2147483647 w 2936"/>
              <a:gd name="T33" fmla="*/ 2147483647 h 1983"/>
              <a:gd name="T34" fmla="*/ 2147483647 w 2936"/>
              <a:gd name="T35" fmla="*/ 2147483647 h 1983"/>
              <a:gd name="T36" fmla="*/ 2147483647 w 2936"/>
              <a:gd name="T37" fmla="*/ 2147483647 h 1983"/>
              <a:gd name="T38" fmla="*/ 2147483647 w 2936"/>
              <a:gd name="T39" fmla="*/ 2147483647 h 1983"/>
              <a:gd name="T40" fmla="*/ 2147483647 w 2936"/>
              <a:gd name="T41" fmla="*/ 2147483647 h 1983"/>
              <a:gd name="T42" fmla="*/ 2147483647 w 2936"/>
              <a:gd name="T43" fmla="*/ 2147483647 h 1983"/>
              <a:gd name="T44" fmla="*/ 2147483647 w 2936"/>
              <a:gd name="T45" fmla="*/ 2147483647 h 1983"/>
              <a:gd name="T46" fmla="*/ 2147483647 w 2936"/>
              <a:gd name="T47" fmla="*/ 2147483647 h 1983"/>
              <a:gd name="T48" fmla="*/ 2147483647 w 2936"/>
              <a:gd name="T49" fmla="*/ 2147483647 h 1983"/>
              <a:gd name="T50" fmla="*/ 2147483647 w 2936"/>
              <a:gd name="T51" fmla="*/ 2147483647 h 1983"/>
              <a:gd name="T52" fmla="*/ 2147483647 w 2936"/>
              <a:gd name="T53" fmla="*/ 2147483647 h 1983"/>
              <a:gd name="T54" fmla="*/ 2147483647 w 2936"/>
              <a:gd name="T55" fmla="*/ 2147483647 h 1983"/>
              <a:gd name="T56" fmla="*/ 2147483647 w 2936"/>
              <a:gd name="T57" fmla="*/ 2147483647 h 1983"/>
              <a:gd name="T58" fmla="*/ 2147483647 w 2936"/>
              <a:gd name="T59" fmla="*/ 2147483647 h 1983"/>
              <a:gd name="T60" fmla="*/ 2147483647 w 2936"/>
              <a:gd name="T61" fmla="*/ 2147483647 h 1983"/>
              <a:gd name="T62" fmla="*/ 2147483647 w 2936"/>
              <a:gd name="T63" fmla="*/ 2147483647 h 1983"/>
              <a:gd name="T64" fmla="*/ 2147483647 w 2936"/>
              <a:gd name="T65" fmla="*/ 2147483647 h 1983"/>
              <a:gd name="T66" fmla="*/ 2147483647 w 2936"/>
              <a:gd name="T67" fmla="*/ 2147483647 h 1983"/>
              <a:gd name="T68" fmla="*/ 2147483647 w 2936"/>
              <a:gd name="T69" fmla="*/ 2147483647 h 1983"/>
              <a:gd name="T70" fmla="*/ 2147483647 w 2936"/>
              <a:gd name="T71" fmla="*/ 2147483647 h 1983"/>
              <a:gd name="T72" fmla="*/ 2147483647 w 2936"/>
              <a:gd name="T73" fmla="*/ 2147483647 h 1983"/>
              <a:gd name="T74" fmla="*/ 2147483647 w 2936"/>
              <a:gd name="T75" fmla="*/ 2147483647 h 1983"/>
              <a:gd name="T76" fmla="*/ 2147483647 w 2936"/>
              <a:gd name="T77" fmla="*/ 2147483647 h 1983"/>
              <a:gd name="T78" fmla="*/ 2147483647 w 2936"/>
              <a:gd name="T79" fmla="*/ 2147483647 h 1983"/>
              <a:gd name="T80" fmla="*/ 2147483647 w 2936"/>
              <a:gd name="T81" fmla="*/ 2147483647 h 1983"/>
              <a:gd name="T82" fmla="*/ 2147483647 w 2936"/>
              <a:gd name="T83" fmla="*/ 2147483647 h 1983"/>
              <a:gd name="T84" fmla="*/ 2147483647 w 2936"/>
              <a:gd name="T85" fmla="*/ 2147483647 h 1983"/>
              <a:gd name="T86" fmla="*/ 2147483647 w 2936"/>
              <a:gd name="T87" fmla="*/ 2147483647 h 1983"/>
              <a:gd name="T88" fmla="*/ 2147483647 w 2936"/>
              <a:gd name="T89" fmla="*/ 2147483647 h 1983"/>
              <a:gd name="T90" fmla="*/ 2147483647 w 2936"/>
              <a:gd name="T91" fmla="*/ 2147483647 h 1983"/>
              <a:gd name="T92" fmla="*/ 2147483647 w 2936"/>
              <a:gd name="T93" fmla="*/ 2147483647 h 1983"/>
              <a:gd name="T94" fmla="*/ 2147483647 w 2936"/>
              <a:gd name="T95" fmla="*/ 2147483647 h 1983"/>
              <a:gd name="T96" fmla="*/ 2147483647 w 2936"/>
              <a:gd name="T97" fmla="*/ 2147483647 h 1983"/>
              <a:gd name="T98" fmla="*/ 2147483647 w 2936"/>
              <a:gd name="T99" fmla="*/ 2147483647 h 1983"/>
              <a:gd name="T100" fmla="*/ 2147483647 w 2936"/>
              <a:gd name="T101" fmla="*/ 2147483647 h 1983"/>
              <a:gd name="T102" fmla="*/ 2147483647 w 2936"/>
              <a:gd name="T103" fmla="*/ 2147483647 h 1983"/>
              <a:gd name="T104" fmla="*/ 2147483647 w 2936"/>
              <a:gd name="T105" fmla="*/ 2147483647 h 1983"/>
              <a:gd name="T106" fmla="*/ 2147483647 w 2936"/>
              <a:gd name="T107" fmla="*/ 2147483647 h 1983"/>
              <a:gd name="T108" fmla="*/ 2147483647 w 2936"/>
              <a:gd name="T109" fmla="*/ 2147483647 h 1983"/>
              <a:gd name="T110" fmla="*/ 2147483647 w 2936"/>
              <a:gd name="T111" fmla="*/ 2147483647 h 1983"/>
              <a:gd name="T112" fmla="*/ 2147483647 w 2936"/>
              <a:gd name="T113" fmla="*/ 2147483647 h 1983"/>
              <a:gd name="T114" fmla="*/ 2147483647 w 2936"/>
              <a:gd name="T115" fmla="*/ 2147483647 h 1983"/>
              <a:gd name="T116" fmla="*/ 2147483647 w 2936"/>
              <a:gd name="T117" fmla="*/ 2147483647 h 1983"/>
              <a:gd name="T118" fmla="*/ 2147483647 w 2936"/>
              <a:gd name="T119" fmla="*/ 2147483647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61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411663" y="1823839"/>
            <a:ext cx="220662" cy="273050"/>
          </a:xfrm>
          <a:custGeom>
            <a:avLst/>
            <a:gdLst>
              <a:gd name="T0" fmla="*/ 66132051 w 504"/>
              <a:gd name="T1" fmla="*/ 133865368 h 524"/>
              <a:gd name="T2" fmla="*/ 49071901 w 504"/>
              <a:gd name="T3" fmla="*/ 137123730 h 524"/>
              <a:gd name="T4" fmla="*/ 45046571 w 504"/>
              <a:gd name="T5" fmla="*/ 140382092 h 524"/>
              <a:gd name="T6" fmla="*/ 40254616 w 504"/>
              <a:gd name="T7" fmla="*/ 141740047 h 524"/>
              <a:gd name="T8" fmla="*/ 29711438 w 504"/>
              <a:gd name="T9" fmla="*/ 142283020 h 524"/>
              <a:gd name="T10" fmla="*/ 20318855 w 504"/>
              <a:gd name="T11" fmla="*/ 141740047 h 524"/>
              <a:gd name="T12" fmla="*/ 18018541 w 504"/>
              <a:gd name="T13" fmla="*/ 140110605 h 524"/>
              <a:gd name="T14" fmla="*/ 13609679 w 504"/>
              <a:gd name="T15" fmla="*/ 138210198 h 524"/>
              <a:gd name="T16" fmla="*/ 6900941 w 504"/>
              <a:gd name="T17" fmla="*/ 134680349 h 524"/>
              <a:gd name="T18" fmla="*/ 4217096 w 504"/>
              <a:gd name="T19" fmla="*/ 131964961 h 524"/>
              <a:gd name="T20" fmla="*/ 3833564 w 504"/>
              <a:gd name="T21" fmla="*/ 129521059 h 524"/>
              <a:gd name="T22" fmla="*/ 5175487 w 504"/>
              <a:gd name="T23" fmla="*/ 125719724 h 524"/>
              <a:gd name="T24" fmla="*/ 6133878 w 504"/>
              <a:gd name="T25" fmla="*/ 120831920 h 524"/>
              <a:gd name="T26" fmla="*/ 5367253 w 504"/>
              <a:gd name="T27" fmla="*/ 117302072 h 524"/>
              <a:gd name="T28" fmla="*/ 1916782 w 504"/>
              <a:gd name="T29" fmla="*/ 113229249 h 524"/>
              <a:gd name="T30" fmla="*/ 191766 w 504"/>
              <a:gd name="T31" fmla="*/ 110513861 h 524"/>
              <a:gd name="T32" fmla="*/ 191766 w 504"/>
              <a:gd name="T33" fmla="*/ 106169031 h 524"/>
              <a:gd name="T34" fmla="*/ 3258705 w 504"/>
              <a:gd name="T35" fmla="*/ 97751900 h 524"/>
              <a:gd name="T36" fmla="*/ 9200817 w 504"/>
              <a:gd name="T37" fmla="*/ 89062761 h 524"/>
              <a:gd name="T38" fmla="*/ 16485290 w 504"/>
              <a:gd name="T39" fmla="*/ 81188083 h 524"/>
              <a:gd name="T40" fmla="*/ 23769325 w 504"/>
              <a:gd name="T41" fmla="*/ 75757306 h 524"/>
              <a:gd name="T42" fmla="*/ 30669829 w 504"/>
              <a:gd name="T43" fmla="*/ 73856898 h 524"/>
              <a:gd name="T44" fmla="*/ 29711438 w 504"/>
              <a:gd name="T45" fmla="*/ 71684483 h 524"/>
              <a:gd name="T46" fmla="*/ 27219796 w 504"/>
              <a:gd name="T47" fmla="*/ 70327050 h 524"/>
              <a:gd name="T48" fmla="*/ 25494342 w 504"/>
              <a:gd name="T49" fmla="*/ 68154635 h 524"/>
              <a:gd name="T50" fmla="*/ 24344185 w 504"/>
              <a:gd name="T51" fmla="*/ 62180884 h 524"/>
              <a:gd name="T52" fmla="*/ 23769325 w 504"/>
              <a:gd name="T53" fmla="*/ 52948772 h 524"/>
              <a:gd name="T54" fmla="*/ 22043871 w 504"/>
              <a:gd name="T55" fmla="*/ 43716660 h 524"/>
              <a:gd name="T56" fmla="*/ 19168698 w 504"/>
              <a:gd name="T57" fmla="*/ 36385476 h 524"/>
              <a:gd name="T58" fmla="*/ 13034820 w 504"/>
              <a:gd name="T59" fmla="*/ 24437975 h 524"/>
              <a:gd name="T60" fmla="*/ 16485290 w 504"/>
              <a:gd name="T61" fmla="*/ 16291810 h 524"/>
              <a:gd name="T62" fmla="*/ 20318855 w 504"/>
              <a:gd name="T63" fmla="*/ 15205863 h 524"/>
              <a:gd name="T64" fmla="*/ 24919482 w 504"/>
              <a:gd name="T65" fmla="*/ 15748836 h 524"/>
              <a:gd name="T66" fmla="*/ 26644499 w 504"/>
              <a:gd name="T67" fmla="*/ 16563296 h 524"/>
              <a:gd name="T68" fmla="*/ 30669829 w 504"/>
              <a:gd name="T69" fmla="*/ 15205863 h 524"/>
              <a:gd name="T70" fmla="*/ 31436892 w 504"/>
              <a:gd name="T71" fmla="*/ 8960626 h 524"/>
              <a:gd name="T72" fmla="*/ 32778377 w 504"/>
              <a:gd name="T73" fmla="*/ 3529849 h 524"/>
              <a:gd name="T74" fmla="*/ 35845754 w 504"/>
              <a:gd name="T75" fmla="*/ 0 h 524"/>
              <a:gd name="T76" fmla="*/ 43129789 w 504"/>
              <a:gd name="T77" fmla="*/ 0 h 524"/>
              <a:gd name="T78" fmla="*/ 48688808 w 504"/>
              <a:gd name="T79" fmla="*/ 2172415 h 524"/>
              <a:gd name="T80" fmla="*/ 53672529 w 504"/>
              <a:gd name="T81" fmla="*/ 5702264 h 524"/>
              <a:gd name="T82" fmla="*/ 53480763 w 504"/>
              <a:gd name="T83" fmla="*/ 16834783 h 524"/>
              <a:gd name="T84" fmla="*/ 55972843 w 504"/>
              <a:gd name="T85" fmla="*/ 20908126 h 524"/>
              <a:gd name="T86" fmla="*/ 61148330 w 504"/>
              <a:gd name="T87" fmla="*/ 25523922 h 524"/>
              <a:gd name="T88" fmla="*/ 68240599 w 504"/>
              <a:gd name="T89" fmla="*/ 32312133 h 524"/>
              <a:gd name="T90" fmla="*/ 66323817 w 504"/>
              <a:gd name="T91" fmla="*/ 36656963 h 524"/>
              <a:gd name="T92" fmla="*/ 65173660 w 504"/>
              <a:gd name="T93" fmla="*/ 41544245 h 524"/>
              <a:gd name="T94" fmla="*/ 65940723 w 504"/>
              <a:gd name="T95" fmla="*/ 47789482 h 524"/>
              <a:gd name="T96" fmla="*/ 69582522 w 504"/>
              <a:gd name="T97" fmla="*/ 54306727 h 524"/>
              <a:gd name="T98" fmla="*/ 72458133 w 504"/>
              <a:gd name="T99" fmla="*/ 57021594 h 524"/>
              <a:gd name="T100" fmla="*/ 73991384 w 504"/>
              <a:gd name="T101" fmla="*/ 69512069 h 524"/>
              <a:gd name="T102" fmla="*/ 77441854 w 504"/>
              <a:gd name="T103" fmla="*/ 78472694 h 524"/>
              <a:gd name="T104" fmla="*/ 82809107 w 504"/>
              <a:gd name="T105" fmla="*/ 85532913 h 524"/>
              <a:gd name="T106" fmla="*/ 88751220 w 504"/>
              <a:gd name="T107" fmla="*/ 90963168 h 524"/>
              <a:gd name="T108" fmla="*/ 89326517 w 504"/>
              <a:gd name="T109" fmla="*/ 105897544 h 524"/>
              <a:gd name="T110" fmla="*/ 76099932 w 504"/>
              <a:gd name="T111" fmla="*/ 124090282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chemeClr val="tx2">
              <a:lumMod val="50000"/>
            </a:schemeClr>
          </a:solidFill>
          <a:ln>
            <a:solidFill>
              <a:schemeClr val="accent5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62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48138" y="2241352"/>
            <a:ext cx="182562" cy="238125"/>
          </a:xfrm>
          <a:custGeom>
            <a:avLst/>
            <a:gdLst>
              <a:gd name="T0" fmla="*/ 74008467 w 438"/>
              <a:gd name="T1" fmla="*/ 52967765 h 451"/>
              <a:gd name="T2" fmla="*/ 70881572 w 438"/>
              <a:gd name="T3" fmla="*/ 35683374 h 451"/>
              <a:gd name="T4" fmla="*/ 67233250 w 438"/>
              <a:gd name="T5" fmla="*/ 23695813 h 451"/>
              <a:gd name="T6" fmla="*/ 63758736 w 438"/>
              <a:gd name="T7" fmla="*/ 17284390 h 451"/>
              <a:gd name="T8" fmla="*/ 61847671 w 438"/>
              <a:gd name="T9" fmla="*/ 16169268 h 451"/>
              <a:gd name="T10" fmla="*/ 58199348 w 438"/>
              <a:gd name="T11" fmla="*/ 12545122 h 451"/>
              <a:gd name="T12" fmla="*/ 54551026 w 438"/>
              <a:gd name="T13" fmla="*/ 10593659 h 451"/>
              <a:gd name="T14" fmla="*/ 50902704 w 438"/>
              <a:gd name="T15" fmla="*/ 10593659 h 451"/>
              <a:gd name="T16" fmla="*/ 47949201 w 438"/>
              <a:gd name="T17" fmla="*/ 11708780 h 451"/>
              <a:gd name="T18" fmla="*/ 43606059 w 438"/>
              <a:gd name="T19" fmla="*/ 16169268 h 451"/>
              <a:gd name="T20" fmla="*/ 40826365 w 438"/>
              <a:gd name="T21" fmla="*/ 18678293 h 451"/>
              <a:gd name="T22" fmla="*/ 37699053 w 438"/>
              <a:gd name="T23" fmla="*/ 18399512 h 451"/>
              <a:gd name="T24" fmla="*/ 30229016 w 438"/>
              <a:gd name="T25" fmla="*/ 10314878 h 451"/>
              <a:gd name="T26" fmla="*/ 19631250 w 438"/>
              <a:gd name="T27" fmla="*/ 0 h 451"/>
              <a:gd name="T28" fmla="*/ 16504355 w 438"/>
              <a:gd name="T29" fmla="*/ 6411951 h 451"/>
              <a:gd name="T30" fmla="*/ 16156737 w 438"/>
              <a:gd name="T31" fmla="*/ 11987561 h 451"/>
              <a:gd name="T32" fmla="*/ 17025365 w 438"/>
              <a:gd name="T33" fmla="*/ 14496585 h 451"/>
              <a:gd name="T34" fmla="*/ 20673688 w 438"/>
              <a:gd name="T35" fmla="*/ 19235854 h 451"/>
              <a:gd name="T36" fmla="*/ 17199174 w 438"/>
              <a:gd name="T37" fmla="*/ 20350976 h 451"/>
              <a:gd name="T38" fmla="*/ 11465977 w 438"/>
              <a:gd name="T39" fmla="*/ 25926057 h 451"/>
              <a:gd name="T40" fmla="*/ 10076339 w 438"/>
              <a:gd name="T41" fmla="*/ 33174350 h 451"/>
              <a:gd name="T42" fmla="*/ 7817655 w 438"/>
              <a:gd name="T43" fmla="*/ 38471179 h 451"/>
              <a:gd name="T44" fmla="*/ 6080398 w 438"/>
              <a:gd name="T45" fmla="*/ 43489228 h 451"/>
              <a:gd name="T46" fmla="*/ 5733197 w 438"/>
              <a:gd name="T47" fmla="*/ 49901179 h 451"/>
              <a:gd name="T48" fmla="*/ 1216246 w 438"/>
              <a:gd name="T49" fmla="*/ 66348700 h 451"/>
              <a:gd name="T50" fmla="*/ 2605885 w 438"/>
              <a:gd name="T51" fmla="*/ 68578944 h 451"/>
              <a:gd name="T52" fmla="*/ 4516951 w 438"/>
              <a:gd name="T53" fmla="*/ 68857725 h 451"/>
              <a:gd name="T54" fmla="*/ 5733197 w 438"/>
              <a:gd name="T55" fmla="*/ 96456993 h 451"/>
              <a:gd name="T56" fmla="*/ 16156737 w 438"/>
              <a:gd name="T57" fmla="*/ 98408456 h 451"/>
              <a:gd name="T58" fmla="*/ 18067803 w 438"/>
              <a:gd name="T59" fmla="*/ 104819879 h 451"/>
              <a:gd name="T60" fmla="*/ 15461918 w 438"/>
              <a:gd name="T61" fmla="*/ 118480123 h 451"/>
              <a:gd name="T62" fmla="*/ 18936431 w 438"/>
              <a:gd name="T63" fmla="*/ 124613294 h 451"/>
              <a:gd name="T64" fmla="*/ 26406885 w 438"/>
              <a:gd name="T65" fmla="*/ 124613294 h 451"/>
              <a:gd name="T66" fmla="*/ 35614595 w 438"/>
              <a:gd name="T67" fmla="*/ 123776953 h 451"/>
              <a:gd name="T68" fmla="*/ 47949201 w 438"/>
              <a:gd name="T69" fmla="*/ 124334514 h 451"/>
              <a:gd name="T70" fmla="*/ 59588987 w 438"/>
              <a:gd name="T71" fmla="*/ 123219392 h 451"/>
              <a:gd name="T72" fmla="*/ 64627365 w 438"/>
              <a:gd name="T73" fmla="*/ 120431587 h 451"/>
              <a:gd name="T74" fmla="*/ 62368681 w 438"/>
              <a:gd name="T75" fmla="*/ 115134757 h 451"/>
              <a:gd name="T76" fmla="*/ 64105938 w 438"/>
              <a:gd name="T77" fmla="*/ 112346953 h 451"/>
              <a:gd name="T78" fmla="*/ 64627365 w 438"/>
              <a:gd name="T79" fmla="*/ 106492562 h 451"/>
              <a:gd name="T80" fmla="*/ 66017003 w 438"/>
              <a:gd name="T81" fmla="*/ 102311383 h 451"/>
              <a:gd name="T82" fmla="*/ 59588987 w 438"/>
              <a:gd name="T83" fmla="*/ 95899432 h 451"/>
              <a:gd name="T84" fmla="*/ 56462092 w 438"/>
              <a:gd name="T85" fmla="*/ 90045042 h 451"/>
              <a:gd name="T86" fmla="*/ 54029599 w 438"/>
              <a:gd name="T87" fmla="*/ 81960407 h 451"/>
              <a:gd name="T88" fmla="*/ 51076513 w 438"/>
              <a:gd name="T89" fmla="*/ 77221139 h 451"/>
              <a:gd name="T90" fmla="*/ 54551026 w 438"/>
              <a:gd name="T91" fmla="*/ 76663578 h 451"/>
              <a:gd name="T92" fmla="*/ 60110414 w 438"/>
              <a:gd name="T93" fmla="*/ 75548456 h 451"/>
              <a:gd name="T94" fmla="*/ 64105938 w 438"/>
              <a:gd name="T95" fmla="*/ 72481871 h 451"/>
              <a:gd name="T96" fmla="*/ 70707763 w 438"/>
              <a:gd name="T97" fmla="*/ 66906261 h 451"/>
              <a:gd name="T98" fmla="*/ 76093342 w 438"/>
              <a:gd name="T99" fmla="*/ 65512359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63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73538" y="2498527"/>
            <a:ext cx="250825" cy="274637"/>
          </a:xfrm>
          <a:custGeom>
            <a:avLst/>
            <a:gdLst>
              <a:gd name="T0" fmla="*/ 61579273 w 578"/>
              <a:gd name="T1" fmla="*/ 24173297 h 524"/>
              <a:gd name="T2" fmla="*/ 58754237 w 578"/>
              <a:gd name="T3" fmla="*/ 23349386 h 524"/>
              <a:gd name="T4" fmla="*/ 56682978 w 578"/>
              <a:gd name="T5" fmla="*/ 21701040 h 524"/>
              <a:gd name="T6" fmla="*/ 51786683 w 578"/>
              <a:gd name="T7" fmla="*/ 18130235 h 524"/>
              <a:gd name="T8" fmla="*/ 47267060 w 578"/>
              <a:gd name="T9" fmla="*/ 21426403 h 524"/>
              <a:gd name="T10" fmla="*/ 46325815 w 578"/>
              <a:gd name="T11" fmla="*/ 28843174 h 524"/>
              <a:gd name="T12" fmla="*/ 47643731 w 578"/>
              <a:gd name="T13" fmla="*/ 42028895 h 524"/>
              <a:gd name="T14" fmla="*/ 50845005 w 578"/>
              <a:gd name="T15" fmla="*/ 47248046 h 524"/>
              <a:gd name="T16" fmla="*/ 54046712 w 578"/>
              <a:gd name="T17" fmla="*/ 48896392 h 524"/>
              <a:gd name="T18" fmla="*/ 56117971 w 578"/>
              <a:gd name="T19" fmla="*/ 52467198 h 524"/>
              <a:gd name="T20" fmla="*/ 66098897 w 578"/>
              <a:gd name="T21" fmla="*/ 61806952 h 524"/>
              <a:gd name="T22" fmla="*/ 84553628 w 578"/>
              <a:gd name="T23" fmla="*/ 84881701 h 524"/>
              <a:gd name="T24" fmla="*/ 89826595 w 578"/>
              <a:gd name="T25" fmla="*/ 88452506 h 524"/>
              <a:gd name="T26" fmla="*/ 94910791 w 578"/>
              <a:gd name="T27" fmla="*/ 90100852 h 524"/>
              <a:gd name="T28" fmla="*/ 100937101 w 578"/>
              <a:gd name="T29" fmla="*/ 97792261 h 524"/>
              <a:gd name="T30" fmla="*/ 108846333 w 578"/>
              <a:gd name="T31" fmla="*/ 103286573 h 524"/>
              <a:gd name="T32" fmla="*/ 106398403 w 578"/>
              <a:gd name="T33" fmla="*/ 111801892 h 524"/>
              <a:gd name="T34" fmla="*/ 99053743 w 578"/>
              <a:gd name="T35" fmla="*/ 105209556 h 524"/>
              <a:gd name="T36" fmla="*/ 95664134 w 578"/>
              <a:gd name="T37" fmla="*/ 103286573 h 524"/>
              <a:gd name="T38" fmla="*/ 93781211 w 578"/>
              <a:gd name="T39" fmla="*/ 109054998 h 524"/>
              <a:gd name="T40" fmla="*/ 95287463 w 578"/>
              <a:gd name="T41" fmla="*/ 117021568 h 524"/>
              <a:gd name="T42" fmla="*/ 96794149 w 578"/>
              <a:gd name="T43" fmla="*/ 121416284 h 524"/>
              <a:gd name="T44" fmla="*/ 94157882 w 578"/>
              <a:gd name="T45" fmla="*/ 128558418 h 524"/>
              <a:gd name="T46" fmla="*/ 90956175 w 578"/>
              <a:gd name="T47" fmla="*/ 138722608 h 524"/>
              <a:gd name="T48" fmla="*/ 87566566 w 578"/>
              <a:gd name="T49" fmla="*/ 143392485 h 524"/>
              <a:gd name="T50" fmla="*/ 82105698 w 578"/>
              <a:gd name="T51" fmla="*/ 138722608 h 524"/>
              <a:gd name="T52" fmla="*/ 85871978 w 578"/>
              <a:gd name="T53" fmla="*/ 132953659 h 524"/>
              <a:gd name="T54" fmla="*/ 87566566 w 578"/>
              <a:gd name="T55" fmla="*/ 128283781 h 524"/>
              <a:gd name="T56" fmla="*/ 86813223 w 578"/>
              <a:gd name="T57" fmla="*/ 121141647 h 524"/>
              <a:gd name="T58" fmla="*/ 80410676 w 578"/>
              <a:gd name="T59" fmla="*/ 108505724 h 524"/>
              <a:gd name="T60" fmla="*/ 72501444 w 578"/>
              <a:gd name="T61" fmla="*/ 101363590 h 524"/>
              <a:gd name="T62" fmla="*/ 66851806 w 578"/>
              <a:gd name="T63" fmla="*/ 97792261 h 524"/>
              <a:gd name="T64" fmla="*/ 59884252 w 578"/>
              <a:gd name="T65" fmla="*/ 90650126 h 524"/>
              <a:gd name="T66" fmla="*/ 50468333 w 578"/>
              <a:gd name="T67" fmla="*/ 86530047 h 524"/>
              <a:gd name="T68" fmla="*/ 41052849 w 578"/>
              <a:gd name="T69" fmla="*/ 78288841 h 524"/>
              <a:gd name="T70" fmla="*/ 30506916 w 578"/>
              <a:gd name="T71" fmla="*/ 62906024 h 524"/>
              <a:gd name="T72" fmla="*/ 23727698 w 578"/>
              <a:gd name="T73" fmla="*/ 46149498 h 524"/>
              <a:gd name="T74" fmla="*/ 14500115 w 578"/>
              <a:gd name="T75" fmla="*/ 42303532 h 524"/>
              <a:gd name="T76" fmla="*/ 9604254 w 578"/>
              <a:gd name="T77" fmla="*/ 43127443 h 524"/>
              <a:gd name="T78" fmla="*/ 2824602 w 578"/>
              <a:gd name="T79" fmla="*/ 45325063 h 524"/>
              <a:gd name="T80" fmla="*/ 565007 w 578"/>
              <a:gd name="T81" fmla="*/ 36534583 h 524"/>
              <a:gd name="T82" fmla="*/ 188336 w 578"/>
              <a:gd name="T83" fmla="*/ 25547006 h 524"/>
              <a:gd name="T84" fmla="*/ 1130014 w 578"/>
              <a:gd name="T85" fmla="*/ 13460358 h 524"/>
              <a:gd name="T86" fmla="*/ 8474240 w 578"/>
              <a:gd name="T87" fmla="*/ 11262738 h 524"/>
              <a:gd name="T88" fmla="*/ 12805528 w 578"/>
              <a:gd name="T89" fmla="*/ 9065117 h 524"/>
              <a:gd name="T90" fmla="*/ 15630129 w 578"/>
              <a:gd name="T91" fmla="*/ 13185721 h 524"/>
              <a:gd name="T92" fmla="*/ 19584746 w 578"/>
              <a:gd name="T93" fmla="*/ 12086649 h 524"/>
              <a:gd name="T94" fmla="*/ 28058986 w 578"/>
              <a:gd name="T95" fmla="*/ 4395240 h 524"/>
              <a:gd name="T96" fmla="*/ 45007465 w 578"/>
              <a:gd name="T97" fmla="*/ 0 h 524"/>
              <a:gd name="T98" fmla="*/ 48397074 w 578"/>
              <a:gd name="T99" fmla="*/ 3571329 h 524"/>
              <a:gd name="T100" fmla="*/ 62520518 w 578"/>
              <a:gd name="T101" fmla="*/ 5219151 h 524"/>
              <a:gd name="T102" fmla="*/ 60637595 w 578"/>
              <a:gd name="T103" fmla="*/ 17855598 h 524"/>
              <a:gd name="T104" fmla="*/ 61202602 w 578"/>
              <a:gd name="T105" fmla="*/ 24722571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chemeClr val="tx2">
              <a:lumMod val="50000"/>
            </a:schemeClr>
          </a:solidFill>
          <a:ln>
            <a:solidFill>
              <a:schemeClr val="accent5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64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91000" y="2666802"/>
            <a:ext cx="33338" cy="82550"/>
          </a:xfrm>
          <a:custGeom>
            <a:avLst/>
            <a:gdLst>
              <a:gd name="T0" fmla="*/ 0 w 79"/>
              <a:gd name="T1" fmla="*/ 2147483647 h 160"/>
              <a:gd name="T2" fmla="*/ 2147483647 w 79"/>
              <a:gd name="T3" fmla="*/ 2147483647 h 160"/>
              <a:gd name="T4" fmla="*/ 2147483647 w 79"/>
              <a:gd name="T5" fmla="*/ 2147483647 h 160"/>
              <a:gd name="T6" fmla="*/ 2147483647 w 79"/>
              <a:gd name="T7" fmla="*/ 2147483647 h 160"/>
              <a:gd name="T8" fmla="*/ 2147483647 w 79"/>
              <a:gd name="T9" fmla="*/ 2147483647 h 160"/>
              <a:gd name="T10" fmla="*/ 2147483647 w 79"/>
              <a:gd name="T11" fmla="*/ 2147483647 h 160"/>
              <a:gd name="T12" fmla="*/ 2147483647 w 79"/>
              <a:gd name="T13" fmla="*/ 2147483647 h 160"/>
              <a:gd name="T14" fmla="*/ 2147483647 w 79"/>
              <a:gd name="T15" fmla="*/ 2147483647 h 160"/>
              <a:gd name="T16" fmla="*/ 2147483647 w 79"/>
              <a:gd name="T17" fmla="*/ 2147483647 h 160"/>
              <a:gd name="T18" fmla="*/ 2147483647 w 79"/>
              <a:gd name="T19" fmla="*/ 2147483647 h 160"/>
              <a:gd name="T20" fmla="*/ 2147483647 w 79"/>
              <a:gd name="T21" fmla="*/ 0 h 160"/>
              <a:gd name="T22" fmla="*/ 2147483647 w 79"/>
              <a:gd name="T23" fmla="*/ 2147483647 h 160"/>
              <a:gd name="T24" fmla="*/ 2147483647 w 79"/>
              <a:gd name="T25" fmla="*/ 2147483647 h 160"/>
              <a:gd name="T26" fmla="*/ 2147483647 w 79"/>
              <a:gd name="T27" fmla="*/ 2147483647 h 160"/>
              <a:gd name="T28" fmla="*/ 2147483647 w 79"/>
              <a:gd name="T29" fmla="*/ 2147483647 h 160"/>
              <a:gd name="T30" fmla="*/ 2147483647 w 79"/>
              <a:gd name="T31" fmla="*/ 2147483647 h 160"/>
              <a:gd name="T32" fmla="*/ 2147483647 w 79"/>
              <a:gd name="T33" fmla="*/ 2147483647 h 160"/>
              <a:gd name="T34" fmla="*/ 2147483647 w 79"/>
              <a:gd name="T35" fmla="*/ 2147483647 h 160"/>
              <a:gd name="T36" fmla="*/ 2147483647 w 79"/>
              <a:gd name="T37" fmla="*/ 2147483647 h 160"/>
              <a:gd name="T38" fmla="*/ 2147483647 w 79"/>
              <a:gd name="T39" fmla="*/ 2147483647 h 160"/>
              <a:gd name="T40" fmla="*/ 2147483647 w 79"/>
              <a:gd name="T41" fmla="*/ 2147483647 h 160"/>
              <a:gd name="T42" fmla="*/ 2147483647 w 79"/>
              <a:gd name="T43" fmla="*/ 2147483647 h 160"/>
              <a:gd name="T44" fmla="*/ 2147483647 w 79"/>
              <a:gd name="T45" fmla="*/ 2147483647 h 160"/>
              <a:gd name="T46" fmla="*/ 2147483647 w 79"/>
              <a:gd name="T47" fmla="*/ 2147483647 h 160"/>
              <a:gd name="T48" fmla="*/ 2147483647 w 79"/>
              <a:gd name="T49" fmla="*/ 2147483647 h 160"/>
              <a:gd name="T50" fmla="*/ 2147483647 w 79"/>
              <a:gd name="T51" fmla="*/ 2147483647 h 160"/>
              <a:gd name="T52" fmla="*/ 2147483647 w 79"/>
              <a:gd name="T53" fmla="*/ 2147483647 h 160"/>
              <a:gd name="T54" fmla="*/ 2147483647 w 79"/>
              <a:gd name="T55" fmla="*/ 2147483647 h 160"/>
              <a:gd name="T56" fmla="*/ 2147483647 w 79"/>
              <a:gd name="T57" fmla="*/ 2147483647 h 160"/>
              <a:gd name="T58" fmla="*/ 2147483647 w 79"/>
              <a:gd name="T59" fmla="*/ 2147483647 h 160"/>
              <a:gd name="T60" fmla="*/ 2147483647 w 79"/>
              <a:gd name="T61" fmla="*/ 2147483647 h 160"/>
              <a:gd name="T62" fmla="*/ 2147483647 w 79"/>
              <a:gd name="T63" fmla="*/ 2147483647 h 160"/>
              <a:gd name="T64" fmla="*/ 2147483647 w 79"/>
              <a:gd name="T65" fmla="*/ 2147483647 h 160"/>
              <a:gd name="T66" fmla="*/ 2147483647 w 79"/>
              <a:gd name="T67" fmla="*/ 2147483647 h 160"/>
              <a:gd name="T68" fmla="*/ 2147483647 w 79"/>
              <a:gd name="T69" fmla="*/ 2147483647 h 160"/>
              <a:gd name="T70" fmla="*/ 2147483647 w 79"/>
              <a:gd name="T71" fmla="*/ 2147483647 h 160"/>
              <a:gd name="T72" fmla="*/ 2147483647 w 79"/>
              <a:gd name="T73" fmla="*/ 2147483647 h 160"/>
              <a:gd name="T74" fmla="*/ 2147483647 w 79"/>
              <a:gd name="T75" fmla="*/ 2147483647 h 160"/>
              <a:gd name="T76" fmla="*/ 0 w 79"/>
              <a:gd name="T77" fmla="*/ 2147483647 h 160"/>
              <a:gd name="T78" fmla="*/ 0 w 79"/>
              <a:gd name="T79" fmla="*/ 2147483647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065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510338" y="3727252"/>
            <a:ext cx="473075" cy="212725"/>
            <a:chOff x="4488" y="2394"/>
            <a:chExt cx="358" cy="124"/>
          </a:xfrm>
        </p:grpSpPr>
        <p:sp>
          <p:nvSpPr>
            <p:cNvPr id="2590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5 w 512"/>
                <a:gd name="T1" fmla="*/ 2 h 408"/>
                <a:gd name="T2" fmla="*/ 5 w 512"/>
                <a:gd name="T3" fmla="*/ 2 h 408"/>
                <a:gd name="T4" fmla="*/ 5 w 512"/>
                <a:gd name="T5" fmla="*/ 2 h 408"/>
                <a:gd name="T6" fmla="*/ 4 w 512"/>
                <a:gd name="T7" fmla="*/ 2 h 408"/>
                <a:gd name="T8" fmla="*/ 4 w 512"/>
                <a:gd name="T9" fmla="*/ 2 h 408"/>
                <a:gd name="T10" fmla="*/ 4 w 512"/>
                <a:gd name="T11" fmla="*/ 3 h 408"/>
                <a:gd name="T12" fmla="*/ 4 w 512"/>
                <a:gd name="T13" fmla="*/ 3 h 408"/>
                <a:gd name="T14" fmla="*/ 4 w 512"/>
                <a:gd name="T15" fmla="*/ 3 h 408"/>
                <a:gd name="T16" fmla="*/ 3 w 512"/>
                <a:gd name="T17" fmla="*/ 3 h 408"/>
                <a:gd name="T18" fmla="*/ 3 w 512"/>
                <a:gd name="T19" fmla="*/ 3 h 408"/>
                <a:gd name="T20" fmla="*/ 3 w 512"/>
                <a:gd name="T21" fmla="*/ 3 h 408"/>
                <a:gd name="T22" fmla="*/ 3 w 512"/>
                <a:gd name="T23" fmla="*/ 3 h 408"/>
                <a:gd name="T24" fmla="*/ 2 w 512"/>
                <a:gd name="T25" fmla="*/ 3 h 408"/>
                <a:gd name="T26" fmla="*/ 2 w 512"/>
                <a:gd name="T27" fmla="*/ 3 h 408"/>
                <a:gd name="T28" fmla="*/ 2 w 512"/>
                <a:gd name="T29" fmla="*/ 3 h 408"/>
                <a:gd name="T30" fmla="*/ 1 w 512"/>
                <a:gd name="T31" fmla="*/ 3 h 408"/>
                <a:gd name="T32" fmla="*/ 1 w 512"/>
                <a:gd name="T33" fmla="*/ 4 h 408"/>
                <a:gd name="T34" fmla="*/ 1 w 512"/>
                <a:gd name="T35" fmla="*/ 3 h 408"/>
                <a:gd name="T36" fmla="*/ 0 w 512"/>
                <a:gd name="T37" fmla="*/ 3 h 408"/>
                <a:gd name="T38" fmla="*/ 0 w 512"/>
                <a:gd name="T39" fmla="*/ 3 h 408"/>
                <a:gd name="T40" fmla="*/ 0 w 512"/>
                <a:gd name="T41" fmla="*/ 3 h 408"/>
                <a:gd name="T42" fmla="*/ 0 w 512"/>
                <a:gd name="T43" fmla="*/ 3 h 408"/>
                <a:gd name="T44" fmla="*/ 1 w 512"/>
                <a:gd name="T45" fmla="*/ 3 h 408"/>
                <a:gd name="T46" fmla="*/ 1 w 512"/>
                <a:gd name="T47" fmla="*/ 3 h 408"/>
                <a:gd name="T48" fmla="*/ 1 w 512"/>
                <a:gd name="T49" fmla="*/ 3 h 408"/>
                <a:gd name="T50" fmla="*/ 1 w 512"/>
                <a:gd name="T51" fmla="*/ 2 h 408"/>
                <a:gd name="T52" fmla="*/ 1 w 512"/>
                <a:gd name="T53" fmla="*/ 2 h 408"/>
                <a:gd name="T54" fmla="*/ 1 w 512"/>
                <a:gd name="T55" fmla="*/ 2 h 408"/>
                <a:gd name="T56" fmla="*/ 2 w 512"/>
                <a:gd name="T57" fmla="*/ 2 h 408"/>
                <a:gd name="T58" fmla="*/ 2 w 512"/>
                <a:gd name="T59" fmla="*/ 2 h 408"/>
                <a:gd name="T60" fmla="*/ 2 w 512"/>
                <a:gd name="T61" fmla="*/ 2 h 408"/>
                <a:gd name="T62" fmla="*/ 3 w 512"/>
                <a:gd name="T63" fmla="*/ 2 h 408"/>
                <a:gd name="T64" fmla="*/ 3 w 512"/>
                <a:gd name="T65" fmla="*/ 2 h 408"/>
                <a:gd name="T66" fmla="*/ 3 w 512"/>
                <a:gd name="T67" fmla="*/ 2 h 408"/>
                <a:gd name="T68" fmla="*/ 3 w 512"/>
                <a:gd name="T69" fmla="*/ 1 h 408"/>
                <a:gd name="T70" fmla="*/ 3 w 512"/>
                <a:gd name="T71" fmla="*/ 1 h 408"/>
                <a:gd name="T72" fmla="*/ 3 w 512"/>
                <a:gd name="T73" fmla="*/ 1 h 408"/>
                <a:gd name="T74" fmla="*/ 3 w 512"/>
                <a:gd name="T75" fmla="*/ 1 h 408"/>
                <a:gd name="T76" fmla="*/ 3 w 512"/>
                <a:gd name="T77" fmla="*/ 2 h 408"/>
                <a:gd name="T78" fmla="*/ 3 w 512"/>
                <a:gd name="T79" fmla="*/ 2 h 408"/>
                <a:gd name="T80" fmla="*/ 3 w 512"/>
                <a:gd name="T81" fmla="*/ 2 h 408"/>
                <a:gd name="T82" fmla="*/ 4 w 512"/>
                <a:gd name="T83" fmla="*/ 2 h 408"/>
                <a:gd name="T84" fmla="*/ 4 w 512"/>
                <a:gd name="T85" fmla="*/ 2 h 408"/>
                <a:gd name="T86" fmla="*/ 4 w 512"/>
                <a:gd name="T87" fmla="*/ 2 h 408"/>
                <a:gd name="T88" fmla="*/ 4 w 512"/>
                <a:gd name="T89" fmla="*/ 2 h 408"/>
                <a:gd name="T90" fmla="*/ 4 w 512"/>
                <a:gd name="T91" fmla="*/ 1 h 408"/>
                <a:gd name="T92" fmla="*/ 4 w 512"/>
                <a:gd name="T93" fmla="*/ 1 h 408"/>
                <a:gd name="T94" fmla="*/ 4 w 512"/>
                <a:gd name="T95" fmla="*/ 1 h 408"/>
                <a:gd name="T96" fmla="*/ 5 w 512"/>
                <a:gd name="T97" fmla="*/ 0 h 408"/>
                <a:gd name="T98" fmla="*/ 5 w 512"/>
                <a:gd name="T99" fmla="*/ 0 h 408"/>
                <a:gd name="T100" fmla="*/ 5 w 512"/>
                <a:gd name="T101" fmla="*/ 0 h 408"/>
                <a:gd name="T102" fmla="*/ 5 w 512"/>
                <a:gd name="T103" fmla="*/ 1 h 408"/>
                <a:gd name="T104" fmla="*/ 5 w 512"/>
                <a:gd name="T105" fmla="*/ 1 h 408"/>
                <a:gd name="T106" fmla="*/ 6 w 512"/>
                <a:gd name="T107" fmla="*/ 1 h 408"/>
                <a:gd name="T108" fmla="*/ 6 w 512"/>
                <a:gd name="T109" fmla="*/ 1 h 408"/>
                <a:gd name="T110" fmla="*/ 6 w 512"/>
                <a:gd name="T111" fmla="*/ 1 h 408"/>
                <a:gd name="T112" fmla="*/ 6 w 512"/>
                <a:gd name="T113" fmla="*/ 1 h 408"/>
                <a:gd name="T114" fmla="*/ 6 w 512"/>
                <a:gd name="T115" fmla="*/ 2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96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17 w 232"/>
                <a:gd name="T1" fmla="*/ 2 h 289"/>
                <a:gd name="T2" fmla="*/ 18 w 232"/>
                <a:gd name="T3" fmla="*/ 5 h 289"/>
                <a:gd name="T4" fmla="*/ 19 w 232"/>
                <a:gd name="T5" fmla="*/ 5 h 289"/>
                <a:gd name="T6" fmla="*/ 20 w 232"/>
                <a:gd name="T7" fmla="*/ 6 h 289"/>
                <a:gd name="T8" fmla="*/ 21 w 232"/>
                <a:gd name="T9" fmla="*/ 16 h 289"/>
                <a:gd name="T10" fmla="*/ 21 w 232"/>
                <a:gd name="T11" fmla="*/ 18 h 289"/>
                <a:gd name="T12" fmla="*/ 21 w 232"/>
                <a:gd name="T13" fmla="*/ 20 h 289"/>
                <a:gd name="T14" fmla="*/ 22 w 232"/>
                <a:gd name="T15" fmla="*/ 21 h 289"/>
                <a:gd name="T16" fmla="*/ 26 w 232"/>
                <a:gd name="T17" fmla="*/ 23 h 289"/>
                <a:gd name="T18" fmla="*/ 24 w 232"/>
                <a:gd name="T19" fmla="*/ 27 h 289"/>
                <a:gd name="T20" fmla="*/ 21 w 232"/>
                <a:gd name="T21" fmla="*/ 27 h 289"/>
                <a:gd name="T22" fmla="*/ 17 w 232"/>
                <a:gd name="T23" fmla="*/ 25 h 289"/>
                <a:gd name="T24" fmla="*/ 13 w 232"/>
                <a:gd name="T25" fmla="*/ 22 h 289"/>
                <a:gd name="T26" fmla="*/ 9 w 232"/>
                <a:gd name="T27" fmla="*/ 20 h 289"/>
                <a:gd name="T28" fmla="*/ 6 w 232"/>
                <a:gd name="T29" fmla="*/ 17 h 289"/>
                <a:gd name="T30" fmla="*/ 3 w 232"/>
                <a:gd name="T31" fmla="*/ 14 h 289"/>
                <a:gd name="T32" fmla="*/ 1 w 232"/>
                <a:gd name="T33" fmla="*/ 12 h 289"/>
                <a:gd name="T34" fmla="*/ 0 w 232"/>
                <a:gd name="T35" fmla="*/ 11 h 289"/>
                <a:gd name="T36" fmla="*/ 0 w 232"/>
                <a:gd name="T37" fmla="*/ 10 h 289"/>
                <a:gd name="T38" fmla="*/ 0 w 232"/>
                <a:gd name="T39" fmla="*/ 10 h 289"/>
                <a:gd name="T40" fmla="*/ 0 w 232"/>
                <a:gd name="T41" fmla="*/ 9 h 289"/>
                <a:gd name="T42" fmla="*/ 1 w 232"/>
                <a:gd name="T43" fmla="*/ 7 h 289"/>
                <a:gd name="T44" fmla="*/ 1 w 232"/>
                <a:gd name="T45" fmla="*/ 5 h 289"/>
                <a:gd name="T46" fmla="*/ 1 w 232"/>
                <a:gd name="T47" fmla="*/ 2 h 289"/>
                <a:gd name="T48" fmla="*/ 1 w 232"/>
                <a:gd name="T49" fmla="*/ 0 h 289"/>
                <a:gd name="T50" fmla="*/ 3 w 232"/>
                <a:gd name="T51" fmla="*/ 0 h 289"/>
                <a:gd name="T52" fmla="*/ 5 w 232"/>
                <a:gd name="T53" fmla="*/ 1 h 289"/>
                <a:gd name="T54" fmla="*/ 7 w 232"/>
                <a:gd name="T55" fmla="*/ 2 h 289"/>
                <a:gd name="T56" fmla="*/ 8 w 232"/>
                <a:gd name="T57" fmla="*/ 3 h 289"/>
                <a:gd name="T58" fmla="*/ 9 w 232"/>
                <a:gd name="T59" fmla="*/ 3 h 289"/>
                <a:gd name="T60" fmla="*/ 10 w 232"/>
                <a:gd name="T61" fmla="*/ 3 h 289"/>
                <a:gd name="T62" fmla="*/ 12 w 232"/>
                <a:gd name="T63" fmla="*/ 2 h 289"/>
                <a:gd name="T64" fmla="*/ 13 w 232"/>
                <a:gd name="T65" fmla="*/ 2 h 289"/>
                <a:gd name="T66" fmla="*/ 15 w 232"/>
                <a:gd name="T67" fmla="*/ 1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066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32313" y="1603177"/>
            <a:ext cx="3065462" cy="1074737"/>
          </a:xfrm>
          <a:custGeom>
            <a:avLst/>
            <a:gdLst>
              <a:gd name="T0" fmla="*/ 137111692 w 7049"/>
              <a:gd name="T1" fmla="*/ 477246726 h 2048"/>
              <a:gd name="T2" fmla="*/ 202358326 w 7049"/>
              <a:gd name="T3" fmla="*/ 533425873 h 2048"/>
              <a:gd name="T4" fmla="*/ 229212974 w 7049"/>
              <a:gd name="T5" fmla="*/ 499553291 h 2048"/>
              <a:gd name="T6" fmla="*/ 316586251 w 7049"/>
              <a:gd name="T7" fmla="*/ 404544546 h 2048"/>
              <a:gd name="T8" fmla="*/ 495115383 w 7049"/>
              <a:gd name="T9" fmla="*/ 362134941 h 2048"/>
              <a:gd name="T10" fmla="*/ 633551282 w 7049"/>
              <a:gd name="T11" fmla="*/ 411429055 h 2048"/>
              <a:gd name="T12" fmla="*/ 695204076 w 7049"/>
              <a:gd name="T13" fmla="*/ 396007524 h 2048"/>
              <a:gd name="T14" fmla="*/ 782199444 w 7049"/>
              <a:gd name="T15" fmla="*/ 410878567 h 2048"/>
              <a:gd name="T16" fmla="*/ 865600972 w 7049"/>
              <a:gd name="T17" fmla="*/ 415560075 h 2048"/>
              <a:gd name="T18" fmla="*/ 900020774 w 7049"/>
              <a:gd name="T19" fmla="*/ 377831979 h 2048"/>
              <a:gd name="T20" fmla="*/ 975101327 w 7049"/>
              <a:gd name="T21" fmla="*/ 406472041 h 2048"/>
              <a:gd name="T22" fmla="*/ 1061718350 w 7049"/>
              <a:gd name="T23" fmla="*/ 440069642 h 2048"/>
              <a:gd name="T24" fmla="*/ 1059827061 w 7049"/>
              <a:gd name="T25" fmla="*/ 507814807 h 2048"/>
              <a:gd name="T26" fmla="*/ 1106917932 w 7049"/>
              <a:gd name="T27" fmla="*/ 443925156 h 2048"/>
              <a:gd name="T28" fmla="*/ 1053396940 w 7049"/>
              <a:gd name="T29" fmla="*/ 345886891 h 2048"/>
              <a:gd name="T30" fmla="*/ 1008197358 w 7049"/>
              <a:gd name="T31" fmla="*/ 315869822 h 2048"/>
              <a:gd name="T32" fmla="*/ 1107674187 w 7049"/>
              <a:gd name="T33" fmla="*/ 270430698 h 2048"/>
              <a:gd name="T34" fmla="*/ 1129801265 w 7049"/>
              <a:gd name="T35" fmla="*/ 226368580 h 2048"/>
              <a:gd name="T36" fmla="*/ 1159682235 w 7049"/>
              <a:gd name="T37" fmla="*/ 209570042 h 2048"/>
              <a:gd name="T38" fmla="*/ 1171596615 w 7049"/>
              <a:gd name="T39" fmla="*/ 268227697 h 2048"/>
              <a:gd name="T40" fmla="*/ 1201288413 w 7049"/>
              <a:gd name="T41" fmla="*/ 344509884 h 2048"/>
              <a:gd name="T42" fmla="*/ 1243462107 w 7049"/>
              <a:gd name="T43" fmla="*/ 388296496 h 2048"/>
              <a:gd name="T44" fmla="*/ 1241759991 w 7049"/>
              <a:gd name="T45" fmla="*/ 334320874 h 2048"/>
              <a:gd name="T46" fmla="*/ 1205260163 w 7049"/>
              <a:gd name="T47" fmla="*/ 285577247 h 2048"/>
              <a:gd name="T48" fmla="*/ 1238167021 w 7049"/>
              <a:gd name="T49" fmla="*/ 243718130 h 2048"/>
              <a:gd name="T50" fmla="*/ 1286203319 w 7049"/>
              <a:gd name="T51" fmla="*/ 215904063 h 2048"/>
              <a:gd name="T52" fmla="*/ 1253485633 w 7049"/>
              <a:gd name="T53" fmla="*/ 170189432 h 2048"/>
              <a:gd name="T54" fmla="*/ 1285824974 w 7049"/>
              <a:gd name="T55" fmla="*/ 175146446 h 2048"/>
              <a:gd name="T56" fmla="*/ 1297550617 w 7049"/>
              <a:gd name="T57" fmla="*/ 149535380 h 2048"/>
              <a:gd name="T58" fmla="*/ 1229278094 w 7049"/>
              <a:gd name="T59" fmla="*/ 127229339 h 2048"/>
              <a:gd name="T60" fmla="*/ 1105026644 w 7049"/>
              <a:gd name="T61" fmla="*/ 112908784 h 2048"/>
              <a:gd name="T62" fmla="*/ 1076658617 w 7049"/>
              <a:gd name="T63" fmla="*/ 114285790 h 2048"/>
              <a:gd name="T64" fmla="*/ 943896585 w 7049"/>
              <a:gd name="T65" fmla="*/ 96661258 h 2048"/>
              <a:gd name="T66" fmla="*/ 894158170 w 7049"/>
              <a:gd name="T67" fmla="*/ 79862195 h 2048"/>
              <a:gd name="T68" fmla="*/ 834396230 w 7049"/>
              <a:gd name="T69" fmla="*/ 79862195 h 2048"/>
              <a:gd name="T70" fmla="*/ 758181077 w 7049"/>
              <a:gd name="T71" fmla="*/ 87573223 h 2048"/>
              <a:gd name="T72" fmla="*/ 675914149 w 7049"/>
              <a:gd name="T73" fmla="*/ 71876186 h 2048"/>
              <a:gd name="T74" fmla="*/ 622203985 w 7049"/>
              <a:gd name="T75" fmla="*/ 67194677 h 2048"/>
              <a:gd name="T76" fmla="*/ 568872165 w 7049"/>
              <a:gd name="T77" fmla="*/ 64716170 h 2048"/>
              <a:gd name="T78" fmla="*/ 515162000 w 7049"/>
              <a:gd name="T79" fmla="*/ 15972544 h 2048"/>
              <a:gd name="T80" fmla="*/ 494926211 w 7049"/>
              <a:gd name="T81" fmla="*/ 38554091 h 2048"/>
              <a:gd name="T82" fmla="*/ 403581619 w 7049"/>
              <a:gd name="T83" fmla="*/ 45989613 h 2048"/>
              <a:gd name="T84" fmla="*/ 408309623 w 7049"/>
              <a:gd name="T85" fmla="*/ 55077647 h 2048"/>
              <a:gd name="T86" fmla="*/ 415685171 w 7049"/>
              <a:gd name="T87" fmla="*/ 94182751 h 2048"/>
              <a:gd name="T88" fmla="*/ 365568411 w 7049"/>
              <a:gd name="T89" fmla="*/ 70499179 h 2048"/>
              <a:gd name="T90" fmla="*/ 337957075 w 7049"/>
              <a:gd name="T91" fmla="*/ 75180687 h 2048"/>
              <a:gd name="T92" fmla="*/ 362542523 w 7049"/>
              <a:gd name="T93" fmla="*/ 122822813 h 2048"/>
              <a:gd name="T94" fmla="*/ 392612666 w 7049"/>
              <a:gd name="T95" fmla="*/ 145679866 h 2048"/>
              <a:gd name="T96" fmla="*/ 356112403 w 7049"/>
              <a:gd name="T97" fmla="*/ 163304923 h 2048"/>
              <a:gd name="T98" fmla="*/ 346467222 w 7049"/>
              <a:gd name="T99" fmla="*/ 127779827 h 2048"/>
              <a:gd name="T100" fmla="*/ 306563160 w 7049"/>
              <a:gd name="T101" fmla="*/ 63614670 h 2048"/>
              <a:gd name="T102" fmla="*/ 306941505 w 7049"/>
              <a:gd name="T103" fmla="*/ 124199819 h 2048"/>
              <a:gd name="T104" fmla="*/ 234130151 w 7049"/>
              <a:gd name="T105" fmla="*/ 109328776 h 2048"/>
              <a:gd name="T106" fmla="*/ 226565431 w 7049"/>
              <a:gd name="T107" fmla="*/ 131359835 h 2048"/>
              <a:gd name="T108" fmla="*/ 171720667 w 7049"/>
              <a:gd name="T109" fmla="*/ 137693856 h 2048"/>
              <a:gd name="T110" fmla="*/ 130870744 w 7049"/>
              <a:gd name="T111" fmla="*/ 133012348 h 2048"/>
              <a:gd name="T112" fmla="*/ 113850015 w 7049"/>
              <a:gd name="T113" fmla="*/ 161101922 h 2048"/>
              <a:gd name="T114" fmla="*/ 76971842 w 7049"/>
              <a:gd name="T115" fmla="*/ 203511527 h 2048"/>
              <a:gd name="T116" fmla="*/ 73756781 w 7049"/>
              <a:gd name="T117" fmla="*/ 168537444 h 2048"/>
              <a:gd name="T118" fmla="*/ 28368026 w 7049"/>
              <a:gd name="T119" fmla="*/ 121170824 h 2048"/>
              <a:gd name="T120" fmla="*/ 13427324 w 7049"/>
              <a:gd name="T121" fmla="*/ 166609424 h 2048"/>
              <a:gd name="T122" fmla="*/ 21181216 w 7049"/>
              <a:gd name="T123" fmla="*/ 263821170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67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95713" y="2590602"/>
            <a:ext cx="280987" cy="247650"/>
          </a:xfrm>
          <a:custGeom>
            <a:avLst/>
            <a:gdLst>
              <a:gd name="T0" fmla="*/ 2147483647 w 647"/>
              <a:gd name="T1" fmla="*/ 2147483647 h 470"/>
              <a:gd name="T2" fmla="*/ 2147483647 w 647"/>
              <a:gd name="T3" fmla="*/ 2147483647 h 470"/>
              <a:gd name="T4" fmla="*/ 2147483647 w 647"/>
              <a:gd name="T5" fmla="*/ 2147483647 h 470"/>
              <a:gd name="T6" fmla="*/ 2147483647 w 647"/>
              <a:gd name="T7" fmla="*/ 2147483647 h 470"/>
              <a:gd name="T8" fmla="*/ 2147483647 w 647"/>
              <a:gd name="T9" fmla="*/ 2147483647 h 470"/>
              <a:gd name="T10" fmla="*/ 2147483647 w 647"/>
              <a:gd name="T11" fmla="*/ 2147483647 h 470"/>
              <a:gd name="T12" fmla="*/ 2147483647 w 647"/>
              <a:gd name="T13" fmla="*/ 2147483647 h 470"/>
              <a:gd name="T14" fmla="*/ 2147483647 w 647"/>
              <a:gd name="T15" fmla="*/ 2147483647 h 470"/>
              <a:gd name="T16" fmla="*/ 2147483647 w 647"/>
              <a:gd name="T17" fmla="*/ 2147483647 h 470"/>
              <a:gd name="T18" fmla="*/ 2147483647 w 647"/>
              <a:gd name="T19" fmla="*/ 2147483647 h 470"/>
              <a:gd name="T20" fmla="*/ 2147483647 w 647"/>
              <a:gd name="T21" fmla="*/ 2147483647 h 470"/>
              <a:gd name="T22" fmla="*/ 2147483647 w 647"/>
              <a:gd name="T23" fmla="*/ 2147483647 h 470"/>
              <a:gd name="T24" fmla="*/ 2147483647 w 647"/>
              <a:gd name="T25" fmla="*/ 2147483647 h 470"/>
              <a:gd name="T26" fmla="*/ 2147483647 w 647"/>
              <a:gd name="T27" fmla="*/ 2147483647 h 470"/>
              <a:gd name="T28" fmla="*/ 2147483647 w 647"/>
              <a:gd name="T29" fmla="*/ 2147483647 h 470"/>
              <a:gd name="T30" fmla="*/ 2147483647 w 647"/>
              <a:gd name="T31" fmla="*/ 2147483647 h 470"/>
              <a:gd name="T32" fmla="*/ 2147483647 w 647"/>
              <a:gd name="T33" fmla="*/ 2147483647 h 470"/>
              <a:gd name="T34" fmla="*/ 2147483647 w 647"/>
              <a:gd name="T35" fmla="*/ 2147483647 h 470"/>
              <a:gd name="T36" fmla="*/ 2147483647 w 647"/>
              <a:gd name="T37" fmla="*/ 2147483647 h 470"/>
              <a:gd name="T38" fmla="*/ 2147483647 w 647"/>
              <a:gd name="T39" fmla="*/ 2147483647 h 470"/>
              <a:gd name="T40" fmla="*/ 2147483647 w 647"/>
              <a:gd name="T41" fmla="*/ 2147483647 h 470"/>
              <a:gd name="T42" fmla="*/ 2147483647 w 647"/>
              <a:gd name="T43" fmla="*/ 2147483647 h 470"/>
              <a:gd name="T44" fmla="*/ 2147483647 w 647"/>
              <a:gd name="T45" fmla="*/ 2147483647 h 470"/>
              <a:gd name="T46" fmla="*/ 2147483647 w 647"/>
              <a:gd name="T47" fmla="*/ 2147483647 h 470"/>
              <a:gd name="T48" fmla="*/ 2147483647 w 647"/>
              <a:gd name="T49" fmla="*/ 2147483647 h 470"/>
              <a:gd name="T50" fmla="*/ 2147483647 w 647"/>
              <a:gd name="T51" fmla="*/ 2147483647 h 470"/>
              <a:gd name="T52" fmla="*/ 2147483647 w 647"/>
              <a:gd name="T53" fmla="*/ 2147483647 h 470"/>
              <a:gd name="T54" fmla="*/ 2147483647 w 647"/>
              <a:gd name="T55" fmla="*/ 2147483647 h 470"/>
              <a:gd name="T56" fmla="*/ 2147483647 w 647"/>
              <a:gd name="T57" fmla="*/ 2147483647 h 470"/>
              <a:gd name="T58" fmla="*/ 2147483647 w 647"/>
              <a:gd name="T59" fmla="*/ 2147483647 h 470"/>
              <a:gd name="T60" fmla="*/ 2147483647 w 647"/>
              <a:gd name="T61" fmla="*/ 2147483647 h 470"/>
              <a:gd name="T62" fmla="*/ 2147483647 w 647"/>
              <a:gd name="T63" fmla="*/ 2147483647 h 470"/>
              <a:gd name="T64" fmla="*/ 2147483647 w 647"/>
              <a:gd name="T65" fmla="*/ 2147483647 h 470"/>
              <a:gd name="T66" fmla="*/ 2147483647 w 647"/>
              <a:gd name="T67" fmla="*/ 2147483647 h 470"/>
              <a:gd name="T68" fmla="*/ 2147483647 w 647"/>
              <a:gd name="T69" fmla="*/ 2147483647 h 470"/>
              <a:gd name="T70" fmla="*/ 2147483647 w 647"/>
              <a:gd name="T71" fmla="*/ 2147483647 h 470"/>
              <a:gd name="T72" fmla="*/ 2147483647 w 647"/>
              <a:gd name="T73" fmla="*/ 2147483647 h 470"/>
              <a:gd name="T74" fmla="*/ 2147483647 w 647"/>
              <a:gd name="T75" fmla="*/ 2147483647 h 470"/>
              <a:gd name="T76" fmla="*/ 2147483647 w 647"/>
              <a:gd name="T77" fmla="*/ 2147483647 h 470"/>
              <a:gd name="T78" fmla="*/ 2147483647 w 647"/>
              <a:gd name="T79" fmla="*/ 2147483647 h 470"/>
              <a:gd name="T80" fmla="*/ 2147483647 w 647"/>
              <a:gd name="T81" fmla="*/ 2147483647 h 470"/>
              <a:gd name="T82" fmla="*/ 2147483647 w 647"/>
              <a:gd name="T83" fmla="*/ 2147483647 h 470"/>
              <a:gd name="T84" fmla="*/ 2147483647 w 647"/>
              <a:gd name="T85" fmla="*/ 2147483647 h 470"/>
              <a:gd name="T86" fmla="*/ 2147483647 w 647"/>
              <a:gd name="T87" fmla="*/ 2147483647 h 470"/>
              <a:gd name="T88" fmla="*/ 2147483647 w 647"/>
              <a:gd name="T89" fmla="*/ 2147483647 h 470"/>
              <a:gd name="T90" fmla="*/ 2147483647 w 647"/>
              <a:gd name="T91" fmla="*/ 2147483647 h 470"/>
              <a:gd name="T92" fmla="*/ 0 w 647"/>
              <a:gd name="T93" fmla="*/ 2147483647 h 470"/>
              <a:gd name="T94" fmla="*/ 2147483647 w 647"/>
              <a:gd name="T95" fmla="*/ 2147483647 h 470"/>
              <a:gd name="T96" fmla="*/ 2147483647 w 647"/>
              <a:gd name="T97" fmla="*/ 2147483647 h 470"/>
              <a:gd name="T98" fmla="*/ 2147483647 w 647"/>
              <a:gd name="T99" fmla="*/ 2147483647 h 470"/>
              <a:gd name="T100" fmla="*/ 2147483647 w 647"/>
              <a:gd name="T101" fmla="*/ 0 h 470"/>
              <a:gd name="T102" fmla="*/ 2147483647 w 647"/>
              <a:gd name="T103" fmla="*/ 2147483647 h 470"/>
              <a:gd name="T104" fmla="*/ 2147483647 w 647"/>
              <a:gd name="T105" fmla="*/ 2147483647 h 470"/>
              <a:gd name="T106" fmla="*/ 2147483647 w 647"/>
              <a:gd name="T107" fmla="*/ 2147483647 h 470"/>
              <a:gd name="T108" fmla="*/ 2147483647 w 647"/>
              <a:gd name="T109" fmla="*/ 2147483647 h 470"/>
              <a:gd name="T110" fmla="*/ 2147483647 w 647"/>
              <a:gd name="T111" fmla="*/ 2147483647 h 470"/>
              <a:gd name="T112" fmla="*/ 2147483647 w 647"/>
              <a:gd name="T113" fmla="*/ 2147483647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C0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68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427788" y="3328789"/>
            <a:ext cx="207962" cy="455613"/>
          </a:xfrm>
          <a:custGeom>
            <a:avLst/>
            <a:gdLst>
              <a:gd name="T0" fmla="*/ 2147483647 w 479"/>
              <a:gd name="T1" fmla="*/ 2147483647 h 868"/>
              <a:gd name="T2" fmla="*/ 2147483647 w 479"/>
              <a:gd name="T3" fmla="*/ 2147483647 h 868"/>
              <a:gd name="T4" fmla="*/ 2147483647 w 479"/>
              <a:gd name="T5" fmla="*/ 2147483647 h 868"/>
              <a:gd name="T6" fmla="*/ 2147483647 w 479"/>
              <a:gd name="T7" fmla="*/ 2147483647 h 868"/>
              <a:gd name="T8" fmla="*/ 2147483647 w 479"/>
              <a:gd name="T9" fmla="*/ 2147483647 h 868"/>
              <a:gd name="T10" fmla="*/ 2147483647 w 479"/>
              <a:gd name="T11" fmla="*/ 2147483647 h 868"/>
              <a:gd name="T12" fmla="*/ 2147483647 w 479"/>
              <a:gd name="T13" fmla="*/ 2147483647 h 868"/>
              <a:gd name="T14" fmla="*/ 2147483647 w 479"/>
              <a:gd name="T15" fmla="*/ 2147483647 h 868"/>
              <a:gd name="T16" fmla="*/ 2147483647 w 479"/>
              <a:gd name="T17" fmla="*/ 2147483647 h 868"/>
              <a:gd name="T18" fmla="*/ 2147483647 w 479"/>
              <a:gd name="T19" fmla="*/ 2147483647 h 868"/>
              <a:gd name="T20" fmla="*/ 2147483647 w 479"/>
              <a:gd name="T21" fmla="*/ 2147483647 h 868"/>
              <a:gd name="T22" fmla="*/ 2147483647 w 479"/>
              <a:gd name="T23" fmla="*/ 2147483647 h 868"/>
              <a:gd name="T24" fmla="*/ 2147483647 w 479"/>
              <a:gd name="T25" fmla="*/ 2147483647 h 868"/>
              <a:gd name="T26" fmla="*/ 2147483647 w 479"/>
              <a:gd name="T27" fmla="*/ 2147483647 h 868"/>
              <a:gd name="T28" fmla="*/ 2147483647 w 479"/>
              <a:gd name="T29" fmla="*/ 2147483647 h 868"/>
              <a:gd name="T30" fmla="*/ 2147483647 w 479"/>
              <a:gd name="T31" fmla="*/ 2147483647 h 868"/>
              <a:gd name="T32" fmla="*/ 2147483647 w 479"/>
              <a:gd name="T33" fmla="*/ 2147483647 h 868"/>
              <a:gd name="T34" fmla="*/ 2147483647 w 479"/>
              <a:gd name="T35" fmla="*/ 2147483647 h 868"/>
              <a:gd name="T36" fmla="*/ 2147483647 w 479"/>
              <a:gd name="T37" fmla="*/ 2147483647 h 868"/>
              <a:gd name="T38" fmla="*/ 2147483647 w 479"/>
              <a:gd name="T39" fmla="*/ 2147483647 h 868"/>
              <a:gd name="T40" fmla="*/ 2147483647 w 479"/>
              <a:gd name="T41" fmla="*/ 2147483647 h 868"/>
              <a:gd name="T42" fmla="*/ 2147483647 w 479"/>
              <a:gd name="T43" fmla="*/ 2147483647 h 868"/>
              <a:gd name="T44" fmla="*/ 2147483647 w 479"/>
              <a:gd name="T45" fmla="*/ 2147483647 h 868"/>
              <a:gd name="T46" fmla="*/ 2147483647 w 479"/>
              <a:gd name="T47" fmla="*/ 2147483647 h 868"/>
              <a:gd name="T48" fmla="*/ 2147483647 w 479"/>
              <a:gd name="T49" fmla="*/ 2147483647 h 868"/>
              <a:gd name="T50" fmla="*/ 2147483647 w 479"/>
              <a:gd name="T51" fmla="*/ 2147483647 h 868"/>
              <a:gd name="T52" fmla="*/ 2147483647 w 479"/>
              <a:gd name="T53" fmla="*/ 2147483647 h 868"/>
              <a:gd name="T54" fmla="*/ 2147483647 w 479"/>
              <a:gd name="T55" fmla="*/ 2147483647 h 868"/>
              <a:gd name="T56" fmla="*/ 2147483647 w 479"/>
              <a:gd name="T57" fmla="*/ 2147483647 h 868"/>
              <a:gd name="T58" fmla="*/ 2147483647 w 479"/>
              <a:gd name="T59" fmla="*/ 2147483647 h 868"/>
              <a:gd name="T60" fmla="*/ 2147483647 w 479"/>
              <a:gd name="T61" fmla="*/ 2147483647 h 868"/>
              <a:gd name="T62" fmla="*/ 2147483647 w 479"/>
              <a:gd name="T63" fmla="*/ 2147483647 h 868"/>
              <a:gd name="T64" fmla="*/ 2147483647 w 479"/>
              <a:gd name="T65" fmla="*/ 2147483647 h 868"/>
              <a:gd name="T66" fmla="*/ 2147483647 w 479"/>
              <a:gd name="T67" fmla="*/ 2147483647 h 868"/>
              <a:gd name="T68" fmla="*/ 2147483647 w 479"/>
              <a:gd name="T69" fmla="*/ 2147483647 h 868"/>
              <a:gd name="T70" fmla="*/ 2147483647 w 479"/>
              <a:gd name="T71" fmla="*/ 2147483647 h 868"/>
              <a:gd name="T72" fmla="*/ 2147483647 w 479"/>
              <a:gd name="T73" fmla="*/ 2147483647 h 868"/>
              <a:gd name="T74" fmla="*/ 2147483647 w 479"/>
              <a:gd name="T75" fmla="*/ 2147483647 h 868"/>
              <a:gd name="T76" fmla="*/ 2147483647 w 479"/>
              <a:gd name="T77" fmla="*/ 2147483647 h 868"/>
              <a:gd name="T78" fmla="*/ 2147483647 w 479"/>
              <a:gd name="T79" fmla="*/ 2147483647 h 868"/>
              <a:gd name="T80" fmla="*/ 2147483647 w 479"/>
              <a:gd name="T81" fmla="*/ 2147483647 h 868"/>
              <a:gd name="T82" fmla="*/ 2147483647 w 479"/>
              <a:gd name="T83" fmla="*/ 0 h 868"/>
              <a:gd name="T84" fmla="*/ 2147483647 w 479"/>
              <a:gd name="T85" fmla="*/ 2147483647 h 868"/>
              <a:gd name="T86" fmla="*/ 2147483647 w 479"/>
              <a:gd name="T87" fmla="*/ 2147483647 h 868"/>
              <a:gd name="T88" fmla="*/ 2147483647 w 479"/>
              <a:gd name="T89" fmla="*/ 2147483647 h 868"/>
              <a:gd name="T90" fmla="*/ 2147483647 w 479"/>
              <a:gd name="T91" fmla="*/ 2147483647 h 868"/>
              <a:gd name="T92" fmla="*/ 2147483647 w 479"/>
              <a:gd name="T93" fmla="*/ 2147483647 h 868"/>
              <a:gd name="T94" fmla="*/ 2147483647 w 479"/>
              <a:gd name="T95" fmla="*/ 2147483647 h 868"/>
              <a:gd name="T96" fmla="*/ 2147483647 w 479"/>
              <a:gd name="T97" fmla="*/ 2147483647 h 868"/>
              <a:gd name="T98" fmla="*/ 2147483647 w 479"/>
              <a:gd name="T99" fmla="*/ 2147483647 h 868"/>
              <a:gd name="T100" fmla="*/ 2147483647 w 479"/>
              <a:gd name="T101" fmla="*/ 2147483647 h 868"/>
              <a:gd name="T102" fmla="*/ 2147483647 w 479"/>
              <a:gd name="T103" fmla="*/ 2147483647 h 868"/>
              <a:gd name="T104" fmla="*/ 2147483647 w 479"/>
              <a:gd name="T105" fmla="*/ 2147483647 h 868"/>
              <a:gd name="T106" fmla="*/ 2147483647 w 479"/>
              <a:gd name="T107" fmla="*/ 2147483647 h 868"/>
              <a:gd name="T108" fmla="*/ 2147483647 w 479"/>
              <a:gd name="T109" fmla="*/ 2147483647 h 868"/>
              <a:gd name="T110" fmla="*/ 2147483647 w 479"/>
              <a:gd name="T111" fmla="*/ 2147483647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69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6825" y="5716389"/>
            <a:ext cx="23813" cy="57150"/>
          </a:xfrm>
          <a:custGeom>
            <a:avLst/>
            <a:gdLst>
              <a:gd name="T0" fmla="*/ 0 w 53"/>
              <a:gd name="T1" fmla="*/ 2147483647 h 19"/>
              <a:gd name="T2" fmla="*/ 2147483647 w 53"/>
              <a:gd name="T3" fmla="*/ 2147483647 h 19"/>
              <a:gd name="T4" fmla="*/ 2147483647 w 53"/>
              <a:gd name="T5" fmla="*/ 2147483647 h 19"/>
              <a:gd name="T6" fmla="*/ 2147483647 w 53"/>
              <a:gd name="T7" fmla="*/ 2147483647 h 19"/>
              <a:gd name="T8" fmla="*/ 2147483647 w 53"/>
              <a:gd name="T9" fmla="*/ 2147483647 h 19"/>
              <a:gd name="T10" fmla="*/ 2147483647 w 53"/>
              <a:gd name="T11" fmla="*/ 2147483647 h 19"/>
              <a:gd name="T12" fmla="*/ 2147483647 w 53"/>
              <a:gd name="T13" fmla="*/ 2147483647 h 19"/>
              <a:gd name="T14" fmla="*/ 2147483647 w 53"/>
              <a:gd name="T15" fmla="*/ 2147483647 h 19"/>
              <a:gd name="T16" fmla="*/ 2147483647 w 53"/>
              <a:gd name="T17" fmla="*/ 2147483647 h 19"/>
              <a:gd name="T18" fmla="*/ 2147483647 w 53"/>
              <a:gd name="T19" fmla="*/ 2147483647 h 19"/>
              <a:gd name="T20" fmla="*/ 2147483647 w 53"/>
              <a:gd name="T21" fmla="*/ 2147483647 h 19"/>
              <a:gd name="T22" fmla="*/ 2147483647 w 53"/>
              <a:gd name="T23" fmla="*/ 2147483647 h 19"/>
              <a:gd name="T24" fmla="*/ 2147483647 w 53"/>
              <a:gd name="T25" fmla="*/ 0 h 19"/>
              <a:gd name="T26" fmla="*/ 2147483647 w 53"/>
              <a:gd name="T27" fmla="*/ 0 h 19"/>
              <a:gd name="T28" fmla="*/ 2147483647 w 53"/>
              <a:gd name="T29" fmla="*/ 2147483647 h 19"/>
              <a:gd name="T30" fmla="*/ 2147483647 w 53"/>
              <a:gd name="T31" fmla="*/ 2147483647 h 19"/>
              <a:gd name="T32" fmla="*/ 0 w 53"/>
              <a:gd name="T33" fmla="*/ 2147483647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70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998538" y="2638227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71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01713" y="2635052"/>
            <a:ext cx="3175" cy="55562"/>
          </a:xfrm>
          <a:custGeom>
            <a:avLst/>
            <a:gdLst>
              <a:gd name="T0" fmla="*/ 0 w 6"/>
              <a:gd name="T1" fmla="*/ 2147483647 h 24"/>
              <a:gd name="T2" fmla="*/ 0 w 6"/>
              <a:gd name="T3" fmla="*/ 2147483647 h 24"/>
              <a:gd name="T4" fmla="*/ 2147483647 w 6"/>
              <a:gd name="T5" fmla="*/ 2147483647 h 24"/>
              <a:gd name="T6" fmla="*/ 2147483647 w 6"/>
              <a:gd name="T7" fmla="*/ 2147483647 h 24"/>
              <a:gd name="T8" fmla="*/ 2147483647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72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77900" y="2689027"/>
            <a:ext cx="23813" cy="57150"/>
          </a:xfrm>
          <a:custGeom>
            <a:avLst/>
            <a:gdLst>
              <a:gd name="T0" fmla="*/ 0 w 47"/>
              <a:gd name="T1" fmla="*/ 2147483647 h 67"/>
              <a:gd name="T2" fmla="*/ 0 w 47"/>
              <a:gd name="T3" fmla="*/ 2147483647 h 67"/>
              <a:gd name="T4" fmla="*/ 2147483647 w 47"/>
              <a:gd name="T5" fmla="*/ 2147483647 h 67"/>
              <a:gd name="T6" fmla="*/ 2147483647 w 47"/>
              <a:gd name="T7" fmla="*/ 2147483647 h 67"/>
              <a:gd name="T8" fmla="*/ 2147483647 w 47"/>
              <a:gd name="T9" fmla="*/ 2147483647 h 67"/>
              <a:gd name="T10" fmla="*/ 2147483647 w 47"/>
              <a:gd name="T11" fmla="*/ 2147483647 h 67"/>
              <a:gd name="T12" fmla="*/ 2147483647 w 47"/>
              <a:gd name="T13" fmla="*/ 2147483647 h 67"/>
              <a:gd name="T14" fmla="*/ 2147483647 w 47"/>
              <a:gd name="T15" fmla="*/ 2147483647 h 67"/>
              <a:gd name="T16" fmla="*/ 2147483647 w 47"/>
              <a:gd name="T17" fmla="*/ 0 h 67"/>
              <a:gd name="T18" fmla="*/ 2147483647 w 47"/>
              <a:gd name="T19" fmla="*/ 2147483647 h 67"/>
              <a:gd name="T20" fmla="*/ 2147483647 w 47"/>
              <a:gd name="T21" fmla="*/ 2147483647 h 67"/>
              <a:gd name="T22" fmla="*/ 2147483647 w 47"/>
              <a:gd name="T23" fmla="*/ 2147483647 h 67"/>
              <a:gd name="T24" fmla="*/ 2147483647 w 47"/>
              <a:gd name="T25" fmla="*/ 2147483647 h 67"/>
              <a:gd name="T26" fmla="*/ 2147483647 w 47"/>
              <a:gd name="T27" fmla="*/ 2147483647 h 67"/>
              <a:gd name="T28" fmla="*/ 2147483647 w 47"/>
              <a:gd name="T29" fmla="*/ 2147483647 h 67"/>
              <a:gd name="T30" fmla="*/ 0 w 47"/>
              <a:gd name="T31" fmla="*/ 2147483647 h 67"/>
              <a:gd name="T32" fmla="*/ 0 w 47"/>
              <a:gd name="T33" fmla="*/ 2147483647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73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03463" y="2684264"/>
            <a:ext cx="49212" cy="57150"/>
          </a:xfrm>
          <a:custGeom>
            <a:avLst/>
            <a:gdLst>
              <a:gd name="T0" fmla="*/ 0 w 112"/>
              <a:gd name="T1" fmla="*/ 2147483647 h 36"/>
              <a:gd name="T2" fmla="*/ 2147483647 w 112"/>
              <a:gd name="T3" fmla="*/ 2147483647 h 36"/>
              <a:gd name="T4" fmla="*/ 2147483647 w 112"/>
              <a:gd name="T5" fmla="*/ 2147483647 h 36"/>
              <a:gd name="T6" fmla="*/ 2147483647 w 112"/>
              <a:gd name="T7" fmla="*/ 2147483647 h 36"/>
              <a:gd name="T8" fmla="*/ 2147483647 w 112"/>
              <a:gd name="T9" fmla="*/ 2147483647 h 36"/>
              <a:gd name="T10" fmla="*/ 2147483647 w 112"/>
              <a:gd name="T11" fmla="*/ 2147483647 h 36"/>
              <a:gd name="T12" fmla="*/ 2147483647 w 112"/>
              <a:gd name="T13" fmla="*/ 2147483647 h 36"/>
              <a:gd name="T14" fmla="*/ 2147483647 w 112"/>
              <a:gd name="T15" fmla="*/ 2147483647 h 36"/>
              <a:gd name="T16" fmla="*/ 2147483647 w 112"/>
              <a:gd name="T17" fmla="*/ 2147483647 h 36"/>
              <a:gd name="T18" fmla="*/ 2147483647 w 112"/>
              <a:gd name="T19" fmla="*/ 2147483647 h 36"/>
              <a:gd name="T20" fmla="*/ 2147483647 w 112"/>
              <a:gd name="T21" fmla="*/ 2147483647 h 36"/>
              <a:gd name="T22" fmla="*/ 2147483647 w 112"/>
              <a:gd name="T23" fmla="*/ 0 h 36"/>
              <a:gd name="T24" fmla="*/ 2147483647 w 112"/>
              <a:gd name="T25" fmla="*/ 0 h 36"/>
              <a:gd name="T26" fmla="*/ 2147483647 w 112"/>
              <a:gd name="T27" fmla="*/ 2147483647 h 36"/>
              <a:gd name="T28" fmla="*/ 2147483647 w 112"/>
              <a:gd name="T29" fmla="*/ 2147483647 h 36"/>
              <a:gd name="T30" fmla="*/ 2147483647 w 112"/>
              <a:gd name="T31" fmla="*/ 2147483647 h 36"/>
              <a:gd name="T32" fmla="*/ 2147483647 w 112"/>
              <a:gd name="T33" fmla="*/ 2147483647 h 36"/>
              <a:gd name="T34" fmla="*/ 2147483647 w 112"/>
              <a:gd name="T35" fmla="*/ 2147483647 h 36"/>
              <a:gd name="T36" fmla="*/ 2147483647 w 112"/>
              <a:gd name="T37" fmla="*/ 2147483647 h 36"/>
              <a:gd name="T38" fmla="*/ 2147483647 w 112"/>
              <a:gd name="T39" fmla="*/ 2147483647 h 36"/>
              <a:gd name="T40" fmla="*/ 2147483647 w 112"/>
              <a:gd name="T41" fmla="*/ 2147483647 h 36"/>
              <a:gd name="T42" fmla="*/ 2147483647 w 112"/>
              <a:gd name="T43" fmla="*/ 2147483647 h 36"/>
              <a:gd name="T44" fmla="*/ 2147483647 w 112"/>
              <a:gd name="T45" fmla="*/ 2147483647 h 36"/>
              <a:gd name="T46" fmla="*/ 0 w 112"/>
              <a:gd name="T47" fmla="*/ 2147483647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74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041900" y="2241352"/>
            <a:ext cx="874713" cy="452437"/>
          </a:xfrm>
          <a:custGeom>
            <a:avLst/>
            <a:gdLst>
              <a:gd name="T0" fmla="*/ 2147483647 w 2006"/>
              <a:gd name="T1" fmla="*/ 2147483647 h 863"/>
              <a:gd name="T2" fmla="*/ 2147483647 w 2006"/>
              <a:gd name="T3" fmla="*/ 2147483647 h 863"/>
              <a:gd name="T4" fmla="*/ 2147483647 w 2006"/>
              <a:gd name="T5" fmla="*/ 2147483647 h 863"/>
              <a:gd name="T6" fmla="*/ 2147483647 w 2006"/>
              <a:gd name="T7" fmla="*/ 2147483647 h 863"/>
              <a:gd name="T8" fmla="*/ 2147483647 w 2006"/>
              <a:gd name="T9" fmla="*/ 2147483647 h 863"/>
              <a:gd name="T10" fmla="*/ 2147483647 w 2006"/>
              <a:gd name="T11" fmla="*/ 2147483647 h 863"/>
              <a:gd name="T12" fmla="*/ 2147483647 w 2006"/>
              <a:gd name="T13" fmla="*/ 2147483647 h 863"/>
              <a:gd name="T14" fmla="*/ 2147483647 w 2006"/>
              <a:gd name="T15" fmla="*/ 2147483647 h 863"/>
              <a:gd name="T16" fmla="*/ 2147483647 w 2006"/>
              <a:gd name="T17" fmla="*/ 2147483647 h 863"/>
              <a:gd name="T18" fmla="*/ 2147483647 w 2006"/>
              <a:gd name="T19" fmla="*/ 2147483647 h 863"/>
              <a:gd name="T20" fmla="*/ 2147483647 w 2006"/>
              <a:gd name="T21" fmla="*/ 2147483647 h 863"/>
              <a:gd name="T22" fmla="*/ 2147483647 w 2006"/>
              <a:gd name="T23" fmla="*/ 2147483647 h 863"/>
              <a:gd name="T24" fmla="*/ 2147483647 w 2006"/>
              <a:gd name="T25" fmla="*/ 2147483647 h 863"/>
              <a:gd name="T26" fmla="*/ 2147483647 w 2006"/>
              <a:gd name="T27" fmla="*/ 2147483647 h 863"/>
              <a:gd name="T28" fmla="*/ 2147483647 w 2006"/>
              <a:gd name="T29" fmla="*/ 2147483647 h 863"/>
              <a:gd name="T30" fmla="*/ 2147483647 w 2006"/>
              <a:gd name="T31" fmla="*/ 2147483647 h 863"/>
              <a:gd name="T32" fmla="*/ 2147483647 w 2006"/>
              <a:gd name="T33" fmla="*/ 2147483647 h 863"/>
              <a:gd name="T34" fmla="*/ 2147483647 w 2006"/>
              <a:gd name="T35" fmla="*/ 2147483647 h 863"/>
              <a:gd name="T36" fmla="*/ 2147483647 w 2006"/>
              <a:gd name="T37" fmla="*/ 2147483647 h 863"/>
              <a:gd name="T38" fmla="*/ 2147483647 w 2006"/>
              <a:gd name="T39" fmla="*/ 2147483647 h 863"/>
              <a:gd name="T40" fmla="*/ 2147483647 w 2006"/>
              <a:gd name="T41" fmla="*/ 2147483647 h 863"/>
              <a:gd name="T42" fmla="*/ 2147483647 w 2006"/>
              <a:gd name="T43" fmla="*/ 2147483647 h 863"/>
              <a:gd name="T44" fmla="*/ 2147483647 w 2006"/>
              <a:gd name="T45" fmla="*/ 2147483647 h 863"/>
              <a:gd name="T46" fmla="*/ 2147483647 w 2006"/>
              <a:gd name="T47" fmla="*/ 2147483647 h 863"/>
              <a:gd name="T48" fmla="*/ 2147483647 w 2006"/>
              <a:gd name="T49" fmla="*/ 2147483647 h 863"/>
              <a:gd name="T50" fmla="*/ 2147483647 w 2006"/>
              <a:gd name="T51" fmla="*/ 2147483647 h 863"/>
              <a:gd name="T52" fmla="*/ 2147483647 w 2006"/>
              <a:gd name="T53" fmla="*/ 2147483647 h 863"/>
              <a:gd name="T54" fmla="*/ 2147483647 w 2006"/>
              <a:gd name="T55" fmla="*/ 2147483647 h 863"/>
              <a:gd name="T56" fmla="*/ 2147483647 w 2006"/>
              <a:gd name="T57" fmla="*/ 2147483647 h 863"/>
              <a:gd name="T58" fmla="*/ 2147483647 w 2006"/>
              <a:gd name="T59" fmla="*/ 2147483647 h 863"/>
              <a:gd name="T60" fmla="*/ 2147483647 w 2006"/>
              <a:gd name="T61" fmla="*/ 2147483647 h 863"/>
              <a:gd name="T62" fmla="*/ 2147483647 w 2006"/>
              <a:gd name="T63" fmla="*/ 2147483647 h 863"/>
              <a:gd name="T64" fmla="*/ 2147483647 w 2006"/>
              <a:gd name="T65" fmla="*/ 2147483647 h 863"/>
              <a:gd name="T66" fmla="*/ 2147483647 w 2006"/>
              <a:gd name="T67" fmla="*/ 2147483647 h 863"/>
              <a:gd name="T68" fmla="*/ 2147483647 w 2006"/>
              <a:gd name="T69" fmla="*/ 2147483647 h 863"/>
              <a:gd name="T70" fmla="*/ 2147483647 w 2006"/>
              <a:gd name="T71" fmla="*/ 2147483647 h 863"/>
              <a:gd name="T72" fmla="*/ 2147483647 w 2006"/>
              <a:gd name="T73" fmla="*/ 2147483647 h 863"/>
              <a:gd name="T74" fmla="*/ 2147483647 w 2006"/>
              <a:gd name="T75" fmla="*/ 2147483647 h 863"/>
              <a:gd name="T76" fmla="*/ 2147483647 w 2006"/>
              <a:gd name="T77" fmla="*/ 2147483647 h 863"/>
              <a:gd name="T78" fmla="*/ 2147483647 w 2006"/>
              <a:gd name="T79" fmla="*/ 2147483647 h 863"/>
              <a:gd name="T80" fmla="*/ 2147483647 w 2006"/>
              <a:gd name="T81" fmla="*/ 2147483647 h 863"/>
              <a:gd name="T82" fmla="*/ 2147483647 w 2006"/>
              <a:gd name="T83" fmla="*/ 2147483647 h 863"/>
              <a:gd name="T84" fmla="*/ 2147483647 w 2006"/>
              <a:gd name="T85" fmla="*/ 2147483647 h 863"/>
              <a:gd name="T86" fmla="*/ 2147483647 w 2006"/>
              <a:gd name="T87" fmla="*/ 2147483647 h 863"/>
              <a:gd name="T88" fmla="*/ 2147483647 w 2006"/>
              <a:gd name="T89" fmla="*/ 2147483647 h 863"/>
              <a:gd name="T90" fmla="*/ 2147483647 w 2006"/>
              <a:gd name="T91" fmla="*/ 2147483647 h 863"/>
              <a:gd name="T92" fmla="*/ 2147483647 w 2006"/>
              <a:gd name="T93" fmla="*/ 2147483647 h 863"/>
              <a:gd name="T94" fmla="*/ 2147483647 w 2006"/>
              <a:gd name="T95" fmla="*/ 2147483647 h 863"/>
              <a:gd name="T96" fmla="*/ 2147483647 w 2006"/>
              <a:gd name="T97" fmla="*/ 2147483647 h 863"/>
              <a:gd name="T98" fmla="*/ 2147483647 w 2006"/>
              <a:gd name="T99" fmla="*/ 2147483647 h 863"/>
              <a:gd name="T100" fmla="*/ 2147483647 w 2006"/>
              <a:gd name="T101" fmla="*/ 2147483647 h 863"/>
              <a:gd name="T102" fmla="*/ 2147483647 w 2006"/>
              <a:gd name="T103" fmla="*/ 2147483647 h 863"/>
              <a:gd name="T104" fmla="*/ 2147483647 w 2006"/>
              <a:gd name="T105" fmla="*/ 2147483647 h 863"/>
              <a:gd name="T106" fmla="*/ 2147483647 w 2006"/>
              <a:gd name="T107" fmla="*/ 2147483647 h 863"/>
              <a:gd name="T108" fmla="*/ 2147483647 w 2006"/>
              <a:gd name="T109" fmla="*/ 2147483647 h 863"/>
              <a:gd name="T110" fmla="*/ 2147483647 w 2006"/>
              <a:gd name="T111" fmla="*/ 2147483647 h 863"/>
              <a:gd name="T112" fmla="*/ 2147483647 w 2006"/>
              <a:gd name="T113" fmla="*/ 2147483647 h 863"/>
              <a:gd name="T114" fmla="*/ 2147483647 w 2006"/>
              <a:gd name="T115" fmla="*/ 2147483647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75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272088" y="2544564"/>
            <a:ext cx="409575" cy="249238"/>
          </a:xfrm>
          <a:custGeom>
            <a:avLst/>
            <a:gdLst>
              <a:gd name="T0" fmla="*/ 2147483647 w 950"/>
              <a:gd name="T1" fmla="*/ 2147483647 h 468"/>
              <a:gd name="T2" fmla="*/ 2147483647 w 950"/>
              <a:gd name="T3" fmla="*/ 2147483647 h 468"/>
              <a:gd name="T4" fmla="*/ 2147483647 w 950"/>
              <a:gd name="T5" fmla="*/ 2147483647 h 468"/>
              <a:gd name="T6" fmla="*/ 2147483647 w 950"/>
              <a:gd name="T7" fmla="*/ 2147483647 h 468"/>
              <a:gd name="T8" fmla="*/ 2147483647 w 950"/>
              <a:gd name="T9" fmla="*/ 2147483647 h 468"/>
              <a:gd name="T10" fmla="*/ 2147483647 w 950"/>
              <a:gd name="T11" fmla="*/ 2147483647 h 468"/>
              <a:gd name="T12" fmla="*/ 2147483647 w 950"/>
              <a:gd name="T13" fmla="*/ 2147483647 h 468"/>
              <a:gd name="T14" fmla="*/ 2147483647 w 950"/>
              <a:gd name="T15" fmla="*/ 2147483647 h 468"/>
              <a:gd name="T16" fmla="*/ 2147483647 w 950"/>
              <a:gd name="T17" fmla="*/ 2147483647 h 468"/>
              <a:gd name="T18" fmla="*/ 2147483647 w 950"/>
              <a:gd name="T19" fmla="*/ 2147483647 h 468"/>
              <a:gd name="T20" fmla="*/ 0 w 950"/>
              <a:gd name="T21" fmla="*/ 2147483647 h 468"/>
              <a:gd name="T22" fmla="*/ 2147483647 w 950"/>
              <a:gd name="T23" fmla="*/ 2147483647 h 468"/>
              <a:gd name="T24" fmla="*/ 2147483647 w 950"/>
              <a:gd name="T25" fmla="*/ 2147483647 h 468"/>
              <a:gd name="T26" fmla="*/ 2147483647 w 950"/>
              <a:gd name="T27" fmla="*/ 2147483647 h 468"/>
              <a:gd name="T28" fmla="*/ 2147483647 w 950"/>
              <a:gd name="T29" fmla="*/ 2147483647 h 468"/>
              <a:gd name="T30" fmla="*/ 2147483647 w 950"/>
              <a:gd name="T31" fmla="*/ 2147483647 h 468"/>
              <a:gd name="T32" fmla="*/ 2147483647 w 950"/>
              <a:gd name="T33" fmla="*/ 2147483647 h 468"/>
              <a:gd name="T34" fmla="*/ 2147483647 w 950"/>
              <a:gd name="T35" fmla="*/ 2147483647 h 468"/>
              <a:gd name="T36" fmla="*/ 2147483647 w 950"/>
              <a:gd name="T37" fmla="*/ 2147483647 h 468"/>
              <a:gd name="T38" fmla="*/ 2147483647 w 950"/>
              <a:gd name="T39" fmla="*/ 2147483647 h 468"/>
              <a:gd name="T40" fmla="*/ 2147483647 w 950"/>
              <a:gd name="T41" fmla="*/ 2147483647 h 468"/>
              <a:gd name="T42" fmla="*/ 2147483647 w 950"/>
              <a:gd name="T43" fmla="*/ 2147483647 h 468"/>
              <a:gd name="T44" fmla="*/ 2147483647 w 950"/>
              <a:gd name="T45" fmla="*/ 2147483647 h 468"/>
              <a:gd name="T46" fmla="*/ 2147483647 w 950"/>
              <a:gd name="T47" fmla="*/ 2147483647 h 468"/>
              <a:gd name="T48" fmla="*/ 2147483647 w 950"/>
              <a:gd name="T49" fmla="*/ 2147483647 h 468"/>
              <a:gd name="T50" fmla="*/ 2147483647 w 950"/>
              <a:gd name="T51" fmla="*/ 2147483647 h 468"/>
              <a:gd name="T52" fmla="*/ 2147483647 w 950"/>
              <a:gd name="T53" fmla="*/ 2147483647 h 468"/>
              <a:gd name="T54" fmla="*/ 2147483647 w 950"/>
              <a:gd name="T55" fmla="*/ 2147483647 h 468"/>
              <a:gd name="T56" fmla="*/ 2147483647 w 950"/>
              <a:gd name="T57" fmla="*/ 2147483647 h 468"/>
              <a:gd name="T58" fmla="*/ 2147483647 w 950"/>
              <a:gd name="T59" fmla="*/ 2147483647 h 468"/>
              <a:gd name="T60" fmla="*/ 2147483647 w 950"/>
              <a:gd name="T61" fmla="*/ 2147483647 h 468"/>
              <a:gd name="T62" fmla="*/ 2147483647 w 950"/>
              <a:gd name="T63" fmla="*/ 2147483647 h 468"/>
              <a:gd name="T64" fmla="*/ 2147483647 w 950"/>
              <a:gd name="T65" fmla="*/ 2147483647 h 468"/>
              <a:gd name="T66" fmla="*/ 2147483647 w 950"/>
              <a:gd name="T67" fmla="*/ 2147483647 h 468"/>
              <a:gd name="T68" fmla="*/ 2147483647 w 950"/>
              <a:gd name="T69" fmla="*/ 2147483647 h 468"/>
              <a:gd name="T70" fmla="*/ 2147483647 w 950"/>
              <a:gd name="T71" fmla="*/ 2147483647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76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079875" y="3547864"/>
            <a:ext cx="296863" cy="288925"/>
          </a:xfrm>
          <a:custGeom>
            <a:avLst/>
            <a:gdLst>
              <a:gd name="T0" fmla="*/ 2147483647 w 671"/>
              <a:gd name="T1" fmla="*/ 2147483647 h 549"/>
              <a:gd name="T2" fmla="*/ 2147483647 w 671"/>
              <a:gd name="T3" fmla="*/ 2147483647 h 549"/>
              <a:gd name="T4" fmla="*/ 2147483647 w 671"/>
              <a:gd name="T5" fmla="*/ 2147483647 h 549"/>
              <a:gd name="T6" fmla="*/ 2147483647 w 671"/>
              <a:gd name="T7" fmla="*/ 2147483647 h 549"/>
              <a:gd name="T8" fmla="*/ 2147483647 w 671"/>
              <a:gd name="T9" fmla="*/ 2147483647 h 549"/>
              <a:gd name="T10" fmla="*/ 2147483647 w 671"/>
              <a:gd name="T11" fmla="*/ 2147483647 h 549"/>
              <a:gd name="T12" fmla="*/ 2147483647 w 671"/>
              <a:gd name="T13" fmla="*/ 2147483647 h 549"/>
              <a:gd name="T14" fmla="*/ 2147483647 w 671"/>
              <a:gd name="T15" fmla="*/ 2147483647 h 549"/>
              <a:gd name="T16" fmla="*/ 2147483647 w 671"/>
              <a:gd name="T17" fmla="*/ 2147483647 h 549"/>
              <a:gd name="T18" fmla="*/ 2147483647 w 671"/>
              <a:gd name="T19" fmla="*/ 2147483647 h 549"/>
              <a:gd name="T20" fmla="*/ 2147483647 w 671"/>
              <a:gd name="T21" fmla="*/ 2147483647 h 549"/>
              <a:gd name="T22" fmla="*/ 2147483647 w 671"/>
              <a:gd name="T23" fmla="*/ 2147483647 h 549"/>
              <a:gd name="T24" fmla="*/ 2147483647 w 671"/>
              <a:gd name="T25" fmla="*/ 0 h 549"/>
              <a:gd name="T26" fmla="*/ 2147483647 w 671"/>
              <a:gd name="T27" fmla="*/ 2147483647 h 549"/>
              <a:gd name="T28" fmla="*/ 2147483647 w 671"/>
              <a:gd name="T29" fmla="*/ 2147483647 h 549"/>
              <a:gd name="T30" fmla="*/ 2147483647 w 671"/>
              <a:gd name="T31" fmla="*/ 2147483647 h 549"/>
              <a:gd name="T32" fmla="*/ 2147483647 w 671"/>
              <a:gd name="T33" fmla="*/ 2147483647 h 549"/>
              <a:gd name="T34" fmla="*/ 2147483647 w 671"/>
              <a:gd name="T35" fmla="*/ 2147483647 h 549"/>
              <a:gd name="T36" fmla="*/ 2147483647 w 671"/>
              <a:gd name="T37" fmla="*/ 2147483647 h 549"/>
              <a:gd name="T38" fmla="*/ 2147483647 w 671"/>
              <a:gd name="T39" fmla="*/ 2147483647 h 549"/>
              <a:gd name="T40" fmla="*/ 2147483647 w 671"/>
              <a:gd name="T41" fmla="*/ 2147483647 h 549"/>
              <a:gd name="T42" fmla="*/ 2147483647 w 671"/>
              <a:gd name="T43" fmla="*/ 2147483647 h 549"/>
              <a:gd name="T44" fmla="*/ 2147483647 w 671"/>
              <a:gd name="T45" fmla="*/ 2147483647 h 549"/>
              <a:gd name="T46" fmla="*/ 2147483647 w 671"/>
              <a:gd name="T47" fmla="*/ 2147483647 h 549"/>
              <a:gd name="T48" fmla="*/ 2147483647 w 671"/>
              <a:gd name="T49" fmla="*/ 2147483647 h 549"/>
              <a:gd name="T50" fmla="*/ 2147483647 w 671"/>
              <a:gd name="T51" fmla="*/ 2147483647 h 549"/>
              <a:gd name="T52" fmla="*/ 2147483647 w 671"/>
              <a:gd name="T53" fmla="*/ 2147483647 h 549"/>
              <a:gd name="T54" fmla="*/ 2147483647 w 671"/>
              <a:gd name="T55" fmla="*/ 2147483647 h 549"/>
              <a:gd name="T56" fmla="*/ 2147483647 w 671"/>
              <a:gd name="T57" fmla="*/ 2147483647 h 549"/>
              <a:gd name="T58" fmla="*/ 2147483647 w 671"/>
              <a:gd name="T59" fmla="*/ 2147483647 h 549"/>
              <a:gd name="T60" fmla="*/ 2147483647 w 671"/>
              <a:gd name="T61" fmla="*/ 2147483647 h 549"/>
              <a:gd name="T62" fmla="*/ 2147483647 w 671"/>
              <a:gd name="T63" fmla="*/ 2147483647 h 549"/>
              <a:gd name="T64" fmla="*/ 2147483647 w 671"/>
              <a:gd name="T65" fmla="*/ 2147483647 h 549"/>
              <a:gd name="T66" fmla="*/ 2147483647 w 671"/>
              <a:gd name="T67" fmla="*/ 2147483647 h 549"/>
              <a:gd name="T68" fmla="*/ 2147483647 w 671"/>
              <a:gd name="T69" fmla="*/ 2147483647 h 549"/>
              <a:gd name="T70" fmla="*/ 2147483647 w 671"/>
              <a:gd name="T71" fmla="*/ 2147483647 h 549"/>
              <a:gd name="T72" fmla="*/ 2147483647 w 671"/>
              <a:gd name="T73" fmla="*/ 2147483647 h 549"/>
              <a:gd name="T74" fmla="*/ 2147483647 w 671"/>
              <a:gd name="T75" fmla="*/ 2147483647 h 549"/>
              <a:gd name="T76" fmla="*/ 2147483647 w 671"/>
              <a:gd name="T77" fmla="*/ 2147483647 h 549"/>
              <a:gd name="T78" fmla="*/ 2147483647 w 671"/>
              <a:gd name="T79" fmla="*/ 2147483647 h 549"/>
              <a:gd name="T80" fmla="*/ 2147483647 w 671"/>
              <a:gd name="T81" fmla="*/ 2147483647 h 549"/>
              <a:gd name="T82" fmla="*/ 2147483647 w 671"/>
              <a:gd name="T83" fmla="*/ 2147483647 h 549"/>
              <a:gd name="T84" fmla="*/ 2147483647 w 671"/>
              <a:gd name="T85" fmla="*/ 2147483647 h 549"/>
              <a:gd name="T86" fmla="*/ 2147483647 w 671"/>
              <a:gd name="T87" fmla="*/ 2147483647 h 549"/>
              <a:gd name="T88" fmla="*/ 2147483647 w 671"/>
              <a:gd name="T89" fmla="*/ 2147483647 h 549"/>
              <a:gd name="T90" fmla="*/ 2147483647 w 671"/>
              <a:gd name="T91" fmla="*/ 2147483647 h 549"/>
              <a:gd name="T92" fmla="*/ 2147483647 w 671"/>
              <a:gd name="T93" fmla="*/ 2147483647 h 549"/>
              <a:gd name="T94" fmla="*/ 2147483647 w 671"/>
              <a:gd name="T95" fmla="*/ 2147483647 h 549"/>
              <a:gd name="T96" fmla="*/ 2147483647 w 671"/>
              <a:gd name="T97" fmla="*/ 2147483647 h 549"/>
              <a:gd name="T98" fmla="*/ 2147483647 w 671"/>
              <a:gd name="T99" fmla="*/ 2147483647 h 549"/>
              <a:gd name="T100" fmla="*/ 2147483647 w 671"/>
              <a:gd name="T101" fmla="*/ 2147483647 h 549"/>
              <a:gd name="T102" fmla="*/ 2147483647 w 671"/>
              <a:gd name="T103" fmla="*/ 2147483647 h 549"/>
              <a:gd name="T104" fmla="*/ 2147483647 w 671"/>
              <a:gd name="T105" fmla="*/ 2147483647 h 549"/>
              <a:gd name="T106" fmla="*/ 2147483647 w 671"/>
              <a:gd name="T107" fmla="*/ 2147483647 h 549"/>
              <a:gd name="T108" fmla="*/ 2147483647 w 671"/>
              <a:gd name="T109" fmla="*/ 2147483647 h 549"/>
              <a:gd name="T110" fmla="*/ 2147483647 w 671"/>
              <a:gd name="T111" fmla="*/ 2147483647 h 549"/>
              <a:gd name="T112" fmla="*/ 2147483647 w 671"/>
              <a:gd name="T113" fmla="*/ 2147483647 h 549"/>
              <a:gd name="T114" fmla="*/ 2147483647 w 671"/>
              <a:gd name="T115" fmla="*/ 2147483647 h 549"/>
              <a:gd name="T116" fmla="*/ 2147483647 w 671"/>
              <a:gd name="T117" fmla="*/ 2147483647 h 549"/>
              <a:gd name="T118" fmla="*/ 2147483647 w 671"/>
              <a:gd name="T119" fmla="*/ 2147483647 h 549"/>
              <a:gd name="T120" fmla="*/ 2147483647 w 671"/>
              <a:gd name="T121" fmla="*/ 2147483647 h 549"/>
              <a:gd name="T122" fmla="*/ 0 w 671"/>
              <a:gd name="T123" fmla="*/ 2147483647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77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922838" y="3412927"/>
            <a:ext cx="152400" cy="169862"/>
          </a:xfrm>
          <a:custGeom>
            <a:avLst/>
            <a:gdLst>
              <a:gd name="T0" fmla="*/ 2147483647 w 358"/>
              <a:gd name="T1" fmla="*/ 2147483647 h 327"/>
              <a:gd name="T2" fmla="*/ 2147483647 w 358"/>
              <a:gd name="T3" fmla="*/ 2147483647 h 327"/>
              <a:gd name="T4" fmla="*/ 2147483647 w 358"/>
              <a:gd name="T5" fmla="*/ 2147483647 h 327"/>
              <a:gd name="T6" fmla="*/ 2147483647 w 358"/>
              <a:gd name="T7" fmla="*/ 2147483647 h 327"/>
              <a:gd name="T8" fmla="*/ 2147483647 w 358"/>
              <a:gd name="T9" fmla="*/ 2147483647 h 327"/>
              <a:gd name="T10" fmla="*/ 2147483647 w 358"/>
              <a:gd name="T11" fmla="*/ 2147483647 h 327"/>
              <a:gd name="T12" fmla="*/ 2147483647 w 358"/>
              <a:gd name="T13" fmla="*/ 2147483647 h 327"/>
              <a:gd name="T14" fmla="*/ 2147483647 w 358"/>
              <a:gd name="T15" fmla="*/ 2147483647 h 327"/>
              <a:gd name="T16" fmla="*/ 2147483647 w 358"/>
              <a:gd name="T17" fmla="*/ 2147483647 h 327"/>
              <a:gd name="T18" fmla="*/ 2147483647 w 358"/>
              <a:gd name="T19" fmla="*/ 2147483647 h 327"/>
              <a:gd name="T20" fmla="*/ 2147483647 w 358"/>
              <a:gd name="T21" fmla="*/ 2147483647 h 327"/>
              <a:gd name="T22" fmla="*/ 2147483647 w 358"/>
              <a:gd name="T23" fmla="*/ 2147483647 h 327"/>
              <a:gd name="T24" fmla="*/ 2147483647 w 358"/>
              <a:gd name="T25" fmla="*/ 2147483647 h 327"/>
              <a:gd name="T26" fmla="*/ 2147483647 w 358"/>
              <a:gd name="T27" fmla="*/ 2147483647 h 327"/>
              <a:gd name="T28" fmla="*/ 2147483647 w 358"/>
              <a:gd name="T29" fmla="*/ 2147483647 h 327"/>
              <a:gd name="T30" fmla="*/ 2147483647 w 358"/>
              <a:gd name="T31" fmla="*/ 2147483647 h 327"/>
              <a:gd name="T32" fmla="*/ 2147483647 w 358"/>
              <a:gd name="T33" fmla="*/ 2147483647 h 327"/>
              <a:gd name="T34" fmla="*/ 2147483647 w 358"/>
              <a:gd name="T35" fmla="*/ 2147483647 h 327"/>
              <a:gd name="T36" fmla="*/ 2147483647 w 358"/>
              <a:gd name="T37" fmla="*/ 2147483647 h 327"/>
              <a:gd name="T38" fmla="*/ 2147483647 w 358"/>
              <a:gd name="T39" fmla="*/ 2147483647 h 327"/>
              <a:gd name="T40" fmla="*/ 2147483647 w 358"/>
              <a:gd name="T41" fmla="*/ 2147483647 h 327"/>
              <a:gd name="T42" fmla="*/ 2147483647 w 358"/>
              <a:gd name="T43" fmla="*/ 2147483647 h 327"/>
              <a:gd name="T44" fmla="*/ 2147483647 w 358"/>
              <a:gd name="T45" fmla="*/ 2147483647 h 327"/>
              <a:gd name="T46" fmla="*/ 2147483647 w 358"/>
              <a:gd name="T47" fmla="*/ 2147483647 h 327"/>
              <a:gd name="T48" fmla="*/ 2147483647 w 358"/>
              <a:gd name="T49" fmla="*/ 2147483647 h 327"/>
              <a:gd name="T50" fmla="*/ 2147483647 w 358"/>
              <a:gd name="T51" fmla="*/ 2147483647 h 327"/>
              <a:gd name="T52" fmla="*/ 2147483647 w 358"/>
              <a:gd name="T53" fmla="*/ 0 h 327"/>
              <a:gd name="T54" fmla="*/ 2147483647 w 358"/>
              <a:gd name="T55" fmla="*/ 2147483647 h 327"/>
              <a:gd name="T56" fmla="*/ 2147483647 w 358"/>
              <a:gd name="T57" fmla="*/ 2147483647 h 327"/>
              <a:gd name="T58" fmla="*/ 2147483647 w 358"/>
              <a:gd name="T59" fmla="*/ 2147483647 h 327"/>
              <a:gd name="T60" fmla="*/ 2147483647 w 358"/>
              <a:gd name="T61" fmla="*/ 2147483647 h 327"/>
              <a:gd name="T62" fmla="*/ 2147483647 w 358"/>
              <a:gd name="T63" fmla="*/ 2147483647 h 327"/>
              <a:gd name="T64" fmla="*/ 2147483647 w 358"/>
              <a:gd name="T65" fmla="*/ 2147483647 h 327"/>
              <a:gd name="T66" fmla="*/ 2147483647 w 358"/>
              <a:gd name="T67" fmla="*/ 2147483647 h 327"/>
              <a:gd name="T68" fmla="*/ 2147483647 w 358"/>
              <a:gd name="T69" fmla="*/ 2147483647 h 327"/>
              <a:gd name="T70" fmla="*/ 2147483647 w 358"/>
              <a:gd name="T71" fmla="*/ 2147483647 h 327"/>
              <a:gd name="T72" fmla="*/ 2147483647 w 358"/>
              <a:gd name="T73" fmla="*/ 2147483647 h 327"/>
              <a:gd name="T74" fmla="*/ 2147483647 w 358"/>
              <a:gd name="T75" fmla="*/ 2147483647 h 327"/>
              <a:gd name="T76" fmla="*/ 0 w 358"/>
              <a:gd name="T77" fmla="*/ 2147483647 h 327"/>
              <a:gd name="T78" fmla="*/ 0 w 358"/>
              <a:gd name="T79" fmla="*/ 2147483647 h 327"/>
              <a:gd name="T80" fmla="*/ 2147483647 w 358"/>
              <a:gd name="T81" fmla="*/ 2147483647 h 327"/>
              <a:gd name="T82" fmla="*/ 2147483647 w 358"/>
              <a:gd name="T83" fmla="*/ 2147483647 h 327"/>
              <a:gd name="T84" fmla="*/ 2147483647 w 358"/>
              <a:gd name="T85" fmla="*/ 2147483647 h 327"/>
              <a:gd name="T86" fmla="*/ 2147483647 w 358"/>
              <a:gd name="T87" fmla="*/ 2147483647 h 327"/>
              <a:gd name="T88" fmla="*/ 2147483647 w 358"/>
              <a:gd name="T89" fmla="*/ 2147483647 h 327"/>
              <a:gd name="T90" fmla="*/ 2147483647 w 358"/>
              <a:gd name="T91" fmla="*/ 2147483647 h 327"/>
              <a:gd name="T92" fmla="*/ 2147483647 w 358"/>
              <a:gd name="T93" fmla="*/ 2147483647 h 327"/>
              <a:gd name="T94" fmla="*/ 2147483647 w 358"/>
              <a:gd name="T95" fmla="*/ 2147483647 h 327"/>
              <a:gd name="T96" fmla="*/ 2147483647 w 358"/>
              <a:gd name="T97" fmla="*/ 2147483647 h 327"/>
              <a:gd name="T98" fmla="*/ 2147483647 w 358"/>
              <a:gd name="T99" fmla="*/ 2147483647 h 327"/>
              <a:gd name="T100" fmla="*/ 2147483647 w 358"/>
              <a:gd name="T101" fmla="*/ 2147483647 h 327"/>
              <a:gd name="T102" fmla="*/ 2147483647 w 358"/>
              <a:gd name="T103" fmla="*/ 2147483647 h 327"/>
              <a:gd name="T104" fmla="*/ 2147483647 w 358"/>
              <a:gd name="T105" fmla="*/ 2147483647 h 327"/>
              <a:gd name="T106" fmla="*/ 2147483647 w 358"/>
              <a:gd name="T107" fmla="*/ 2147483647 h 327"/>
              <a:gd name="T108" fmla="*/ 2147483647 w 358"/>
              <a:gd name="T109" fmla="*/ 2147483647 h 327"/>
              <a:gd name="T110" fmla="*/ 2147483647 w 358"/>
              <a:gd name="T111" fmla="*/ 2147483647 h 327"/>
              <a:gd name="T112" fmla="*/ 2147483647 w 358"/>
              <a:gd name="T113" fmla="*/ 2147483647 h 327"/>
              <a:gd name="T114" fmla="*/ 2147483647 w 358"/>
              <a:gd name="T115" fmla="*/ 2147483647 h 327"/>
              <a:gd name="T116" fmla="*/ 2147483647 w 358"/>
              <a:gd name="T117" fmla="*/ 2147483647 h 327"/>
              <a:gd name="T118" fmla="*/ 2147483647 w 358"/>
              <a:gd name="T119" fmla="*/ 2147483647 h 327"/>
              <a:gd name="T120" fmla="*/ 2147483647 w 358"/>
              <a:gd name="T121" fmla="*/ 2147483647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78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84675" y="2417564"/>
            <a:ext cx="125413" cy="57150"/>
          </a:xfrm>
          <a:custGeom>
            <a:avLst/>
            <a:gdLst>
              <a:gd name="T0" fmla="*/ 23243066 w 292"/>
              <a:gd name="T1" fmla="*/ 0 h 99"/>
              <a:gd name="T2" fmla="*/ 28223508 w 292"/>
              <a:gd name="T3" fmla="*/ 0 h 99"/>
              <a:gd name="T4" fmla="*/ 36524389 w 292"/>
              <a:gd name="T5" fmla="*/ 333086 h 99"/>
              <a:gd name="T6" fmla="*/ 46116765 w 292"/>
              <a:gd name="T7" fmla="*/ 1999673 h 99"/>
              <a:gd name="T8" fmla="*/ 53864454 w 292"/>
              <a:gd name="T9" fmla="*/ 2332759 h 99"/>
              <a:gd name="T10" fmla="*/ 53495516 w 292"/>
              <a:gd name="T11" fmla="*/ 6664614 h 99"/>
              <a:gd name="T12" fmla="*/ 52573387 w 292"/>
              <a:gd name="T13" fmla="*/ 10997045 h 99"/>
              <a:gd name="T14" fmla="*/ 51466575 w 292"/>
              <a:gd name="T15" fmla="*/ 18328409 h 99"/>
              <a:gd name="T16" fmla="*/ 24903070 w 292"/>
              <a:gd name="T17" fmla="*/ 23327014 h 99"/>
              <a:gd name="T18" fmla="*/ 18262194 w 292"/>
              <a:gd name="T19" fmla="*/ 29658541 h 99"/>
              <a:gd name="T20" fmla="*/ 14572819 w 292"/>
              <a:gd name="T21" fmla="*/ 31991300 h 99"/>
              <a:gd name="T22" fmla="*/ 12174939 w 292"/>
              <a:gd name="T23" fmla="*/ 32658050 h 99"/>
              <a:gd name="T24" fmla="*/ 10145568 w 292"/>
              <a:gd name="T25" fmla="*/ 32658050 h 99"/>
              <a:gd name="T26" fmla="*/ 8300880 w 292"/>
              <a:gd name="T27" fmla="*/ 31325127 h 99"/>
              <a:gd name="T28" fmla="*/ 6087255 w 292"/>
              <a:gd name="T29" fmla="*/ 28658705 h 99"/>
              <a:gd name="T30" fmla="*/ 3689376 w 292"/>
              <a:gd name="T31" fmla="*/ 25659773 h 99"/>
              <a:gd name="T32" fmla="*/ 1291067 w 292"/>
              <a:gd name="T33" fmla="*/ 22993927 h 99"/>
              <a:gd name="T34" fmla="*/ 184254 w 292"/>
              <a:gd name="T35" fmla="*/ 18995159 h 99"/>
              <a:gd name="T36" fmla="*/ 0 w 292"/>
              <a:gd name="T37" fmla="*/ 13995977 h 99"/>
              <a:gd name="T38" fmla="*/ 184254 w 292"/>
              <a:gd name="T39" fmla="*/ 8331200 h 99"/>
              <a:gd name="T40" fmla="*/ 553192 w 292"/>
              <a:gd name="T41" fmla="*/ 6664614 h 99"/>
              <a:gd name="T42" fmla="*/ 1660004 w 292"/>
              <a:gd name="T43" fmla="*/ 5998441 h 99"/>
              <a:gd name="T44" fmla="*/ 2766817 w 292"/>
              <a:gd name="T45" fmla="*/ 6998277 h 99"/>
              <a:gd name="T46" fmla="*/ 4611505 w 292"/>
              <a:gd name="T47" fmla="*/ 9331036 h 99"/>
              <a:gd name="T48" fmla="*/ 6456193 w 292"/>
              <a:gd name="T49" fmla="*/ 10663959 h 99"/>
              <a:gd name="T50" fmla="*/ 8300880 w 292"/>
              <a:gd name="T51" fmla="*/ 11330132 h 99"/>
              <a:gd name="T52" fmla="*/ 9961314 w 292"/>
              <a:gd name="T53" fmla="*/ 10997045 h 99"/>
              <a:gd name="T54" fmla="*/ 12359193 w 292"/>
              <a:gd name="T55" fmla="*/ 9664123 h 99"/>
              <a:gd name="T56" fmla="*/ 14941756 w 292"/>
              <a:gd name="T57" fmla="*/ 6331527 h 99"/>
              <a:gd name="T58" fmla="*/ 16233253 w 292"/>
              <a:gd name="T59" fmla="*/ 3665682 h 99"/>
              <a:gd name="T60" fmla="*/ 17340065 w 292"/>
              <a:gd name="T61" fmla="*/ 1999673 h 99"/>
              <a:gd name="T62" fmla="*/ 20106882 w 292"/>
              <a:gd name="T63" fmla="*/ 333086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79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248275" y="3138289"/>
            <a:ext cx="19050" cy="57150"/>
          </a:xfrm>
          <a:custGeom>
            <a:avLst/>
            <a:gdLst>
              <a:gd name="T0" fmla="*/ 2147483647 w 43"/>
              <a:gd name="T1" fmla="*/ 2147483647 h 93"/>
              <a:gd name="T2" fmla="*/ 2147483647 w 43"/>
              <a:gd name="T3" fmla="*/ 2147483647 h 93"/>
              <a:gd name="T4" fmla="*/ 2147483647 w 43"/>
              <a:gd name="T5" fmla="*/ 2147483647 h 93"/>
              <a:gd name="T6" fmla="*/ 2147483647 w 43"/>
              <a:gd name="T7" fmla="*/ 2147483647 h 93"/>
              <a:gd name="T8" fmla="*/ 2147483647 w 43"/>
              <a:gd name="T9" fmla="*/ 2147483647 h 93"/>
              <a:gd name="T10" fmla="*/ 2147483647 w 43"/>
              <a:gd name="T11" fmla="*/ 2147483647 h 93"/>
              <a:gd name="T12" fmla="*/ 2147483647 w 43"/>
              <a:gd name="T13" fmla="*/ 2147483647 h 93"/>
              <a:gd name="T14" fmla="*/ 2147483647 w 43"/>
              <a:gd name="T15" fmla="*/ 2147483647 h 93"/>
              <a:gd name="T16" fmla="*/ 2147483647 w 43"/>
              <a:gd name="T17" fmla="*/ 2147483647 h 93"/>
              <a:gd name="T18" fmla="*/ 2147483647 w 43"/>
              <a:gd name="T19" fmla="*/ 2147483647 h 93"/>
              <a:gd name="T20" fmla="*/ 2147483647 w 43"/>
              <a:gd name="T21" fmla="*/ 2147483647 h 93"/>
              <a:gd name="T22" fmla="*/ 2147483647 w 43"/>
              <a:gd name="T23" fmla="*/ 2147483647 h 93"/>
              <a:gd name="T24" fmla="*/ 2147483647 w 43"/>
              <a:gd name="T25" fmla="*/ 2147483647 h 93"/>
              <a:gd name="T26" fmla="*/ 2147483647 w 43"/>
              <a:gd name="T27" fmla="*/ 2147483647 h 93"/>
              <a:gd name="T28" fmla="*/ 0 w 43"/>
              <a:gd name="T29" fmla="*/ 2147483647 h 93"/>
              <a:gd name="T30" fmla="*/ 2147483647 w 43"/>
              <a:gd name="T31" fmla="*/ 2147483647 h 93"/>
              <a:gd name="T32" fmla="*/ 2147483647 w 43"/>
              <a:gd name="T33" fmla="*/ 2147483647 h 93"/>
              <a:gd name="T34" fmla="*/ 2147483647 w 43"/>
              <a:gd name="T35" fmla="*/ 2147483647 h 93"/>
              <a:gd name="T36" fmla="*/ 2147483647 w 43"/>
              <a:gd name="T37" fmla="*/ 2147483647 h 93"/>
              <a:gd name="T38" fmla="*/ 2147483647 w 43"/>
              <a:gd name="T39" fmla="*/ 2147483647 h 93"/>
              <a:gd name="T40" fmla="*/ 2147483647 w 43"/>
              <a:gd name="T41" fmla="*/ 2147483647 h 93"/>
              <a:gd name="T42" fmla="*/ 2147483647 w 43"/>
              <a:gd name="T43" fmla="*/ 2147483647 h 93"/>
              <a:gd name="T44" fmla="*/ 2147483647 w 43"/>
              <a:gd name="T45" fmla="*/ 2147483647 h 93"/>
              <a:gd name="T46" fmla="*/ 2147483647 w 43"/>
              <a:gd name="T47" fmla="*/ 2147483647 h 93"/>
              <a:gd name="T48" fmla="*/ 2147483647 w 43"/>
              <a:gd name="T49" fmla="*/ 2147483647 h 93"/>
              <a:gd name="T50" fmla="*/ 2147483647 w 43"/>
              <a:gd name="T51" fmla="*/ 2147483647 h 93"/>
              <a:gd name="T52" fmla="*/ 2147483647 w 43"/>
              <a:gd name="T53" fmla="*/ 2147483647 h 93"/>
              <a:gd name="T54" fmla="*/ 2147483647 w 43"/>
              <a:gd name="T55" fmla="*/ 0 h 93"/>
              <a:gd name="T56" fmla="*/ 2147483647 w 43"/>
              <a:gd name="T57" fmla="*/ 0 h 93"/>
              <a:gd name="T58" fmla="*/ 2147483647 w 43"/>
              <a:gd name="T59" fmla="*/ 2147483647 h 93"/>
              <a:gd name="T60" fmla="*/ 2147483647 w 43"/>
              <a:gd name="T61" fmla="*/ 2147483647 h 93"/>
              <a:gd name="T62" fmla="*/ 2147483647 w 43"/>
              <a:gd name="T63" fmla="*/ 2147483647 h 93"/>
              <a:gd name="T64" fmla="*/ 2147483647 w 43"/>
              <a:gd name="T65" fmla="*/ 2147483647 h 93"/>
              <a:gd name="T66" fmla="*/ 2147483647 w 43"/>
              <a:gd name="T67" fmla="*/ 2147483647 h 93"/>
              <a:gd name="T68" fmla="*/ 2147483647 w 43"/>
              <a:gd name="T69" fmla="*/ 2147483647 h 93"/>
              <a:gd name="T70" fmla="*/ 2147483647 w 43"/>
              <a:gd name="T71" fmla="*/ 2147483647 h 93"/>
              <a:gd name="T72" fmla="*/ 2147483647 w 43"/>
              <a:gd name="T73" fmla="*/ 2147483647 h 93"/>
              <a:gd name="T74" fmla="*/ 2147483647 w 43"/>
              <a:gd name="T75" fmla="*/ 2147483647 h 93"/>
              <a:gd name="T76" fmla="*/ 2147483647 w 43"/>
              <a:gd name="T77" fmla="*/ 2147483647 h 93"/>
              <a:gd name="T78" fmla="*/ 2147483647 w 43"/>
              <a:gd name="T79" fmla="*/ 2147483647 h 93"/>
              <a:gd name="T80" fmla="*/ 2147483647 w 43"/>
              <a:gd name="T81" fmla="*/ 2147483647 h 93"/>
              <a:gd name="T82" fmla="*/ 2147483647 w 43"/>
              <a:gd name="T83" fmla="*/ 2147483647 h 93"/>
              <a:gd name="T84" fmla="*/ 2147483647 w 43"/>
              <a:gd name="T85" fmla="*/ 2147483647 h 93"/>
              <a:gd name="T86" fmla="*/ 2147483647 w 43"/>
              <a:gd name="T87" fmla="*/ 2147483647 h 93"/>
              <a:gd name="T88" fmla="*/ 2147483647 w 43"/>
              <a:gd name="T89" fmla="*/ 2147483647 h 93"/>
              <a:gd name="T90" fmla="*/ 2147483647 w 43"/>
              <a:gd name="T91" fmla="*/ 2147483647 h 93"/>
              <a:gd name="T92" fmla="*/ 2147483647 w 43"/>
              <a:gd name="T93" fmla="*/ 2147483647 h 93"/>
              <a:gd name="T94" fmla="*/ 2147483647 w 43"/>
              <a:gd name="T95" fmla="*/ 2147483647 h 93"/>
              <a:gd name="T96" fmla="*/ 2147483647 w 43"/>
              <a:gd name="T97" fmla="*/ 2147483647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80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67338" y="3143052"/>
            <a:ext cx="14287" cy="57150"/>
          </a:xfrm>
          <a:custGeom>
            <a:avLst/>
            <a:gdLst>
              <a:gd name="T0" fmla="*/ 2147483647 w 40"/>
              <a:gd name="T1" fmla="*/ 2147483647 h 56"/>
              <a:gd name="T2" fmla="*/ 2147483647 w 40"/>
              <a:gd name="T3" fmla="*/ 2147483647 h 56"/>
              <a:gd name="T4" fmla="*/ 2147483647 w 40"/>
              <a:gd name="T5" fmla="*/ 2147483647 h 56"/>
              <a:gd name="T6" fmla="*/ 2147483647 w 40"/>
              <a:gd name="T7" fmla="*/ 2147483647 h 56"/>
              <a:gd name="T8" fmla="*/ 2147483647 w 40"/>
              <a:gd name="T9" fmla="*/ 2147483647 h 56"/>
              <a:gd name="T10" fmla="*/ 2147483647 w 40"/>
              <a:gd name="T11" fmla="*/ 2147483647 h 56"/>
              <a:gd name="T12" fmla="*/ 0 w 40"/>
              <a:gd name="T13" fmla="*/ 2147483647 h 56"/>
              <a:gd name="T14" fmla="*/ 2147483647 w 40"/>
              <a:gd name="T15" fmla="*/ 2147483647 h 56"/>
              <a:gd name="T16" fmla="*/ 2147483647 w 40"/>
              <a:gd name="T17" fmla="*/ 0 h 56"/>
              <a:gd name="T18" fmla="*/ 2147483647 w 40"/>
              <a:gd name="T19" fmla="*/ 2147483647 h 56"/>
              <a:gd name="T20" fmla="*/ 2147483647 w 40"/>
              <a:gd name="T21" fmla="*/ 2147483647 h 56"/>
              <a:gd name="T22" fmla="*/ 2147483647 w 40"/>
              <a:gd name="T23" fmla="*/ 2147483647 h 56"/>
              <a:gd name="T24" fmla="*/ 2147483647 w 40"/>
              <a:gd name="T25" fmla="*/ 2147483647 h 56"/>
              <a:gd name="T26" fmla="*/ 2147483647 w 40"/>
              <a:gd name="T27" fmla="*/ 2147483647 h 56"/>
              <a:gd name="T28" fmla="*/ 2147483647 w 40"/>
              <a:gd name="T29" fmla="*/ 2147483647 h 56"/>
              <a:gd name="T30" fmla="*/ 2147483647 w 40"/>
              <a:gd name="T31" fmla="*/ 2147483647 h 56"/>
              <a:gd name="T32" fmla="*/ 2147483647 w 40"/>
              <a:gd name="T33" fmla="*/ 2147483647 h 56"/>
              <a:gd name="T34" fmla="*/ 2147483647 w 40"/>
              <a:gd name="T35" fmla="*/ 2147483647 h 56"/>
              <a:gd name="T36" fmla="*/ 2147483647 w 40"/>
              <a:gd name="T37" fmla="*/ 2147483647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81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854825" y="3803452"/>
            <a:ext cx="44450" cy="57150"/>
          </a:xfrm>
          <a:custGeom>
            <a:avLst/>
            <a:gdLst>
              <a:gd name="T0" fmla="*/ 0 w 106"/>
              <a:gd name="T1" fmla="*/ 2147483647 h 71"/>
              <a:gd name="T2" fmla="*/ 2147483647 w 106"/>
              <a:gd name="T3" fmla="*/ 2147483647 h 71"/>
              <a:gd name="T4" fmla="*/ 2147483647 w 106"/>
              <a:gd name="T5" fmla="*/ 2147483647 h 71"/>
              <a:gd name="T6" fmla="*/ 2147483647 w 106"/>
              <a:gd name="T7" fmla="*/ 2147483647 h 71"/>
              <a:gd name="T8" fmla="*/ 2147483647 w 106"/>
              <a:gd name="T9" fmla="*/ 2147483647 h 71"/>
              <a:gd name="T10" fmla="*/ 2147483647 w 106"/>
              <a:gd name="T11" fmla="*/ 2147483647 h 71"/>
              <a:gd name="T12" fmla="*/ 2147483647 w 106"/>
              <a:gd name="T13" fmla="*/ 2147483647 h 71"/>
              <a:gd name="T14" fmla="*/ 2147483647 w 106"/>
              <a:gd name="T15" fmla="*/ 2147483647 h 71"/>
              <a:gd name="T16" fmla="*/ 2147483647 w 106"/>
              <a:gd name="T17" fmla="*/ 0 h 71"/>
              <a:gd name="T18" fmla="*/ 2147483647 w 106"/>
              <a:gd name="T19" fmla="*/ 2147483647 h 71"/>
              <a:gd name="T20" fmla="*/ 2147483647 w 106"/>
              <a:gd name="T21" fmla="*/ 2147483647 h 71"/>
              <a:gd name="T22" fmla="*/ 2147483647 w 106"/>
              <a:gd name="T23" fmla="*/ 2147483647 h 71"/>
              <a:gd name="T24" fmla="*/ 2147483647 w 106"/>
              <a:gd name="T25" fmla="*/ 2147483647 h 71"/>
              <a:gd name="T26" fmla="*/ 2147483647 w 106"/>
              <a:gd name="T27" fmla="*/ 2147483647 h 71"/>
              <a:gd name="T28" fmla="*/ 2147483647 w 106"/>
              <a:gd name="T29" fmla="*/ 2147483647 h 71"/>
              <a:gd name="T30" fmla="*/ 2147483647 w 106"/>
              <a:gd name="T31" fmla="*/ 2147483647 h 71"/>
              <a:gd name="T32" fmla="*/ 2147483647 w 106"/>
              <a:gd name="T33" fmla="*/ 2147483647 h 71"/>
              <a:gd name="T34" fmla="*/ 2147483647 w 106"/>
              <a:gd name="T35" fmla="*/ 2147483647 h 71"/>
              <a:gd name="T36" fmla="*/ 2147483647 w 106"/>
              <a:gd name="T37" fmla="*/ 2147483647 h 71"/>
              <a:gd name="T38" fmla="*/ 2147483647 w 106"/>
              <a:gd name="T39" fmla="*/ 2147483647 h 71"/>
              <a:gd name="T40" fmla="*/ 2147483647 w 106"/>
              <a:gd name="T41" fmla="*/ 2147483647 h 71"/>
              <a:gd name="T42" fmla="*/ 2147483647 w 106"/>
              <a:gd name="T43" fmla="*/ 2147483647 h 71"/>
              <a:gd name="T44" fmla="*/ 2147483647 w 106"/>
              <a:gd name="T45" fmla="*/ 2147483647 h 71"/>
              <a:gd name="T46" fmla="*/ 2147483647 w 106"/>
              <a:gd name="T47" fmla="*/ 2147483647 h 71"/>
              <a:gd name="T48" fmla="*/ 2147483647 w 106"/>
              <a:gd name="T49" fmla="*/ 2147483647 h 71"/>
              <a:gd name="T50" fmla="*/ 2147483647 w 106"/>
              <a:gd name="T51" fmla="*/ 2147483647 h 71"/>
              <a:gd name="T52" fmla="*/ 2147483647 w 106"/>
              <a:gd name="T53" fmla="*/ 2147483647 h 71"/>
              <a:gd name="T54" fmla="*/ 2147483647 w 106"/>
              <a:gd name="T55" fmla="*/ 2147483647 h 71"/>
              <a:gd name="T56" fmla="*/ 2147483647 w 106"/>
              <a:gd name="T57" fmla="*/ 2147483647 h 71"/>
              <a:gd name="T58" fmla="*/ 2147483647 w 106"/>
              <a:gd name="T59" fmla="*/ 2147483647 h 71"/>
              <a:gd name="T60" fmla="*/ 2147483647 w 106"/>
              <a:gd name="T61" fmla="*/ 2147483647 h 71"/>
              <a:gd name="T62" fmla="*/ 2147483647 w 106"/>
              <a:gd name="T63" fmla="*/ 2147483647 h 71"/>
              <a:gd name="T64" fmla="*/ 2147483647 w 106"/>
              <a:gd name="T65" fmla="*/ 2147483647 h 71"/>
              <a:gd name="T66" fmla="*/ 2147483647 w 106"/>
              <a:gd name="T67" fmla="*/ 2147483647 h 71"/>
              <a:gd name="T68" fmla="*/ 2147483647 w 106"/>
              <a:gd name="T69" fmla="*/ 2147483647 h 71"/>
              <a:gd name="T70" fmla="*/ 2147483647 w 106"/>
              <a:gd name="T71" fmla="*/ 2147483647 h 71"/>
              <a:gd name="T72" fmla="*/ 2147483647 w 106"/>
              <a:gd name="T73" fmla="*/ 2147483647 h 71"/>
              <a:gd name="T74" fmla="*/ 2147483647 w 106"/>
              <a:gd name="T75" fmla="*/ 2147483647 h 71"/>
              <a:gd name="T76" fmla="*/ 2147483647 w 106"/>
              <a:gd name="T77" fmla="*/ 2147483647 h 71"/>
              <a:gd name="T78" fmla="*/ 2147483647 w 106"/>
              <a:gd name="T79" fmla="*/ 2147483647 h 71"/>
              <a:gd name="T80" fmla="*/ 2147483647 w 106"/>
              <a:gd name="T81" fmla="*/ 2147483647 h 71"/>
              <a:gd name="T82" fmla="*/ 2147483647 w 106"/>
              <a:gd name="T83" fmla="*/ 2147483647 h 71"/>
              <a:gd name="T84" fmla="*/ 2147483647 w 106"/>
              <a:gd name="T85" fmla="*/ 2147483647 h 71"/>
              <a:gd name="T86" fmla="*/ 2147483647 w 106"/>
              <a:gd name="T87" fmla="*/ 2147483647 h 71"/>
              <a:gd name="T88" fmla="*/ 2147483647 w 106"/>
              <a:gd name="T89" fmla="*/ 2147483647 h 71"/>
              <a:gd name="T90" fmla="*/ 0 w 106"/>
              <a:gd name="T91" fmla="*/ 2147483647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082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706688" y="5611614"/>
            <a:ext cx="65087" cy="55563"/>
            <a:chOff x="1654" y="3671"/>
            <a:chExt cx="49" cy="17"/>
          </a:xfrm>
        </p:grpSpPr>
        <p:sp>
          <p:nvSpPr>
            <p:cNvPr id="2588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0 w 59"/>
                <a:gd name="T1" fmla="*/ 1 h 43"/>
                <a:gd name="T2" fmla="*/ 1 w 59"/>
                <a:gd name="T3" fmla="*/ 0 h 43"/>
                <a:gd name="T4" fmla="*/ 1 w 59"/>
                <a:gd name="T5" fmla="*/ 0 h 43"/>
                <a:gd name="T6" fmla="*/ 1 w 59"/>
                <a:gd name="T7" fmla="*/ 0 h 43"/>
                <a:gd name="T8" fmla="*/ 1 w 59"/>
                <a:gd name="T9" fmla="*/ 0 h 43"/>
                <a:gd name="T10" fmla="*/ 1 w 59"/>
                <a:gd name="T11" fmla="*/ 0 h 43"/>
                <a:gd name="T12" fmla="*/ 1 w 59"/>
                <a:gd name="T13" fmla="*/ 0 h 43"/>
                <a:gd name="T14" fmla="*/ 0 w 59"/>
                <a:gd name="T15" fmla="*/ 0 h 43"/>
                <a:gd name="T16" fmla="*/ 0 w 59"/>
                <a:gd name="T17" fmla="*/ 0 h 43"/>
                <a:gd name="T18" fmla="*/ 0 w 59"/>
                <a:gd name="T19" fmla="*/ 0 h 43"/>
                <a:gd name="T20" fmla="*/ 0 w 59"/>
                <a:gd name="T21" fmla="*/ 0 h 43"/>
                <a:gd name="T22" fmla="*/ 0 w 59"/>
                <a:gd name="T23" fmla="*/ 0 h 43"/>
                <a:gd name="T24" fmla="*/ 0 w 59"/>
                <a:gd name="T25" fmla="*/ 0 h 43"/>
                <a:gd name="T26" fmla="*/ 0 w 59"/>
                <a:gd name="T27" fmla="*/ 0 h 43"/>
                <a:gd name="T28" fmla="*/ 0 w 59"/>
                <a:gd name="T29" fmla="*/ 0 h 43"/>
                <a:gd name="T30" fmla="*/ 0 w 59"/>
                <a:gd name="T31" fmla="*/ 0 h 43"/>
                <a:gd name="T32" fmla="*/ 0 w 59"/>
                <a:gd name="T33" fmla="*/ 0 h 43"/>
                <a:gd name="T34" fmla="*/ 0 w 59"/>
                <a:gd name="T35" fmla="*/ 0 h 43"/>
                <a:gd name="T36" fmla="*/ 0 w 59"/>
                <a:gd name="T37" fmla="*/ 0 h 43"/>
                <a:gd name="T38" fmla="*/ 0 w 59"/>
                <a:gd name="T39" fmla="*/ 1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89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0 h 51"/>
                <a:gd name="T2" fmla="*/ 0 w 67"/>
                <a:gd name="T3" fmla="*/ 0 h 51"/>
                <a:gd name="T4" fmla="*/ 0 w 67"/>
                <a:gd name="T5" fmla="*/ 0 h 51"/>
                <a:gd name="T6" fmla="*/ 1 w 67"/>
                <a:gd name="T7" fmla="*/ 0 h 51"/>
                <a:gd name="T8" fmla="*/ 1 w 67"/>
                <a:gd name="T9" fmla="*/ 0 h 51"/>
                <a:gd name="T10" fmla="*/ 1 w 67"/>
                <a:gd name="T11" fmla="*/ 0 h 51"/>
                <a:gd name="T12" fmla="*/ 1 w 67"/>
                <a:gd name="T13" fmla="*/ 0 h 51"/>
                <a:gd name="T14" fmla="*/ 1 w 67"/>
                <a:gd name="T15" fmla="*/ 0 h 51"/>
                <a:gd name="T16" fmla="*/ 1 w 67"/>
                <a:gd name="T17" fmla="*/ 0 h 51"/>
                <a:gd name="T18" fmla="*/ 1 w 67"/>
                <a:gd name="T19" fmla="*/ 0 h 51"/>
                <a:gd name="T20" fmla="*/ 0 w 67"/>
                <a:gd name="T21" fmla="*/ 0 h 51"/>
                <a:gd name="T22" fmla="*/ 0 w 67"/>
                <a:gd name="T23" fmla="*/ 0 h 51"/>
                <a:gd name="T24" fmla="*/ 0 w 67"/>
                <a:gd name="T25" fmla="*/ 0 h 51"/>
                <a:gd name="T26" fmla="*/ 0 w 67"/>
                <a:gd name="T27" fmla="*/ 0 h 51"/>
                <a:gd name="T28" fmla="*/ 0 w 67"/>
                <a:gd name="T29" fmla="*/ 0 h 51"/>
                <a:gd name="T30" fmla="*/ 0 w 67"/>
                <a:gd name="T31" fmla="*/ 0 h 51"/>
                <a:gd name="T32" fmla="*/ 0 w 67"/>
                <a:gd name="T33" fmla="*/ 0 h 51"/>
                <a:gd name="T34" fmla="*/ 0 w 67"/>
                <a:gd name="T35" fmla="*/ 1 h 51"/>
                <a:gd name="T36" fmla="*/ 0 w 67"/>
                <a:gd name="T37" fmla="*/ 1 h 51"/>
                <a:gd name="T38" fmla="*/ 0 w 67"/>
                <a:gd name="T39" fmla="*/ 1 h 51"/>
                <a:gd name="T40" fmla="*/ 0 w 67"/>
                <a:gd name="T41" fmla="*/ 1 h 51"/>
                <a:gd name="T42" fmla="*/ 0 w 67"/>
                <a:gd name="T43" fmla="*/ 0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083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54263" y="3406577"/>
            <a:ext cx="31750" cy="58737"/>
          </a:xfrm>
          <a:custGeom>
            <a:avLst/>
            <a:gdLst>
              <a:gd name="T0" fmla="*/ 0 w 80"/>
              <a:gd name="T1" fmla="*/ 2147483647 h 34"/>
              <a:gd name="T2" fmla="*/ 2147483647 w 80"/>
              <a:gd name="T3" fmla="*/ 2147483647 h 34"/>
              <a:gd name="T4" fmla="*/ 2147483647 w 80"/>
              <a:gd name="T5" fmla="*/ 2147483647 h 34"/>
              <a:gd name="T6" fmla="*/ 2147483647 w 80"/>
              <a:gd name="T7" fmla="*/ 2147483647 h 34"/>
              <a:gd name="T8" fmla="*/ 2147483647 w 80"/>
              <a:gd name="T9" fmla="*/ 2147483647 h 34"/>
              <a:gd name="T10" fmla="*/ 2147483647 w 80"/>
              <a:gd name="T11" fmla="*/ 2147483647 h 34"/>
              <a:gd name="T12" fmla="*/ 2147483647 w 80"/>
              <a:gd name="T13" fmla="*/ 2147483647 h 34"/>
              <a:gd name="T14" fmla="*/ 2147483647 w 80"/>
              <a:gd name="T15" fmla="*/ 2147483647 h 34"/>
              <a:gd name="T16" fmla="*/ 2147483647 w 80"/>
              <a:gd name="T17" fmla="*/ 2147483647 h 34"/>
              <a:gd name="T18" fmla="*/ 2147483647 w 80"/>
              <a:gd name="T19" fmla="*/ 2147483647 h 34"/>
              <a:gd name="T20" fmla="*/ 2147483647 w 80"/>
              <a:gd name="T21" fmla="*/ 2147483647 h 34"/>
              <a:gd name="T22" fmla="*/ 2147483647 w 80"/>
              <a:gd name="T23" fmla="*/ 2147483647 h 34"/>
              <a:gd name="T24" fmla="*/ 2147483647 w 80"/>
              <a:gd name="T25" fmla="*/ 2147483647 h 34"/>
              <a:gd name="T26" fmla="*/ 2147483647 w 80"/>
              <a:gd name="T27" fmla="*/ 2147483647 h 34"/>
              <a:gd name="T28" fmla="*/ 2147483647 w 80"/>
              <a:gd name="T29" fmla="*/ 2147483647 h 34"/>
              <a:gd name="T30" fmla="*/ 2147483647 w 80"/>
              <a:gd name="T31" fmla="*/ 2147483647 h 34"/>
              <a:gd name="T32" fmla="*/ 2147483647 w 80"/>
              <a:gd name="T33" fmla="*/ 2147483647 h 34"/>
              <a:gd name="T34" fmla="*/ 2147483647 w 80"/>
              <a:gd name="T35" fmla="*/ 2147483647 h 34"/>
              <a:gd name="T36" fmla="*/ 2147483647 w 80"/>
              <a:gd name="T37" fmla="*/ 2147483647 h 34"/>
              <a:gd name="T38" fmla="*/ 2147483647 w 80"/>
              <a:gd name="T39" fmla="*/ 0 h 34"/>
              <a:gd name="T40" fmla="*/ 2147483647 w 80"/>
              <a:gd name="T41" fmla="*/ 0 h 34"/>
              <a:gd name="T42" fmla="*/ 2147483647 w 80"/>
              <a:gd name="T43" fmla="*/ 2147483647 h 34"/>
              <a:gd name="T44" fmla="*/ 2147483647 w 80"/>
              <a:gd name="T45" fmla="*/ 2147483647 h 34"/>
              <a:gd name="T46" fmla="*/ 2147483647 w 80"/>
              <a:gd name="T47" fmla="*/ 2147483647 h 34"/>
              <a:gd name="T48" fmla="*/ 2147483647 w 80"/>
              <a:gd name="T49" fmla="*/ 2147483647 h 34"/>
              <a:gd name="T50" fmla="*/ 2147483647 w 80"/>
              <a:gd name="T51" fmla="*/ 2147483647 h 34"/>
              <a:gd name="T52" fmla="*/ 2147483647 w 80"/>
              <a:gd name="T53" fmla="*/ 2147483647 h 34"/>
              <a:gd name="T54" fmla="*/ 2147483647 w 80"/>
              <a:gd name="T55" fmla="*/ 2147483647 h 34"/>
              <a:gd name="T56" fmla="*/ 2147483647 w 80"/>
              <a:gd name="T57" fmla="*/ 2147483647 h 34"/>
              <a:gd name="T58" fmla="*/ 2147483647 w 80"/>
              <a:gd name="T59" fmla="*/ 2147483647 h 34"/>
              <a:gd name="T60" fmla="*/ 0 w 80"/>
              <a:gd name="T61" fmla="*/ 2147483647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84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409825" y="3412927"/>
            <a:ext cx="1588" cy="58737"/>
          </a:xfrm>
          <a:custGeom>
            <a:avLst/>
            <a:gdLst>
              <a:gd name="T0" fmla="*/ 0 w 7"/>
              <a:gd name="T1" fmla="*/ 0 h 13"/>
              <a:gd name="T2" fmla="*/ 2147483647 w 7"/>
              <a:gd name="T3" fmla="*/ 2147483647 h 13"/>
              <a:gd name="T4" fmla="*/ 2147483647 w 7"/>
              <a:gd name="T5" fmla="*/ 2147483647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85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422525" y="3414514"/>
            <a:ext cx="6350" cy="58738"/>
          </a:xfrm>
          <a:custGeom>
            <a:avLst/>
            <a:gdLst>
              <a:gd name="T0" fmla="*/ 0 w 20"/>
              <a:gd name="T1" fmla="*/ 0 h 6"/>
              <a:gd name="T2" fmla="*/ 2147483647 w 20"/>
              <a:gd name="T3" fmla="*/ 2147483647 h 6"/>
              <a:gd name="T4" fmla="*/ 2147483647 w 20"/>
              <a:gd name="T5" fmla="*/ 2147483647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86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436813" y="3404989"/>
            <a:ext cx="7937" cy="57150"/>
          </a:xfrm>
          <a:custGeom>
            <a:avLst/>
            <a:gdLst>
              <a:gd name="T0" fmla="*/ 0 w 14"/>
              <a:gd name="T1" fmla="*/ 2147483647 h 12"/>
              <a:gd name="T2" fmla="*/ 2147483647 w 14"/>
              <a:gd name="T3" fmla="*/ 0 h 12"/>
              <a:gd name="T4" fmla="*/ 0 w 14"/>
              <a:gd name="T5" fmla="*/ 2147483647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87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16175" y="3397052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2147483647 h 7"/>
              <a:gd name="T4" fmla="*/ 2147483647 w 27"/>
              <a:gd name="T5" fmla="*/ 2147483647 h 7"/>
              <a:gd name="T6" fmla="*/ 2147483647 w 27"/>
              <a:gd name="T7" fmla="*/ 2147483647 h 7"/>
              <a:gd name="T8" fmla="*/ 2147483647 w 27"/>
              <a:gd name="T9" fmla="*/ 2147483647 h 7"/>
              <a:gd name="T10" fmla="*/ 2147483647 w 27"/>
              <a:gd name="T11" fmla="*/ 2147483647 h 7"/>
              <a:gd name="T12" fmla="*/ 2147483647 w 27"/>
              <a:gd name="T13" fmla="*/ 2147483647 h 7"/>
              <a:gd name="T14" fmla="*/ 2147483647 w 27"/>
              <a:gd name="T15" fmla="*/ 2147483647 h 7"/>
              <a:gd name="T16" fmla="*/ 2147483647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88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465388" y="3425627"/>
            <a:ext cx="14287" cy="60325"/>
          </a:xfrm>
          <a:custGeom>
            <a:avLst/>
            <a:gdLst>
              <a:gd name="T0" fmla="*/ 0 w 27"/>
              <a:gd name="T1" fmla="*/ 0 h 6"/>
              <a:gd name="T2" fmla="*/ 2147483647 w 27"/>
              <a:gd name="T3" fmla="*/ 2147483647 h 6"/>
              <a:gd name="T4" fmla="*/ 2147483647 w 27"/>
              <a:gd name="T5" fmla="*/ 2147483647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89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473325" y="3422452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0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473325" y="3447852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1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473325" y="3443089"/>
            <a:ext cx="11113" cy="58738"/>
          </a:xfrm>
          <a:custGeom>
            <a:avLst/>
            <a:gdLst>
              <a:gd name="T0" fmla="*/ 0 w 20"/>
              <a:gd name="T1" fmla="*/ 2147483647 h 24"/>
              <a:gd name="T2" fmla="*/ 2147483647 w 20"/>
              <a:gd name="T3" fmla="*/ 2147483647 h 24"/>
              <a:gd name="T4" fmla="*/ 2147483647 w 20"/>
              <a:gd name="T5" fmla="*/ 2147483647 h 24"/>
              <a:gd name="T6" fmla="*/ 2147483647 w 20"/>
              <a:gd name="T7" fmla="*/ 2147483647 h 24"/>
              <a:gd name="T8" fmla="*/ 2147483647 w 20"/>
              <a:gd name="T9" fmla="*/ 2147483647 h 24"/>
              <a:gd name="T10" fmla="*/ 2147483647 w 20"/>
              <a:gd name="T11" fmla="*/ 2147483647 h 24"/>
              <a:gd name="T12" fmla="*/ 2147483647 w 20"/>
              <a:gd name="T13" fmla="*/ 2147483647 h 24"/>
              <a:gd name="T14" fmla="*/ 2147483647 w 20"/>
              <a:gd name="T15" fmla="*/ 2147483647 h 24"/>
              <a:gd name="T16" fmla="*/ 2147483647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2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479675" y="3471664"/>
            <a:ext cx="17463" cy="55563"/>
          </a:xfrm>
          <a:custGeom>
            <a:avLst/>
            <a:gdLst>
              <a:gd name="T0" fmla="*/ 2147483647 w 33"/>
              <a:gd name="T1" fmla="*/ 2147483647 h 25"/>
              <a:gd name="T2" fmla="*/ 0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2147483647 h 25"/>
              <a:gd name="T8" fmla="*/ 2147483647 w 33"/>
              <a:gd name="T9" fmla="*/ 2147483647 h 25"/>
              <a:gd name="T10" fmla="*/ 2147483647 w 33"/>
              <a:gd name="T11" fmla="*/ 2147483647 h 25"/>
              <a:gd name="T12" fmla="*/ 2147483647 w 33"/>
              <a:gd name="T13" fmla="*/ 0 h 25"/>
              <a:gd name="T14" fmla="*/ 2147483647 w 33"/>
              <a:gd name="T15" fmla="*/ 0 h 25"/>
              <a:gd name="T16" fmla="*/ 2147483647 w 33"/>
              <a:gd name="T17" fmla="*/ 214748364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3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486025" y="3519289"/>
            <a:ext cx="15875" cy="57150"/>
          </a:xfrm>
          <a:custGeom>
            <a:avLst/>
            <a:gdLst>
              <a:gd name="T0" fmla="*/ 0 w 40"/>
              <a:gd name="T1" fmla="*/ 0 h 18"/>
              <a:gd name="T2" fmla="*/ 2147483647 w 40"/>
              <a:gd name="T3" fmla="*/ 2147483647 h 18"/>
              <a:gd name="T4" fmla="*/ 2147483647 w 40"/>
              <a:gd name="T5" fmla="*/ 2147483647 h 18"/>
              <a:gd name="T6" fmla="*/ 2147483647 w 40"/>
              <a:gd name="T7" fmla="*/ 2147483647 h 18"/>
              <a:gd name="T8" fmla="*/ 2147483647 w 40"/>
              <a:gd name="T9" fmla="*/ 2147483647 h 18"/>
              <a:gd name="T10" fmla="*/ 2147483647 w 40"/>
              <a:gd name="T11" fmla="*/ 2147483647 h 18"/>
              <a:gd name="T12" fmla="*/ 2147483647 w 40"/>
              <a:gd name="T13" fmla="*/ 2147483647 h 18"/>
              <a:gd name="T14" fmla="*/ 2147483647 w 40"/>
              <a:gd name="T15" fmla="*/ 0 h 18"/>
              <a:gd name="T16" fmla="*/ 2147483647 w 40"/>
              <a:gd name="T17" fmla="*/ 0 h 18"/>
              <a:gd name="T18" fmla="*/ 2147483647 w 40"/>
              <a:gd name="T19" fmla="*/ 0 h 18"/>
              <a:gd name="T20" fmla="*/ 2147483647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4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495550" y="3544689"/>
            <a:ext cx="3175" cy="57150"/>
          </a:xfrm>
          <a:custGeom>
            <a:avLst/>
            <a:gdLst>
              <a:gd name="T0" fmla="*/ 2147483647 w 11"/>
              <a:gd name="T1" fmla="*/ 2147483647 h 32"/>
              <a:gd name="T2" fmla="*/ 2147483647 w 11"/>
              <a:gd name="T3" fmla="*/ 2147483647 h 32"/>
              <a:gd name="T4" fmla="*/ 2147483647 w 11"/>
              <a:gd name="T5" fmla="*/ 2147483647 h 32"/>
              <a:gd name="T6" fmla="*/ 2147483647 w 11"/>
              <a:gd name="T7" fmla="*/ 2147483647 h 32"/>
              <a:gd name="T8" fmla="*/ 2147483647 w 11"/>
              <a:gd name="T9" fmla="*/ 2147483647 h 32"/>
              <a:gd name="T10" fmla="*/ 2147483647 w 11"/>
              <a:gd name="T11" fmla="*/ 2147483647 h 32"/>
              <a:gd name="T12" fmla="*/ 2147483647 w 11"/>
              <a:gd name="T13" fmla="*/ 0 h 32"/>
              <a:gd name="T14" fmla="*/ 2147483647 w 11"/>
              <a:gd name="T15" fmla="*/ 2147483647 h 32"/>
              <a:gd name="T16" fmla="*/ 2147483647 w 11"/>
              <a:gd name="T17" fmla="*/ 2147483647 h 32"/>
              <a:gd name="T18" fmla="*/ 2147483647 w 11"/>
              <a:gd name="T19" fmla="*/ 2147483647 h 32"/>
              <a:gd name="T20" fmla="*/ 0 w 11"/>
              <a:gd name="T21" fmla="*/ 2147483647 h 32"/>
              <a:gd name="T22" fmla="*/ 0 w 11"/>
              <a:gd name="T23" fmla="*/ 2147483647 h 32"/>
              <a:gd name="T24" fmla="*/ 2147483647 w 11"/>
              <a:gd name="T25" fmla="*/ 2147483647 h 32"/>
              <a:gd name="T26" fmla="*/ 2147483647 w 11"/>
              <a:gd name="T27" fmla="*/ 2147483647 h 32"/>
              <a:gd name="T28" fmla="*/ 2147483647 w 11"/>
              <a:gd name="T29" fmla="*/ 2147483647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5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17775" y="3574852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2147483647 h 24"/>
              <a:gd name="T4" fmla="*/ 2147483647 w 14"/>
              <a:gd name="T5" fmla="*/ 2147483647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6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479675" y="3587552"/>
            <a:ext cx="15875" cy="58737"/>
          </a:xfrm>
          <a:custGeom>
            <a:avLst/>
            <a:gdLst>
              <a:gd name="T0" fmla="*/ 0 w 27"/>
              <a:gd name="T1" fmla="*/ 2147483647 h 18"/>
              <a:gd name="T2" fmla="*/ 2147483647 w 27"/>
              <a:gd name="T3" fmla="*/ 2147483647 h 18"/>
              <a:gd name="T4" fmla="*/ 2147483647 w 27"/>
              <a:gd name="T5" fmla="*/ 2147483647 h 18"/>
              <a:gd name="T6" fmla="*/ 2147483647 w 27"/>
              <a:gd name="T7" fmla="*/ 2147483647 h 18"/>
              <a:gd name="T8" fmla="*/ 2147483647 w 27"/>
              <a:gd name="T9" fmla="*/ 0 h 18"/>
              <a:gd name="T10" fmla="*/ 2147483647 w 27"/>
              <a:gd name="T11" fmla="*/ 0 h 18"/>
              <a:gd name="T12" fmla="*/ 2147483647 w 27"/>
              <a:gd name="T13" fmla="*/ 2147483647 h 18"/>
              <a:gd name="T14" fmla="*/ 2147483647 w 27"/>
              <a:gd name="T15" fmla="*/ 2147483647 h 18"/>
              <a:gd name="T16" fmla="*/ 2147483647 w 27"/>
              <a:gd name="T17" fmla="*/ 2147483647 h 18"/>
              <a:gd name="T18" fmla="*/ 2147483647 w 27"/>
              <a:gd name="T19" fmla="*/ 2147483647 h 18"/>
              <a:gd name="T20" fmla="*/ 0 w 27"/>
              <a:gd name="T21" fmla="*/ 2147483647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7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465388" y="3652639"/>
            <a:ext cx="23812" cy="57150"/>
          </a:xfrm>
          <a:custGeom>
            <a:avLst/>
            <a:gdLst>
              <a:gd name="T0" fmla="*/ 0 w 47"/>
              <a:gd name="T1" fmla="*/ 2147483647 h 49"/>
              <a:gd name="T2" fmla="*/ 2147483647 w 47"/>
              <a:gd name="T3" fmla="*/ 2147483647 h 49"/>
              <a:gd name="T4" fmla="*/ 2147483647 w 47"/>
              <a:gd name="T5" fmla="*/ 2147483647 h 49"/>
              <a:gd name="T6" fmla="*/ 2147483647 w 47"/>
              <a:gd name="T7" fmla="*/ 2147483647 h 49"/>
              <a:gd name="T8" fmla="*/ 2147483647 w 47"/>
              <a:gd name="T9" fmla="*/ 2147483647 h 49"/>
              <a:gd name="T10" fmla="*/ 2147483647 w 47"/>
              <a:gd name="T11" fmla="*/ 2147483647 h 49"/>
              <a:gd name="T12" fmla="*/ 2147483647 w 47"/>
              <a:gd name="T13" fmla="*/ 2147483647 h 49"/>
              <a:gd name="T14" fmla="*/ 2147483647 w 47"/>
              <a:gd name="T15" fmla="*/ 2147483647 h 49"/>
              <a:gd name="T16" fmla="*/ 2147483647 w 47"/>
              <a:gd name="T17" fmla="*/ 2147483647 h 49"/>
              <a:gd name="T18" fmla="*/ 2147483647 w 47"/>
              <a:gd name="T19" fmla="*/ 2147483647 h 49"/>
              <a:gd name="T20" fmla="*/ 2147483647 w 47"/>
              <a:gd name="T21" fmla="*/ 2147483647 h 49"/>
              <a:gd name="T22" fmla="*/ 2147483647 w 47"/>
              <a:gd name="T23" fmla="*/ 2147483647 h 49"/>
              <a:gd name="T24" fmla="*/ 2147483647 w 47"/>
              <a:gd name="T25" fmla="*/ 2147483647 h 49"/>
              <a:gd name="T26" fmla="*/ 2147483647 w 47"/>
              <a:gd name="T27" fmla="*/ 2147483647 h 49"/>
              <a:gd name="T28" fmla="*/ 2147483647 w 47"/>
              <a:gd name="T29" fmla="*/ 2147483647 h 49"/>
              <a:gd name="T30" fmla="*/ 2147483647 w 47"/>
              <a:gd name="T31" fmla="*/ 2147483647 h 49"/>
              <a:gd name="T32" fmla="*/ 2147483647 w 47"/>
              <a:gd name="T33" fmla="*/ 0 h 49"/>
              <a:gd name="T34" fmla="*/ 2147483647 w 47"/>
              <a:gd name="T35" fmla="*/ 0 h 49"/>
              <a:gd name="T36" fmla="*/ 2147483647 w 47"/>
              <a:gd name="T37" fmla="*/ 2147483647 h 49"/>
              <a:gd name="T38" fmla="*/ 2147483647 w 47"/>
              <a:gd name="T39" fmla="*/ 2147483647 h 49"/>
              <a:gd name="T40" fmla="*/ 2147483647 w 47"/>
              <a:gd name="T41" fmla="*/ 2147483647 h 49"/>
              <a:gd name="T42" fmla="*/ 2147483647 w 47"/>
              <a:gd name="T43" fmla="*/ 2147483647 h 49"/>
              <a:gd name="T44" fmla="*/ 2147483647 w 47"/>
              <a:gd name="T45" fmla="*/ 2147483647 h 49"/>
              <a:gd name="T46" fmla="*/ 0 w 47"/>
              <a:gd name="T47" fmla="*/ 2147483647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8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484438" y="3628827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2147483647 h 9"/>
              <a:gd name="T4" fmla="*/ 2147483647 w 26"/>
              <a:gd name="T5" fmla="*/ 2147483647 h 9"/>
              <a:gd name="T6" fmla="*/ 2147483647 w 26"/>
              <a:gd name="T7" fmla="*/ 2147483647 h 9"/>
              <a:gd name="T8" fmla="*/ 2147483647 w 26"/>
              <a:gd name="T9" fmla="*/ 2147483647 h 9"/>
              <a:gd name="T10" fmla="*/ 2147483647 w 26"/>
              <a:gd name="T11" fmla="*/ 2147483647 h 9"/>
              <a:gd name="T12" fmla="*/ 2147483647 w 26"/>
              <a:gd name="T13" fmla="*/ 2147483647 h 9"/>
              <a:gd name="T14" fmla="*/ 2147483647 w 26"/>
              <a:gd name="T15" fmla="*/ 2147483647 h 9"/>
              <a:gd name="T16" fmla="*/ 2147483647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99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966913" y="3300214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2147483647 h 18"/>
              <a:gd name="T4" fmla="*/ 2147483647 w 39"/>
              <a:gd name="T5" fmla="*/ 2147483647 h 18"/>
              <a:gd name="T6" fmla="*/ 2147483647 w 39"/>
              <a:gd name="T7" fmla="*/ 2147483647 h 18"/>
              <a:gd name="T8" fmla="*/ 2147483647 w 39"/>
              <a:gd name="T9" fmla="*/ 2147483647 h 18"/>
              <a:gd name="T10" fmla="*/ 2147483647 w 39"/>
              <a:gd name="T11" fmla="*/ 2147483647 h 18"/>
              <a:gd name="T12" fmla="*/ 2147483647 w 39"/>
              <a:gd name="T13" fmla="*/ 2147483647 h 18"/>
              <a:gd name="T14" fmla="*/ 2147483647 w 39"/>
              <a:gd name="T15" fmla="*/ 2147483647 h 18"/>
              <a:gd name="T16" fmla="*/ 2147483647 w 39"/>
              <a:gd name="T17" fmla="*/ 2147483647 h 18"/>
              <a:gd name="T18" fmla="*/ 2147483647 w 39"/>
              <a:gd name="T19" fmla="*/ 2147483647 h 18"/>
              <a:gd name="T20" fmla="*/ 2147483647 w 39"/>
              <a:gd name="T21" fmla="*/ 2147483647 h 18"/>
              <a:gd name="T22" fmla="*/ 2147483647 w 39"/>
              <a:gd name="T23" fmla="*/ 2147483647 h 18"/>
              <a:gd name="T24" fmla="*/ 2147483647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100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092325" y="3133527"/>
            <a:ext cx="131763" cy="195262"/>
            <a:chOff x="1199" y="2121"/>
            <a:chExt cx="97" cy="123"/>
          </a:xfrm>
        </p:grpSpPr>
        <p:sp>
          <p:nvSpPr>
            <p:cNvPr id="2578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0 h 25"/>
                <a:gd name="T2" fmla="*/ 0 w 52"/>
                <a:gd name="T3" fmla="*/ 0 h 25"/>
                <a:gd name="T4" fmla="*/ 0 w 52"/>
                <a:gd name="T5" fmla="*/ 0 h 25"/>
                <a:gd name="T6" fmla="*/ 0 w 52"/>
                <a:gd name="T7" fmla="*/ 0 h 25"/>
                <a:gd name="T8" fmla="*/ 0 w 52"/>
                <a:gd name="T9" fmla="*/ 0 h 25"/>
                <a:gd name="T10" fmla="*/ 0 w 52"/>
                <a:gd name="T11" fmla="*/ 0 h 25"/>
                <a:gd name="T12" fmla="*/ 0 w 52"/>
                <a:gd name="T13" fmla="*/ 0 h 25"/>
                <a:gd name="T14" fmla="*/ 1 w 52"/>
                <a:gd name="T15" fmla="*/ 0 h 25"/>
                <a:gd name="T16" fmla="*/ 1 w 52"/>
                <a:gd name="T17" fmla="*/ 0 h 25"/>
                <a:gd name="T18" fmla="*/ 0 w 52"/>
                <a:gd name="T19" fmla="*/ 0 h 25"/>
                <a:gd name="T20" fmla="*/ 0 w 52"/>
                <a:gd name="T21" fmla="*/ 0 h 25"/>
                <a:gd name="T22" fmla="*/ 0 w 52"/>
                <a:gd name="T23" fmla="*/ 0 h 25"/>
                <a:gd name="T24" fmla="*/ 0 w 52"/>
                <a:gd name="T25" fmla="*/ 0 h 25"/>
                <a:gd name="T26" fmla="*/ 0 w 52"/>
                <a:gd name="T27" fmla="*/ 0 h 25"/>
                <a:gd name="T28" fmla="*/ 0 w 52"/>
                <a:gd name="T29" fmla="*/ 0 h 25"/>
                <a:gd name="T30" fmla="*/ 0 w 52"/>
                <a:gd name="T31" fmla="*/ 0 h 25"/>
                <a:gd name="T32" fmla="*/ 0 w 52"/>
                <a:gd name="T33" fmla="*/ 0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79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0 h 13"/>
                <a:gd name="T4" fmla="*/ 0 w 33"/>
                <a:gd name="T5" fmla="*/ 0 h 13"/>
                <a:gd name="T6" fmla="*/ 0 w 33"/>
                <a:gd name="T7" fmla="*/ 0 h 13"/>
                <a:gd name="T8" fmla="*/ 0 w 33"/>
                <a:gd name="T9" fmla="*/ 0 h 13"/>
                <a:gd name="T10" fmla="*/ 0 w 33"/>
                <a:gd name="T11" fmla="*/ 0 h 13"/>
                <a:gd name="T12" fmla="*/ 0 w 33"/>
                <a:gd name="T13" fmla="*/ 0 h 13"/>
                <a:gd name="T14" fmla="*/ 0 w 33"/>
                <a:gd name="T15" fmla="*/ 0 h 13"/>
                <a:gd name="T16" fmla="*/ 0 w 33"/>
                <a:gd name="T17" fmla="*/ 0 h 13"/>
                <a:gd name="T18" fmla="*/ 0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0 w 67"/>
                <a:gd name="T1" fmla="*/ 0 h 86"/>
                <a:gd name="T2" fmla="*/ 0 w 67"/>
                <a:gd name="T3" fmla="*/ 0 h 86"/>
                <a:gd name="T4" fmla="*/ 0 w 67"/>
                <a:gd name="T5" fmla="*/ 0 h 86"/>
                <a:gd name="T6" fmla="*/ 0 w 67"/>
                <a:gd name="T7" fmla="*/ 0 h 86"/>
                <a:gd name="T8" fmla="*/ 0 w 67"/>
                <a:gd name="T9" fmla="*/ 0 h 86"/>
                <a:gd name="T10" fmla="*/ 0 w 67"/>
                <a:gd name="T11" fmla="*/ 0 h 86"/>
                <a:gd name="T12" fmla="*/ 0 w 67"/>
                <a:gd name="T13" fmla="*/ 0 h 86"/>
                <a:gd name="T14" fmla="*/ 0 w 67"/>
                <a:gd name="T15" fmla="*/ 0 h 86"/>
                <a:gd name="T16" fmla="*/ 0 w 67"/>
                <a:gd name="T17" fmla="*/ 0 h 86"/>
                <a:gd name="T18" fmla="*/ 0 w 67"/>
                <a:gd name="T19" fmla="*/ 0 h 86"/>
                <a:gd name="T20" fmla="*/ 1 w 67"/>
                <a:gd name="T21" fmla="*/ 0 h 86"/>
                <a:gd name="T22" fmla="*/ 1 w 67"/>
                <a:gd name="T23" fmla="*/ 1 h 86"/>
                <a:gd name="T24" fmla="*/ 1 w 67"/>
                <a:gd name="T25" fmla="*/ 1 h 86"/>
                <a:gd name="T26" fmla="*/ 1 w 67"/>
                <a:gd name="T27" fmla="*/ 1 h 86"/>
                <a:gd name="T28" fmla="*/ 1 w 67"/>
                <a:gd name="T29" fmla="*/ 1 h 86"/>
                <a:gd name="T30" fmla="*/ 1 w 67"/>
                <a:gd name="T31" fmla="*/ 1 h 86"/>
                <a:gd name="T32" fmla="*/ 0 w 67"/>
                <a:gd name="T33" fmla="*/ 1 h 86"/>
                <a:gd name="T34" fmla="*/ 0 w 67"/>
                <a:gd name="T35" fmla="*/ 1 h 86"/>
                <a:gd name="T36" fmla="*/ 0 w 67"/>
                <a:gd name="T37" fmla="*/ 1 h 86"/>
                <a:gd name="T38" fmla="*/ 0 w 67"/>
                <a:gd name="T39" fmla="*/ 1 h 86"/>
                <a:gd name="T40" fmla="*/ 0 w 67"/>
                <a:gd name="T41" fmla="*/ 0 h 86"/>
                <a:gd name="T42" fmla="*/ 0 w 67"/>
                <a:gd name="T43" fmla="*/ 0 h 86"/>
                <a:gd name="T44" fmla="*/ 0 w 67"/>
                <a:gd name="T45" fmla="*/ 0 h 86"/>
                <a:gd name="T46" fmla="*/ 0 w 67"/>
                <a:gd name="T47" fmla="*/ 0 h 86"/>
                <a:gd name="T48" fmla="*/ 0 w 67"/>
                <a:gd name="T49" fmla="*/ 0 h 86"/>
                <a:gd name="T50" fmla="*/ 0 w 67"/>
                <a:gd name="T51" fmla="*/ 0 h 86"/>
                <a:gd name="T52" fmla="*/ 0 w 67"/>
                <a:gd name="T53" fmla="*/ 0 h 86"/>
                <a:gd name="T54" fmla="*/ 0 w 67"/>
                <a:gd name="T55" fmla="*/ 0 h 86"/>
                <a:gd name="T56" fmla="*/ 0 w 67"/>
                <a:gd name="T57" fmla="*/ 0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0 w 49"/>
                <a:gd name="T1" fmla="*/ 0 h 86"/>
                <a:gd name="T2" fmla="*/ 0 w 49"/>
                <a:gd name="T3" fmla="*/ 0 h 86"/>
                <a:gd name="T4" fmla="*/ 0 w 49"/>
                <a:gd name="T5" fmla="*/ 0 h 86"/>
                <a:gd name="T6" fmla="*/ 0 w 49"/>
                <a:gd name="T7" fmla="*/ 0 h 86"/>
                <a:gd name="T8" fmla="*/ 0 w 49"/>
                <a:gd name="T9" fmla="*/ 0 h 86"/>
                <a:gd name="T10" fmla="*/ 0 w 49"/>
                <a:gd name="T11" fmla="*/ 0 h 86"/>
                <a:gd name="T12" fmla="*/ 0 w 49"/>
                <a:gd name="T13" fmla="*/ 0 h 86"/>
                <a:gd name="T14" fmla="*/ 0 w 49"/>
                <a:gd name="T15" fmla="*/ 0 h 86"/>
                <a:gd name="T16" fmla="*/ 0 w 49"/>
                <a:gd name="T17" fmla="*/ 1 h 86"/>
                <a:gd name="T18" fmla="*/ 0 w 49"/>
                <a:gd name="T19" fmla="*/ 1 h 86"/>
                <a:gd name="T20" fmla="*/ 0 w 49"/>
                <a:gd name="T21" fmla="*/ 1 h 86"/>
                <a:gd name="T22" fmla="*/ 0 w 49"/>
                <a:gd name="T23" fmla="*/ 1 h 86"/>
                <a:gd name="T24" fmla="*/ 0 w 49"/>
                <a:gd name="T25" fmla="*/ 1 h 86"/>
                <a:gd name="T26" fmla="*/ 0 w 49"/>
                <a:gd name="T27" fmla="*/ 1 h 86"/>
                <a:gd name="T28" fmla="*/ 0 w 49"/>
                <a:gd name="T29" fmla="*/ 1 h 86"/>
                <a:gd name="T30" fmla="*/ 0 w 49"/>
                <a:gd name="T31" fmla="*/ 1 h 86"/>
                <a:gd name="T32" fmla="*/ 0 w 49"/>
                <a:gd name="T33" fmla="*/ 1 h 86"/>
                <a:gd name="T34" fmla="*/ 1 w 49"/>
                <a:gd name="T35" fmla="*/ 1 h 86"/>
                <a:gd name="T36" fmla="*/ 1 w 49"/>
                <a:gd name="T37" fmla="*/ 1 h 86"/>
                <a:gd name="T38" fmla="*/ 1 w 49"/>
                <a:gd name="T39" fmla="*/ 0 h 86"/>
                <a:gd name="T40" fmla="*/ 1 w 49"/>
                <a:gd name="T41" fmla="*/ 0 h 86"/>
                <a:gd name="T42" fmla="*/ 1 w 49"/>
                <a:gd name="T43" fmla="*/ 0 h 86"/>
                <a:gd name="T44" fmla="*/ 1 w 49"/>
                <a:gd name="T45" fmla="*/ 0 h 86"/>
                <a:gd name="T46" fmla="*/ 1 w 49"/>
                <a:gd name="T47" fmla="*/ 0 h 86"/>
                <a:gd name="T48" fmla="*/ 0 w 49"/>
                <a:gd name="T49" fmla="*/ 0 h 86"/>
                <a:gd name="T50" fmla="*/ 0 w 49"/>
                <a:gd name="T51" fmla="*/ 0 h 86"/>
                <a:gd name="T52" fmla="*/ 0 w 49"/>
                <a:gd name="T53" fmla="*/ 0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0 h 12"/>
                <a:gd name="T2" fmla="*/ 0 w 6"/>
                <a:gd name="T3" fmla="*/ 0 h 12"/>
                <a:gd name="T4" fmla="*/ 0 w 6"/>
                <a:gd name="T5" fmla="*/ 0 h 12"/>
                <a:gd name="T6" fmla="*/ 0 w 6"/>
                <a:gd name="T7" fmla="*/ 0 h 12"/>
                <a:gd name="T8" fmla="*/ 0 w 6"/>
                <a:gd name="T9" fmla="*/ 0 h 12"/>
                <a:gd name="T10" fmla="*/ 0 w 6"/>
                <a:gd name="T11" fmla="*/ 0 h 12"/>
                <a:gd name="T12" fmla="*/ 0 w 6"/>
                <a:gd name="T13" fmla="*/ 0 h 12"/>
                <a:gd name="T14" fmla="*/ 0 w 6"/>
                <a:gd name="T15" fmla="*/ 0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83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0 w 39"/>
                <a:gd name="T3" fmla="*/ 0 h 48"/>
                <a:gd name="T4" fmla="*/ 0 w 39"/>
                <a:gd name="T5" fmla="*/ 0 h 48"/>
                <a:gd name="T6" fmla="*/ 0 w 39"/>
                <a:gd name="T7" fmla="*/ 0 h 48"/>
                <a:gd name="T8" fmla="*/ 0 w 39"/>
                <a:gd name="T9" fmla="*/ 0 h 48"/>
                <a:gd name="T10" fmla="*/ 0 w 39"/>
                <a:gd name="T11" fmla="*/ 0 h 48"/>
                <a:gd name="T12" fmla="*/ 0 w 39"/>
                <a:gd name="T13" fmla="*/ 1 h 48"/>
                <a:gd name="T14" fmla="*/ 0 w 39"/>
                <a:gd name="T15" fmla="*/ 0 h 48"/>
                <a:gd name="T16" fmla="*/ 0 w 39"/>
                <a:gd name="T17" fmla="*/ 0 h 48"/>
                <a:gd name="T18" fmla="*/ 0 w 39"/>
                <a:gd name="T19" fmla="*/ 0 h 48"/>
                <a:gd name="T20" fmla="*/ 0 w 39"/>
                <a:gd name="T21" fmla="*/ 0 h 48"/>
                <a:gd name="T22" fmla="*/ 0 w 39"/>
                <a:gd name="T23" fmla="*/ 0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84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0 w 16"/>
                <a:gd name="T1" fmla="*/ 0 h 43"/>
                <a:gd name="T2" fmla="*/ 0 w 16"/>
                <a:gd name="T3" fmla="*/ 0 h 43"/>
                <a:gd name="T4" fmla="*/ 0 w 16"/>
                <a:gd name="T5" fmla="*/ 0 h 43"/>
                <a:gd name="T6" fmla="*/ 0 w 16"/>
                <a:gd name="T7" fmla="*/ 0 h 43"/>
                <a:gd name="T8" fmla="*/ 0 w 16"/>
                <a:gd name="T9" fmla="*/ 0 h 43"/>
                <a:gd name="T10" fmla="*/ 0 w 16"/>
                <a:gd name="T11" fmla="*/ 0 h 43"/>
                <a:gd name="T12" fmla="*/ 0 w 16"/>
                <a:gd name="T13" fmla="*/ 0 h 43"/>
                <a:gd name="T14" fmla="*/ 0 w 16"/>
                <a:gd name="T15" fmla="*/ 0 h 43"/>
                <a:gd name="T16" fmla="*/ 0 w 16"/>
                <a:gd name="T17" fmla="*/ 1 h 43"/>
                <a:gd name="T18" fmla="*/ 0 w 16"/>
                <a:gd name="T19" fmla="*/ 0 h 43"/>
                <a:gd name="T20" fmla="*/ 0 w 16"/>
                <a:gd name="T21" fmla="*/ 0 h 43"/>
                <a:gd name="T22" fmla="*/ 0 w 16"/>
                <a:gd name="T23" fmla="*/ 0 h 43"/>
                <a:gd name="T24" fmla="*/ 0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85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0 w 24"/>
                <a:gd name="T1" fmla="*/ 0 h 37"/>
                <a:gd name="T2" fmla="*/ 0 w 24"/>
                <a:gd name="T3" fmla="*/ 0 h 37"/>
                <a:gd name="T4" fmla="*/ 0 w 24"/>
                <a:gd name="T5" fmla="*/ 0 h 37"/>
                <a:gd name="T6" fmla="*/ 0 w 24"/>
                <a:gd name="T7" fmla="*/ 0 h 37"/>
                <a:gd name="T8" fmla="*/ 0 w 24"/>
                <a:gd name="T9" fmla="*/ 0 h 37"/>
                <a:gd name="T10" fmla="*/ 0 w 24"/>
                <a:gd name="T11" fmla="*/ 0 h 37"/>
                <a:gd name="T12" fmla="*/ 0 w 24"/>
                <a:gd name="T13" fmla="*/ 0 h 37"/>
                <a:gd name="T14" fmla="*/ 0 w 24"/>
                <a:gd name="T15" fmla="*/ 0 h 37"/>
                <a:gd name="T16" fmla="*/ 0 w 24"/>
                <a:gd name="T17" fmla="*/ 0 h 37"/>
                <a:gd name="T18" fmla="*/ 0 w 24"/>
                <a:gd name="T19" fmla="*/ 0 h 37"/>
                <a:gd name="T20" fmla="*/ 0 w 24"/>
                <a:gd name="T21" fmla="*/ 0 h 37"/>
                <a:gd name="T22" fmla="*/ 0 w 24"/>
                <a:gd name="T23" fmla="*/ 0 h 37"/>
                <a:gd name="T24" fmla="*/ 0 w 24"/>
                <a:gd name="T25" fmla="*/ 0 h 37"/>
                <a:gd name="T26" fmla="*/ 0 w 24"/>
                <a:gd name="T27" fmla="*/ 0 h 37"/>
                <a:gd name="T28" fmla="*/ 0 w 24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86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0 w 34"/>
                <a:gd name="T1" fmla="*/ 0 h 55"/>
                <a:gd name="T2" fmla="*/ 0 w 34"/>
                <a:gd name="T3" fmla="*/ 0 h 55"/>
                <a:gd name="T4" fmla="*/ 0 w 34"/>
                <a:gd name="T5" fmla="*/ 0 h 55"/>
                <a:gd name="T6" fmla="*/ 0 w 34"/>
                <a:gd name="T7" fmla="*/ 0 h 55"/>
                <a:gd name="T8" fmla="*/ 0 w 34"/>
                <a:gd name="T9" fmla="*/ 0 h 55"/>
                <a:gd name="T10" fmla="*/ 0 w 34"/>
                <a:gd name="T11" fmla="*/ 0 h 55"/>
                <a:gd name="T12" fmla="*/ 0 w 34"/>
                <a:gd name="T13" fmla="*/ 1 h 55"/>
                <a:gd name="T14" fmla="*/ 0 w 34"/>
                <a:gd name="T15" fmla="*/ 1 h 55"/>
                <a:gd name="T16" fmla="*/ 0 w 34"/>
                <a:gd name="T17" fmla="*/ 1 h 55"/>
                <a:gd name="T18" fmla="*/ 0 w 34"/>
                <a:gd name="T19" fmla="*/ 1 h 55"/>
                <a:gd name="T20" fmla="*/ 0 w 34"/>
                <a:gd name="T21" fmla="*/ 1 h 55"/>
                <a:gd name="T22" fmla="*/ 0 w 34"/>
                <a:gd name="T23" fmla="*/ 0 h 55"/>
                <a:gd name="T24" fmla="*/ 0 w 34"/>
                <a:gd name="T25" fmla="*/ 0 h 55"/>
                <a:gd name="T26" fmla="*/ 0 w 34"/>
                <a:gd name="T27" fmla="*/ 0 h 55"/>
                <a:gd name="T28" fmla="*/ 0 w 34"/>
                <a:gd name="T29" fmla="*/ 0 h 55"/>
                <a:gd name="T30" fmla="*/ 0 w 34"/>
                <a:gd name="T31" fmla="*/ 0 h 55"/>
                <a:gd name="T32" fmla="*/ 0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87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0 w 33"/>
                <a:gd name="T3" fmla="*/ 0 h 12"/>
                <a:gd name="T4" fmla="*/ 0 w 33"/>
                <a:gd name="T5" fmla="*/ 0 h 12"/>
                <a:gd name="T6" fmla="*/ 0 w 33"/>
                <a:gd name="T7" fmla="*/ 0 h 12"/>
                <a:gd name="T8" fmla="*/ 0 w 33"/>
                <a:gd name="T9" fmla="*/ 0 h 12"/>
                <a:gd name="T10" fmla="*/ 0 w 33"/>
                <a:gd name="T11" fmla="*/ 0 h 12"/>
                <a:gd name="T12" fmla="*/ 0 w 33"/>
                <a:gd name="T13" fmla="*/ 0 h 12"/>
                <a:gd name="T14" fmla="*/ 0 w 33"/>
                <a:gd name="T15" fmla="*/ 0 h 12"/>
                <a:gd name="T16" fmla="*/ 0 w 33"/>
                <a:gd name="T17" fmla="*/ 0 h 12"/>
                <a:gd name="T18" fmla="*/ 0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101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905750" y="4560689"/>
            <a:ext cx="12700" cy="57150"/>
          </a:xfrm>
          <a:custGeom>
            <a:avLst/>
            <a:gdLst>
              <a:gd name="T0" fmla="*/ 0 w 33"/>
              <a:gd name="T1" fmla="*/ 2147483647 h 62"/>
              <a:gd name="T2" fmla="*/ 0 w 33"/>
              <a:gd name="T3" fmla="*/ 2147483647 h 62"/>
              <a:gd name="T4" fmla="*/ 0 w 33"/>
              <a:gd name="T5" fmla="*/ 2147483647 h 62"/>
              <a:gd name="T6" fmla="*/ 0 w 33"/>
              <a:gd name="T7" fmla="*/ 2147483647 h 62"/>
              <a:gd name="T8" fmla="*/ 0 w 33"/>
              <a:gd name="T9" fmla="*/ 2147483647 h 62"/>
              <a:gd name="T10" fmla="*/ 0 w 33"/>
              <a:gd name="T11" fmla="*/ 2147483647 h 62"/>
              <a:gd name="T12" fmla="*/ 2147483647 w 33"/>
              <a:gd name="T13" fmla="*/ 2147483647 h 62"/>
              <a:gd name="T14" fmla="*/ 2147483647 w 33"/>
              <a:gd name="T15" fmla="*/ 2147483647 h 62"/>
              <a:gd name="T16" fmla="*/ 2147483647 w 33"/>
              <a:gd name="T17" fmla="*/ 2147483647 h 62"/>
              <a:gd name="T18" fmla="*/ 2147483647 w 33"/>
              <a:gd name="T19" fmla="*/ 2147483647 h 62"/>
              <a:gd name="T20" fmla="*/ 2147483647 w 33"/>
              <a:gd name="T21" fmla="*/ 0 h 62"/>
              <a:gd name="T22" fmla="*/ 2147483647 w 33"/>
              <a:gd name="T23" fmla="*/ 2147483647 h 62"/>
              <a:gd name="T24" fmla="*/ 2147483647 w 33"/>
              <a:gd name="T25" fmla="*/ 2147483647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02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915275" y="4651177"/>
            <a:ext cx="9525" cy="58737"/>
          </a:xfrm>
          <a:custGeom>
            <a:avLst/>
            <a:gdLst>
              <a:gd name="T0" fmla="*/ 0 w 26"/>
              <a:gd name="T1" fmla="*/ 2147483647 h 18"/>
              <a:gd name="T2" fmla="*/ 0 w 26"/>
              <a:gd name="T3" fmla="*/ 0 h 18"/>
              <a:gd name="T4" fmla="*/ 2147483647 w 26"/>
              <a:gd name="T5" fmla="*/ 0 h 18"/>
              <a:gd name="T6" fmla="*/ 2147483647 w 26"/>
              <a:gd name="T7" fmla="*/ 2147483647 h 18"/>
              <a:gd name="T8" fmla="*/ 2147483647 w 26"/>
              <a:gd name="T9" fmla="*/ 2147483647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03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029575" y="4560689"/>
            <a:ext cx="77788" cy="130175"/>
          </a:xfrm>
          <a:custGeom>
            <a:avLst/>
            <a:gdLst>
              <a:gd name="T0" fmla="*/ 2147483647 w 180"/>
              <a:gd name="T1" fmla="*/ 2147483647 h 240"/>
              <a:gd name="T2" fmla="*/ 2147483647 w 180"/>
              <a:gd name="T3" fmla="*/ 2147483647 h 240"/>
              <a:gd name="T4" fmla="*/ 2147483647 w 180"/>
              <a:gd name="T5" fmla="*/ 2147483647 h 240"/>
              <a:gd name="T6" fmla="*/ 2147483647 w 180"/>
              <a:gd name="T7" fmla="*/ 2147483647 h 240"/>
              <a:gd name="T8" fmla="*/ 2147483647 w 180"/>
              <a:gd name="T9" fmla="*/ 2147483647 h 240"/>
              <a:gd name="T10" fmla="*/ 2147483647 w 180"/>
              <a:gd name="T11" fmla="*/ 2147483647 h 240"/>
              <a:gd name="T12" fmla="*/ 2147483647 w 180"/>
              <a:gd name="T13" fmla="*/ 2147483647 h 240"/>
              <a:gd name="T14" fmla="*/ 2147483647 w 180"/>
              <a:gd name="T15" fmla="*/ 2147483647 h 240"/>
              <a:gd name="T16" fmla="*/ 2147483647 w 180"/>
              <a:gd name="T17" fmla="*/ 2147483647 h 240"/>
              <a:gd name="T18" fmla="*/ 2147483647 w 180"/>
              <a:gd name="T19" fmla="*/ 2147483647 h 240"/>
              <a:gd name="T20" fmla="*/ 2147483647 w 180"/>
              <a:gd name="T21" fmla="*/ 2147483647 h 240"/>
              <a:gd name="T22" fmla="*/ 2147483647 w 180"/>
              <a:gd name="T23" fmla="*/ 2147483647 h 240"/>
              <a:gd name="T24" fmla="*/ 2147483647 w 180"/>
              <a:gd name="T25" fmla="*/ 2147483647 h 240"/>
              <a:gd name="T26" fmla="*/ 2147483647 w 180"/>
              <a:gd name="T27" fmla="*/ 2147483647 h 240"/>
              <a:gd name="T28" fmla="*/ 2147483647 w 180"/>
              <a:gd name="T29" fmla="*/ 2147483647 h 240"/>
              <a:gd name="T30" fmla="*/ 2147483647 w 180"/>
              <a:gd name="T31" fmla="*/ 2147483647 h 240"/>
              <a:gd name="T32" fmla="*/ 2147483647 w 180"/>
              <a:gd name="T33" fmla="*/ 2147483647 h 240"/>
              <a:gd name="T34" fmla="*/ 2147483647 w 180"/>
              <a:gd name="T35" fmla="*/ 2147483647 h 240"/>
              <a:gd name="T36" fmla="*/ 2147483647 w 180"/>
              <a:gd name="T37" fmla="*/ 2147483647 h 240"/>
              <a:gd name="T38" fmla="*/ 2147483647 w 180"/>
              <a:gd name="T39" fmla="*/ 2147483647 h 240"/>
              <a:gd name="T40" fmla="*/ 2147483647 w 180"/>
              <a:gd name="T41" fmla="*/ 2147483647 h 240"/>
              <a:gd name="T42" fmla="*/ 2147483647 w 180"/>
              <a:gd name="T43" fmla="*/ 2147483647 h 240"/>
              <a:gd name="T44" fmla="*/ 2147483647 w 180"/>
              <a:gd name="T45" fmla="*/ 2147483647 h 240"/>
              <a:gd name="T46" fmla="*/ 2147483647 w 180"/>
              <a:gd name="T47" fmla="*/ 2147483647 h 240"/>
              <a:gd name="T48" fmla="*/ 2147483647 w 180"/>
              <a:gd name="T49" fmla="*/ 2147483647 h 240"/>
              <a:gd name="T50" fmla="*/ 2147483647 w 180"/>
              <a:gd name="T51" fmla="*/ 2147483647 h 240"/>
              <a:gd name="T52" fmla="*/ 2147483647 w 180"/>
              <a:gd name="T53" fmla="*/ 2147483647 h 240"/>
              <a:gd name="T54" fmla="*/ 2147483647 w 180"/>
              <a:gd name="T55" fmla="*/ 2147483647 h 240"/>
              <a:gd name="T56" fmla="*/ 0 w 180"/>
              <a:gd name="T57" fmla="*/ 2147483647 h 240"/>
              <a:gd name="T58" fmla="*/ 0 w 180"/>
              <a:gd name="T59" fmla="*/ 2147483647 h 240"/>
              <a:gd name="T60" fmla="*/ 0 w 180"/>
              <a:gd name="T61" fmla="*/ 2147483647 h 240"/>
              <a:gd name="T62" fmla="*/ 0 w 180"/>
              <a:gd name="T63" fmla="*/ 2147483647 h 240"/>
              <a:gd name="T64" fmla="*/ 0 w 180"/>
              <a:gd name="T65" fmla="*/ 0 h 240"/>
              <a:gd name="T66" fmla="*/ 2147483647 w 180"/>
              <a:gd name="T67" fmla="*/ 2147483647 h 240"/>
              <a:gd name="T68" fmla="*/ 2147483647 w 180"/>
              <a:gd name="T69" fmla="*/ 2147483647 h 240"/>
              <a:gd name="T70" fmla="*/ 2147483647 w 180"/>
              <a:gd name="T71" fmla="*/ 2147483647 h 240"/>
              <a:gd name="T72" fmla="*/ 2147483647 w 180"/>
              <a:gd name="T73" fmla="*/ 2147483647 h 240"/>
              <a:gd name="T74" fmla="*/ 2147483647 w 180"/>
              <a:gd name="T75" fmla="*/ 2147483647 h 240"/>
              <a:gd name="T76" fmla="*/ 2147483647 w 180"/>
              <a:gd name="T77" fmla="*/ 2147483647 h 240"/>
              <a:gd name="T78" fmla="*/ 2147483647 w 180"/>
              <a:gd name="T79" fmla="*/ 2147483647 h 240"/>
              <a:gd name="T80" fmla="*/ 2147483647 w 180"/>
              <a:gd name="T81" fmla="*/ 2147483647 h 240"/>
              <a:gd name="T82" fmla="*/ 2147483647 w 180"/>
              <a:gd name="T83" fmla="*/ 2147483647 h 240"/>
              <a:gd name="T84" fmla="*/ 2147483647 w 180"/>
              <a:gd name="T85" fmla="*/ 2147483647 h 240"/>
              <a:gd name="T86" fmla="*/ 2147483647 w 180"/>
              <a:gd name="T87" fmla="*/ 2147483647 h 240"/>
              <a:gd name="T88" fmla="*/ 2147483647 w 180"/>
              <a:gd name="T89" fmla="*/ 2147483647 h 240"/>
              <a:gd name="T90" fmla="*/ 2147483647 w 180"/>
              <a:gd name="T91" fmla="*/ 2147483647 h 240"/>
              <a:gd name="T92" fmla="*/ 2147483647 w 180"/>
              <a:gd name="T93" fmla="*/ 2147483647 h 240"/>
              <a:gd name="T94" fmla="*/ 2147483647 w 180"/>
              <a:gd name="T95" fmla="*/ 2147483647 h 240"/>
              <a:gd name="T96" fmla="*/ 2147483647 w 180"/>
              <a:gd name="T97" fmla="*/ 2147483647 h 240"/>
              <a:gd name="T98" fmla="*/ 2147483647 w 180"/>
              <a:gd name="T99" fmla="*/ 2147483647 h 240"/>
              <a:gd name="T100" fmla="*/ 2147483647 w 180"/>
              <a:gd name="T101" fmla="*/ 2147483647 h 240"/>
              <a:gd name="T102" fmla="*/ 2147483647 w 180"/>
              <a:gd name="T103" fmla="*/ 2147483647 h 240"/>
              <a:gd name="T104" fmla="*/ 2147483647 w 180"/>
              <a:gd name="T105" fmla="*/ 2147483647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04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029575" y="4533702"/>
            <a:ext cx="14288" cy="57150"/>
          </a:xfrm>
          <a:custGeom>
            <a:avLst/>
            <a:gdLst>
              <a:gd name="T0" fmla="*/ 0 w 27"/>
              <a:gd name="T1" fmla="*/ 0 h 30"/>
              <a:gd name="T2" fmla="*/ 2147483647 w 27"/>
              <a:gd name="T3" fmla="*/ 2147483647 h 30"/>
              <a:gd name="T4" fmla="*/ 2147483647 w 27"/>
              <a:gd name="T5" fmla="*/ 2147483647 h 30"/>
              <a:gd name="T6" fmla="*/ 2147483647 w 27"/>
              <a:gd name="T7" fmla="*/ 2147483647 h 30"/>
              <a:gd name="T8" fmla="*/ 2147483647 w 27"/>
              <a:gd name="T9" fmla="*/ 2147483647 h 30"/>
              <a:gd name="T10" fmla="*/ 2147483647 w 27"/>
              <a:gd name="T11" fmla="*/ 2147483647 h 30"/>
              <a:gd name="T12" fmla="*/ 0 w 27"/>
              <a:gd name="T13" fmla="*/ 2147483647 h 30"/>
              <a:gd name="T14" fmla="*/ 2147483647 w 27"/>
              <a:gd name="T15" fmla="*/ 2147483647 h 30"/>
              <a:gd name="T16" fmla="*/ 2147483647 w 27"/>
              <a:gd name="T17" fmla="*/ 2147483647 h 30"/>
              <a:gd name="T18" fmla="*/ 2147483647 w 27"/>
              <a:gd name="T19" fmla="*/ 2147483647 h 30"/>
              <a:gd name="T20" fmla="*/ 2147483647 w 27"/>
              <a:gd name="T21" fmla="*/ 2147483647 h 30"/>
              <a:gd name="T22" fmla="*/ 2147483647 w 27"/>
              <a:gd name="T23" fmla="*/ 2147483647 h 30"/>
              <a:gd name="T24" fmla="*/ 2147483647 w 27"/>
              <a:gd name="T25" fmla="*/ 2147483647 h 30"/>
              <a:gd name="T26" fmla="*/ 2147483647 w 27"/>
              <a:gd name="T27" fmla="*/ 2147483647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105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720013" y="5054402"/>
            <a:ext cx="458787" cy="404812"/>
            <a:chOff x="5372" y="3323"/>
            <a:chExt cx="341" cy="253"/>
          </a:xfrm>
          <a:solidFill>
            <a:schemeClr val="accent5">
              <a:lumMod val="50000"/>
            </a:schemeClr>
          </a:solidFill>
        </p:grpSpPr>
        <p:sp>
          <p:nvSpPr>
            <p:cNvPr id="2580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3 h 33"/>
                <a:gd name="T2" fmla="*/ 0 w 53"/>
                <a:gd name="T3" fmla="*/ 3 h 33"/>
                <a:gd name="T4" fmla="*/ 1 w 53"/>
                <a:gd name="T5" fmla="*/ 2 h 33"/>
                <a:gd name="T6" fmla="*/ 2 w 53"/>
                <a:gd name="T7" fmla="*/ 2 h 33"/>
                <a:gd name="T8" fmla="*/ 2 w 53"/>
                <a:gd name="T9" fmla="*/ 1 h 33"/>
                <a:gd name="T10" fmla="*/ 3 w 53"/>
                <a:gd name="T11" fmla="*/ 1 h 33"/>
                <a:gd name="T12" fmla="*/ 3 w 53"/>
                <a:gd name="T13" fmla="*/ 0 h 33"/>
                <a:gd name="T14" fmla="*/ 4 w 53"/>
                <a:gd name="T15" fmla="*/ 0 h 33"/>
                <a:gd name="T16" fmla="*/ 5 w 53"/>
                <a:gd name="T17" fmla="*/ 0 h 33"/>
                <a:gd name="T18" fmla="*/ 5 w 53"/>
                <a:gd name="T19" fmla="*/ 2 h 33"/>
                <a:gd name="T20" fmla="*/ 3 w 53"/>
                <a:gd name="T21" fmla="*/ 3 h 33"/>
                <a:gd name="T22" fmla="*/ 2 w 53"/>
                <a:gd name="T23" fmla="*/ 3 h 33"/>
                <a:gd name="T24" fmla="*/ 2 w 53"/>
                <a:gd name="T25" fmla="*/ 4 h 33"/>
                <a:gd name="T26" fmla="*/ 2 w 53"/>
                <a:gd name="T27" fmla="*/ 4 h 33"/>
                <a:gd name="T28" fmla="*/ 1 w 53"/>
                <a:gd name="T29" fmla="*/ 4 h 33"/>
                <a:gd name="T30" fmla="*/ 0 w 53"/>
                <a:gd name="T31" fmla="*/ 3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solidFill>
                <a:schemeClr val="accent5">
                  <a:lumMod val="25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81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3 w 631"/>
                <a:gd name="T1" fmla="*/ 32 h 358"/>
                <a:gd name="T2" fmla="*/ 5 w 631"/>
                <a:gd name="T3" fmla="*/ 31 h 358"/>
                <a:gd name="T4" fmla="*/ 7 w 631"/>
                <a:gd name="T5" fmla="*/ 30 h 358"/>
                <a:gd name="T6" fmla="*/ 8 w 631"/>
                <a:gd name="T7" fmla="*/ 27 h 358"/>
                <a:gd name="T8" fmla="*/ 10 w 631"/>
                <a:gd name="T9" fmla="*/ 27 h 358"/>
                <a:gd name="T10" fmla="*/ 13 w 631"/>
                <a:gd name="T11" fmla="*/ 27 h 358"/>
                <a:gd name="T12" fmla="*/ 14 w 631"/>
                <a:gd name="T13" fmla="*/ 26 h 358"/>
                <a:gd name="T14" fmla="*/ 17 w 631"/>
                <a:gd name="T15" fmla="*/ 25 h 358"/>
                <a:gd name="T16" fmla="*/ 19 w 631"/>
                <a:gd name="T17" fmla="*/ 22 h 358"/>
                <a:gd name="T18" fmla="*/ 22 w 631"/>
                <a:gd name="T19" fmla="*/ 21 h 358"/>
                <a:gd name="T20" fmla="*/ 27 w 631"/>
                <a:gd name="T21" fmla="*/ 19 h 358"/>
                <a:gd name="T22" fmla="*/ 34 w 631"/>
                <a:gd name="T23" fmla="*/ 16 h 358"/>
                <a:gd name="T24" fmla="*/ 37 w 631"/>
                <a:gd name="T25" fmla="*/ 15 h 358"/>
                <a:gd name="T26" fmla="*/ 40 w 631"/>
                <a:gd name="T27" fmla="*/ 14 h 358"/>
                <a:gd name="T28" fmla="*/ 42 w 631"/>
                <a:gd name="T29" fmla="*/ 14 h 358"/>
                <a:gd name="T30" fmla="*/ 45 w 631"/>
                <a:gd name="T31" fmla="*/ 11 h 358"/>
                <a:gd name="T32" fmla="*/ 48 w 631"/>
                <a:gd name="T33" fmla="*/ 8 h 358"/>
                <a:gd name="T34" fmla="*/ 49 w 631"/>
                <a:gd name="T35" fmla="*/ 7 h 358"/>
                <a:gd name="T36" fmla="*/ 52 w 631"/>
                <a:gd name="T37" fmla="*/ 6 h 358"/>
                <a:gd name="T38" fmla="*/ 55 w 631"/>
                <a:gd name="T39" fmla="*/ 4 h 358"/>
                <a:gd name="T40" fmla="*/ 58 w 631"/>
                <a:gd name="T41" fmla="*/ 1 h 358"/>
                <a:gd name="T42" fmla="*/ 61 w 631"/>
                <a:gd name="T43" fmla="*/ 0 h 358"/>
                <a:gd name="T44" fmla="*/ 62 w 631"/>
                <a:gd name="T45" fmla="*/ 2 h 358"/>
                <a:gd name="T46" fmla="*/ 63 w 631"/>
                <a:gd name="T47" fmla="*/ 3 h 358"/>
                <a:gd name="T48" fmla="*/ 64 w 631"/>
                <a:gd name="T49" fmla="*/ 5 h 358"/>
                <a:gd name="T50" fmla="*/ 61 w 631"/>
                <a:gd name="T51" fmla="*/ 9 h 358"/>
                <a:gd name="T52" fmla="*/ 58 w 631"/>
                <a:gd name="T53" fmla="*/ 13 h 358"/>
                <a:gd name="T54" fmla="*/ 54 w 631"/>
                <a:gd name="T55" fmla="*/ 16 h 358"/>
                <a:gd name="T56" fmla="*/ 50 w 631"/>
                <a:gd name="T57" fmla="*/ 19 h 358"/>
                <a:gd name="T58" fmla="*/ 45 w 631"/>
                <a:gd name="T59" fmla="*/ 19 h 358"/>
                <a:gd name="T60" fmla="*/ 45 w 631"/>
                <a:gd name="T61" fmla="*/ 21 h 358"/>
                <a:gd name="T62" fmla="*/ 44 w 631"/>
                <a:gd name="T63" fmla="*/ 21 h 358"/>
                <a:gd name="T64" fmla="*/ 40 w 631"/>
                <a:gd name="T65" fmla="*/ 21 h 358"/>
                <a:gd name="T66" fmla="*/ 37 w 631"/>
                <a:gd name="T67" fmla="*/ 23 h 358"/>
                <a:gd name="T68" fmla="*/ 36 w 631"/>
                <a:gd name="T69" fmla="*/ 23 h 358"/>
                <a:gd name="T70" fmla="*/ 35 w 631"/>
                <a:gd name="T71" fmla="*/ 22 h 358"/>
                <a:gd name="T72" fmla="*/ 32 w 631"/>
                <a:gd name="T73" fmla="*/ 26 h 358"/>
                <a:gd name="T74" fmla="*/ 28 w 631"/>
                <a:gd name="T75" fmla="*/ 30 h 358"/>
                <a:gd name="T76" fmla="*/ 22 w 631"/>
                <a:gd name="T77" fmla="*/ 34 h 358"/>
                <a:gd name="T78" fmla="*/ 17 w 631"/>
                <a:gd name="T79" fmla="*/ 37 h 358"/>
                <a:gd name="T80" fmla="*/ 11 w 631"/>
                <a:gd name="T81" fmla="*/ 38 h 358"/>
                <a:gd name="T82" fmla="*/ 7 w 631"/>
                <a:gd name="T83" fmla="*/ 38 h 358"/>
                <a:gd name="T84" fmla="*/ 6 w 631"/>
                <a:gd name="T85" fmla="*/ 37 h 358"/>
                <a:gd name="T86" fmla="*/ 4 w 631"/>
                <a:gd name="T87" fmla="*/ 36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solidFill>
                <a:schemeClr val="accent5">
                  <a:lumMod val="25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82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6 w 359"/>
                <a:gd name="T1" fmla="*/ 31 h 431"/>
                <a:gd name="T2" fmla="*/ 10 w 359"/>
                <a:gd name="T3" fmla="*/ 29 h 431"/>
                <a:gd name="T4" fmla="*/ 17 w 359"/>
                <a:gd name="T5" fmla="*/ 22 h 431"/>
                <a:gd name="T6" fmla="*/ 18 w 359"/>
                <a:gd name="T7" fmla="*/ 18 h 431"/>
                <a:gd name="T8" fmla="*/ 19 w 359"/>
                <a:gd name="T9" fmla="*/ 16 h 431"/>
                <a:gd name="T10" fmla="*/ 20 w 359"/>
                <a:gd name="T11" fmla="*/ 15 h 431"/>
                <a:gd name="T12" fmla="*/ 20 w 359"/>
                <a:gd name="T13" fmla="*/ 13 h 431"/>
                <a:gd name="T14" fmla="*/ 19 w 359"/>
                <a:gd name="T15" fmla="*/ 10 h 431"/>
                <a:gd name="T16" fmla="*/ 18 w 359"/>
                <a:gd name="T17" fmla="*/ 4 h 431"/>
                <a:gd name="T18" fmla="*/ 19 w 359"/>
                <a:gd name="T19" fmla="*/ 0 h 431"/>
                <a:gd name="T20" fmla="*/ 20 w 359"/>
                <a:gd name="T21" fmla="*/ 1 h 431"/>
                <a:gd name="T22" fmla="*/ 22 w 359"/>
                <a:gd name="T23" fmla="*/ 3 h 431"/>
                <a:gd name="T24" fmla="*/ 24 w 359"/>
                <a:gd name="T25" fmla="*/ 6 h 431"/>
                <a:gd name="T26" fmla="*/ 25 w 359"/>
                <a:gd name="T27" fmla="*/ 8 h 431"/>
                <a:gd name="T28" fmla="*/ 25 w 359"/>
                <a:gd name="T29" fmla="*/ 9 h 431"/>
                <a:gd name="T30" fmla="*/ 24 w 359"/>
                <a:gd name="T31" fmla="*/ 11 h 431"/>
                <a:gd name="T32" fmla="*/ 21 w 359"/>
                <a:gd name="T33" fmla="*/ 13 h 431"/>
                <a:gd name="T34" fmla="*/ 21 w 359"/>
                <a:gd name="T35" fmla="*/ 14 h 431"/>
                <a:gd name="T36" fmla="*/ 21 w 359"/>
                <a:gd name="T37" fmla="*/ 16 h 431"/>
                <a:gd name="T38" fmla="*/ 21 w 359"/>
                <a:gd name="T39" fmla="*/ 17 h 431"/>
                <a:gd name="T40" fmla="*/ 24 w 359"/>
                <a:gd name="T41" fmla="*/ 17 h 431"/>
                <a:gd name="T42" fmla="*/ 24 w 359"/>
                <a:gd name="T43" fmla="*/ 16 h 431"/>
                <a:gd name="T44" fmla="*/ 24 w 359"/>
                <a:gd name="T45" fmla="*/ 14 h 431"/>
                <a:gd name="T46" fmla="*/ 27 w 359"/>
                <a:gd name="T47" fmla="*/ 21 h 431"/>
                <a:gd name="T48" fmla="*/ 28 w 359"/>
                <a:gd name="T49" fmla="*/ 22 h 431"/>
                <a:gd name="T50" fmla="*/ 30 w 359"/>
                <a:gd name="T51" fmla="*/ 24 h 431"/>
                <a:gd name="T52" fmla="*/ 31 w 359"/>
                <a:gd name="T53" fmla="*/ 23 h 431"/>
                <a:gd name="T54" fmla="*/ 33 w 359"/>
                <a:gd name="T55" fmla="*/ 22 h 431"/>
                <a:gd name="T56" fmla="*/ 36 w 359"/>
                <a:gd name="T57" fmla="*/ 21 h 431"/>
                <a:gd name="T58" fmla="*/ 37 w 359"/>
                <a:gd name="T59" fmla="*/ 22 h 431"/>
                <a:gd name="T60" fmla="*/ 36 w 359"/>
                <a:gd name="T61" fmla="*/ 26 h 431"/>
                <a:gd name="T62" fmla="*/ 34 w 359"/>
                <a:gd name="T63" fmla="*/ 28 h 431"/>
                <a:gd name="T64" fmla="*/ 31 w 359"/>
                <a:gd name="T65" fmla="*/ 29 h 431"/>
                <a:gd name="T66" fmla="*/ 26 w 359"/>
                <a:gd name="T67" fmla="*/ 31 h 431"/>
                <a:gd name="T68" fmla="*/ 22 w 359"/>
                <a:gd name="T69" fmla="*/ 32 h 431"/>
                <a:gd name="T70" fmla="*/ 20 w 359"/>
                <a:gd name="T71" fmla="*/ 33 h 431"/>
                <a:gd name="T72" fmla="*/ 19 w 359"/>
                <a:gd name="T73" fmla="*/ 36 h 431"/>
                <a:gd name="T74" fmla="*/ 17 w 359"/>
                <a:gd name="T75" fmla="*/ 38 h 431"/>
                <a:gd name="T76" fmla="*/ 11 w 359"/>
                <a:gd name="T77" fmla="*/ 42 h 431"/>
                <a:gd name="T78" fmla="*/ 5 w 359"/>
                <a:gd name="T79" fmla="*/ 45 h 431"/>
                <a:gd name="T80" fmla="*/ 2 w 359"/>
                <a:gd name="T81" fmla="*/ 46 h 431"/>
                <a:gd name="T82" fmla="*/ 1 w 359"/>
                <a:gd name="T83" fmla="*/ 45 h 431"/>
                <a:gd name="T84" fmla="*/ 0 w 359"/>
                <a:gd name="T85" fmla="*/ 44 h 431"/>
                <a:gd name="T86" fmla="*/ 0 w 359"/>
                <a:gd name="T87" fmla="*/ 43 h 431"/>
                <a:gd name="T88" fmla="*/ 1 w 359"/>
                <a:gd name="T89" fmla="*/ 42 h 431"/>
                <a:gd name="T90" fmla="*/ 6 w 359"/>
                <a:gd name="T91" fmla="*/ 40 h 431"/>
                <a:gd name="T92" fmla="*/ 8 w 359"/>
                <a:gd name="T93" fmla="*/ 38 h 431"/>
                <a:gd name="T94" fmla="*/ 7 w 359"/>
                <a:gd name="T95" fmla="*/ 36 h 431"/>
                <a:gd name="T96" fmla="*/ 7 w 359"/>
                <a:gd name="T97" fmla="*/ 35 h 431"/>
                <a:gd name="T98" fmla="*/ 5 w 359"/>
                <a:gd name="T99" fmla="*/ 34 h 431"/>
                <a:gd name="T100" fmla="*/ 2 w 359"/>
                <a:gd name="T101" fmla="*/ 34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solidFill>
                <a:schemeClr val="accent5">
                  <a:lumMod val="25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106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362825" y="3711377"/>
            <a:ext cx="9525" cy="57150"/>
          </a:xfrm>
          <a:custGeom>
            <a:avLst/>
            <a:gdLst>
              <a:gd name="T0" fmla="*/ 0 w 21"/>
              <a:gd name="T1" fmla="*/ 2147483647 h 62"/>
              <a:gd name="T2" fmla="*/ 2147483647 w 21"/>
              <a:gd name="T3" fmla="*/ 2147483647 h 62"/>
              <a:gd name="T4" fmla="*/ 2147483647 w 21"/>
              <a:gd name="T5" fmla="*/ 2147483647 h 62"/>
              <a:gd name="T6" fmla="*/ 2147483647 w 21"/>
              <a:gd name="T7" fmla="*/ 2147483647 h 62"/>
              <a:gd name="T8" fmla="*/ 2147483647 w 21"/>
              <a:gd name="T9" fmla="*/ 2147483647 h 62"/>
              <a:gd name="T10" fmla="*/ 2147483647 w 21"/>
              <a:gd name="T11" fmla="*/ 2147483647 h 62"/>
              <a:gd name="T12" fmla="*/ 2147483647 w 21"/>
              <a:gd name="T13" fmla="*/ 0 h 62"/>
              <a:gd name="T14" fmla="*/ 2147483647 w 21"/>
              <a:gd name="T15" fmla="*/ 2147483647 h 62"/>
              <a:gd name="T16" fmla="*/ 2147483647 w 21"/>
              <a:gd name="T17" fmla="*/ 2147483647 h 62"/>
              <a:gd name="T18" fmla="*/ 2147483647 w 21"/>
              <a:gd name="T19" fmla="*/ 2147483647 h 62"/>
              <a:gd name="T20" fmla="*/ 2147483647 w 21"/>
              <a:gd name="T21" fmla="*/ 2147483647 h 62"/>
              <a:gd name="T22" fmla="*/ 2147483647 w 21"/>
              <a:gd name="T23" fmla="*/ 2147483647 h 62"/>
              <a:gd name="T24" fmla="*/ 0 w 21"/>
              <a:gd name="T25" fmla="*/ 2147483647 h 62"/>
              <a:gd name="T26" fmla="*/ 0 w 21"/>
              <a:gd name="T27" fmla="*/ 2147483647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07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089900" y="4613077"/>
            <a:ext cx="14288" cy="57150"/>
          </a:xfrm>
          <a:custGeom>
            <a:avLst/>
            <a:gdLst>
              <a:gd name="T0" fmla="*/ 0 w 33"/>
              <a:gd name="T1" fmla="*/ 0 h 24"/>
              <a:gd name="T2" fmla="*/ 2147483647 w 33"/>
              <a:gd name="T3" fmla="*/ 2147483647 h 24"/>
              <a:gd name="T4" fmla="*/ 2147483647 w 33"/>
              <a:gd name="T5" fmla="*/ 2147483647 h 24"/>
              <a:gd name="T6" fmla="*/ 2147483647 w 33"/>
              <a:gd name="T7" fmla="*/ 2147483647 h 24"/>
              <a:gd name="T8" fmla="*/ 2147483647 w 33"/>
              <a:gd name="T9" fmla="*/ 2147483647 h 24"/>
              <a:gd name="T10" fmla="*/ 2147483647 w 33"/>
              <a:gd name="T11" fmla="*/ 2147483647 h 24"/>
              <a:gd name="T12" fmla="*/ 2147483647 w 33"/>
              <a:gd name="T13" fmla="*/ 2147483647 h 24"/>
              <a:gd name="T14" fmla="*/ 2147483647 w 33"/>
              <a:gd name="T15" fmla="*/ 0 h 24"/>
              <a:gd name="T16" fmla="*/ 2147483647 w 33"/>
              <a:gd name="T17" fmla="*/ 0 h 24"/>
              <a:gd name="T18" fmla="*/ 2147483647 w 33"/>
              <a:gd name="T19" fmla="*/ 0 h 24"/>
              <a:gd name="T20" fmla="*/ 214748364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08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112125" y="4622602"/>
            <a:ext cx="17463" cy="58737"/>
          </a:xfrm>
          <a:custGeom>
            <a:avLst/>
            <a:gdLst>
              <a:gd name="T0" fmla="*/ 2147483647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0 h 25"/>
              <a:gd name="T8" fmla="*/ 2147483647 w 33"/>
              <a:gd name="T9" fmla="*/ 0 h 25"/>
              <a:gd name="T10" fmla="*/ 2147483647 w 33"/>
              <a:gd name="T11" fmla="*/ 0 h 25"/>
              <a:gd name="T12" fmla="*/ 2147483647 w 33"/>
              <a:gd name="T13" fmla="*/ 0 h 25"/>
              <a:gd name="T14" fmla="*/ 0 w 33"/>
              <a:gd name="T15" fmla="*/ 0 h 25"/>
              <a:gd name="T16" fmla="*/ 2147483647 w 33"/>
              <a:gd name="T17" fmla="*/ 214748364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09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426325" y="3700264"/>
            <a:ext cx="1588" cy="55563"/>
          </a:xfrm>
          <a:custGeom>
            <a:avLst/>
            <a:gdLst>
              <a:gd name="T0" fmla="*/ 0 w 7"/>
              <a:gd name="T1" fmla="*/ 0 h 55563"/>
              <a:gd name="T2" fmla="*/ 2147483647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10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85063" y="3644702"/>
            <a:ext cx="6350" cy="57150"/>
          </a:xfrm>
          <a:custGeom>
            <a:avLst/>
            <a:gdLst>
              <a:gd name="T0" fmla="*/ 2147483647 w 16"/>
              <a:gd name="T1" fmla="*/ 0 h 25"/>
              <a:gd name="T2" fmla="*/ 2147483647 w 16"/>
              <a:gd name="T3" fmla="*/ 2147483647 h 25"/>
              <a:gd name="T4" fmla="*/ 2147483647 w 16"/>
              <a:gd name="T5" fmla="*/ 2147483647 h 25"/>
              <a:gd name="T6" fmla="*/ 2147483647 w 16"/>
              <a:gd name="T7" fmla="*/ 2147483647 h 25"/>
              <a:gd name="T8" fmla="*/ 2147483647 w 16"/>
              <a:gd name="T9" fmla="*/ 2147483647 h 25"/>
              <a:gd name="T10" fmla="*/ 2147483647 w 16"/>
              <a:gd name="T11" fmla="*/ 2147483647 h 25"/>
              <a:gd name="T12" fmla="*/ 2147483647 w 16"/>
              <a:gd name="T13" fmla="*/ 2147483647 h 25"/>
              <a:gd name="T14" fmla="*/ 2147483647 w 16"/>
              <a:gd name="T15" fmla="*/ 2147483647 h 25"/>
              <a:gd name="T16" fmla="*/ 0 w 16"/>
              <a:gd name="T17" fmla="*/ 2147483647 h 25"/>
              <a:gd name="T18" fmla="*/ 2147483647 w 16"/>
              <a:gd name="T19" fmla="*/ 2147483647 h 25"/>
              <a:gd name="T20" fmla="*/ 2147483647 w 16"/>
              <a:gd name="T21" fmla="*/ 2147483647 h 25"/>
              <a:gd name="T22" fmla="*/ 2147483647 w 16"/>
              <a:gd name="T23" fmla="*/ 2147483647 h 25"/>
              <a:gd name="T24" fmla="*/ 2147483647 w 16"/>
              <a:gd name="T25" fmla="*/ 2147483647 h 25"/>
              <a:gd name="T26" fmla="*/ 2147483647 w 16"/>
              <a:gd name="T27" fmla="*/ 2147483647 h 25"/>
              <a:gd name="T28" fmla="*/ 2147483647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11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97775" y="3533577"/>
            <a:ext cx="4763" cy="57150"/>
          </a:xfrm>
          <a:custGeom>
            <a:avLst/>
            <a:gdLst>
              <a:gd name="T0" fmla="*/ 0 w 14"/>
              <a:gd name="T1" fmla="*/ 0 h 18"/>
              <a:gd name="T2" fmla="*/ 2147483647 w 14"/>
              <a:gd name="T3" fmla="*/ 2147483647 h 18"/>
              <a:gd name="T4" fmla="*/ 2147483647 w 14"/>
              <a:gd name="T5" fmla="*/ 2147483647 h 18"/>
              <a:gd name="T6" fmla="*/ 2147483647 w 14"/>
              <a:gd name="T7" fmla="*/ 2147483647 h 18"/>
              <a:gd name="T8" fmla="*/ 2147483647 w 14"/>
              <a:gd name="T9" fmla="*/ 2147483647 h 18"/>
              <a:gd name="T10" fmla="*/ 2147483647 w 14"/>
              <a:gd name="T11" fmla="*/ 2147483647 h 18"/>
              <a:gd name="T12" fmla="*/ 2147483647 w 14"/>
              <a:gd name="T13" fmla="*/ 2147483647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12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750175" y="4232077"/>
            <a:ext cx="26988" cy="58737"/>
          </a:xfrm>
          <a:custGeom>
            <a:avLst/>
            <a:gdLst>
              <a:gd name="T0" fmla="*/ 0 w 67"/>
              <a:gd name="T1" fmla="*/ 0 h 74"/>
              <a:gd name="T2" fmla="*/ 2147483647 w 67"/>
              <a:gd name="T3" fmla="*/ 2147483647 h 74"/>
              <a:gd name="T4" fmla="*/ 2147483647 w 67"/>
              <a:gd name="T5" fmla="*/ 2147483647 h 74"/>
              <a:gd name="T6" fmla="*/ 2147483647 w 67"/>
              <a:gd name="T7" fmla="*/ 2147483647 h 74"/>
              <a:gd name="T8" fmla="*/ 2147483647 w 67"/>
              <a:gd name="T9" fmla="*/ 2147483647 h 74"/>
              <a:gd name="T10" fmla="*/ 2147483647 w 67"/>
              <a:gd name="T11" fmla="*/ 2147483647 h 74"/>
              <a:gd name="T12" fmla="*/ 2147483647 w 67"/>
              <a:gd name="T13" fmla="*/ 2147483647 h 74"/>
              <a:gd name="T14" fmla="*/ 2147483647 w 67"/>
              <a:gd name="T15" fmla="*/ 2147483647 h 74"/>
              <a:gd name="T16" fmla="*/ 2147483647 w 67"/>
              <a:gd name="T17" fmla="*/ 2147483647 h 74"/>
              <a:gd name="T18" fmla="*/ 2147483647 w 67"/>
              <a:gd name="T19" fmla="*/ 2147483647 h 74"/>
              <a:gd name="T20" fmla="*/ 2147483647 w 67"/>
              <a:gd name="T21" fmla="*/ 2147483647 h 74"/>
              <a:gd name="T22" fmla="*/ 2147483647 w 67"/>
              <a:gd name="T23" fmla="*/ 2147483647 h 74"/>
              <a:gd name="T24" fmla="*/ 2147483647 w 67"/>
              <a:gd name="T25" fmla="*/ 2147483647 h 74"/>
              <a:gd name="T26" fmla="*/ 2147483647 w 67"/>
              <a:gd name="T27" fmla="*/ 2147483647 h 74"/>
              <a:gd name="T28" fmla="*/ 2147483647 w 67"/>
              <a:gd name="T29" fmla="*/ 2147483647 h 74"/>
              <a:gd name="T30" fmla="*/ 2147483647 w 67"/>
              <a:gd name="T31" fmla="*/ 2147483647 h 74"/>
              <a:gd name="T32" fmla="*/ 2147483647 w 67"/>
              <a:gd name="T33" fmla="*/ 2147483647 h 74"/>
              <a:gd name="T34" fmla="*/ 2147483647 w 67"/>
              <a:gd name="T35" fmla="*/ 2147483647 h 74"/>
              <a:gd name="T36" fmla="*/ 2147483647 w 67"/>
              <a:gd name="T37" fmla="*/ 0 h 74"/>
              <a:gd name="T38" fmla="*/ 2147483647 w 67"/>
              <a:gd name="T39" fmla="*/ 0 h 74"/>
              <a:gd name="T40" fmla="*/ 2147483647 w 67"/>
              <a:gd name="T41" fmla="*/ 0 h 74"/>
              <a:gd name="T42" fmla="*/ 2147483647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13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13675" y="4246364"/>
            <a:ext cx="12700" cy="57150"/>
          </a:xfrm>
          <a:custGeom>
            <a:avLst/>
            <a:gdLst>
              <a:gd name="T0" fmla="*/ 0 w 34"/>
              <a:gd name="T1" fmla="*/ 0 h 38"/>
              <a:gd name="T2" fmla="*/ 2147483647 w 34"/>
              <a:gd name="T3" fmla="*/ 2147483647 h 38"/>
              <a:gd name="T4" fmla="*/ 2147483647 w 34"/>
              <a:gd name="T5" fmla="*/ 2147483647 h 38"/>
              <a:gd name="T6" fmla="*/ 2147483647 w 34"/>
              <a:gd name="T7" fmla="*/ 2147483647 h 38"/>
              <a:gd name="T8" fmla="*/ 2147483647 w 34"/>
              <a:gd name="T9" fmla="*/ 2147483647 h 38"/>
              <a:gd name="T10" fmla="*/ 2147483647 w 34"/>
              <a:gd name="T11" fmla="*/ 2147483647 h 38"/>
              <a:gd name="T12" fmla="*/ 2147483647 w 34"/>
              <a:gd name="T13" fmla="*/ 2147483647 h 38"/>
              <a:gd name="T14" fmla="*/ 2147483647 w 34"/>
              <a:gd name="T15" fmla="*/ 2147483647 h 38"/>
              <a:gd name="T16" fmla="*/ 2147483647 w 34"/>
              <a:gd name="T17" fmla="*/ 2147483647 h 38"/>
              <a:gd name="T18" fmla="*/ 2147483647 w 34"/>
              <a:gd name="T19" fmla="*/ 2147483647 h 38"/>
              <a:gd name="T20" fmla="*/ 2147483647 w 34"/>
              <a:gd name="T21" fmla="*/ 2147483647 h 38"/>
              <a:gd name="T22" fmla="*/ 2147483647 w 34"/>
              <a:gd name="T23" fmla="*/ 2147483647 h 38"/>
              <a:gd name="T24" fmla="*/ 2147483647 w 34"/>
              <a:gd name="T25" fmla="*/ 2147483647 h 38"/>
              <a:gd name="T26" fmla="*/ 2147483647 w 34"/>
              <a:gd name="T27" fmla="*/ 2147483647 h 38"/>
              <a:gd name="T28" fmla="*/ 2147483647 w 34"/>
              <a:gd name="T29" fmla="*/ 2147483647 h 38"/>
              <a:gd name="T30" fmla="*/ 2147483647 w 34"/>
              <a:gd name="T31" fmla="*/ 2147483647 h 38"/>
              <a:gd name="T32" fmla="*/ 2147483647 w 34"/>
              <a:gd name="T33" fmla="*/ 2147483647 h 38"/>
              <a:gd name="T34" fmla="*/ 2147483647 w 34"/>
              <a:gd name="T35" fmla="*/ 2147483647 h 38"/>
              <a:gd name="T36" fmla="*/ 2147483647 w 34"/>
              <a:gd name="T37" fmla="*/ 2147483647 h 38"/>
              <a:gd name="T38" fmla="*/ 2147483647 w 34"/>
              <a:gd name="T39" fmla="*/ 2147483647 h 38"/>
              <a:gd name="T40" fmla="*/ 2147483647 w 34"/>
              <a:gd name="T41" fmla="*/ 0 h 38"/>
              <a:gd name="T42" fmla="*/ 2147483647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14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70800" y="4022527"/>
            <a:ext cx="25400" cy="55562"/>
          </a:xfrm>
          <a:custGeom>
            <a:avLst/>
            <a:gdLst>
              <a:gd name="T0" fmla="*/ 2147483647 w 53"/>
              <a:gd name="T1" fmla="*/ 2147483647 h 23"/>
              <a:gd name="T2" fmla="*/ 2147483647 w 53"/>
              <a:gd name="T3" fmla="*/ 2147483647 h 23"/>
              <a:gd name="T4" fmla="*/ 2147483647 w 53"/>
              <a:gd name="T5" fmla="*/ 2147483647 h 23"/>
              <a:gd name="T6" fmla="*/ 2147483647 w 53"/>
              <a:gd name="T7" fmla="*/ 2147483647 h 23"/>
              <a:gd name="T8" fmla="*/ 2147483647 w 53"/>
              <a:gd name="T9" fmla="*/ 0 h 23"/>
              <a:gd name="T10" fmla="*/ 2147483647 w 53"/>
              <a:gd name="T11" fmla="*/ 0 h 23"/>
              <a:gd name="T12" fmla="*/ 2147483647 w 53"/>
              <a:gd name="T13" fmla="*/ 2147483647 h 23"/>
              <a:gd name="T14" fmla="*/ 2147483647 w 53"/>
              <a:gd name="T15" fmla="*/ 2147483647 h 23"/>
              <a:gd name="T16" fmla="*/ 2147483647 w 53"/>
              <a:gd name="T17" fmla="*/ 2147483647 h 23"/>
              <a:gd name="T18" fmla="*/ 0 w 53"/>
              <a:gd name="T19" fmla="*/ 2147483647 h 23"/>
              <a:gd name="T20" fmla="*/ 2147483647 w 53"/>
              <a:gd name="T21" fmla="*/ 2147483647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15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613650" y="3997127"/>
            <a:ext cx="11113" cy="57150"/>
          </a:xfrm>
          <a:custGeom>
            <a:avLst/>
            <a:gdLst>
              <a:gd name="T0" fmla="*/ 0 w 26"/>
              <a:gd name="T1" fmla="*/ 0 h 12"/>
              <a:gd name="T2" fmla="*/ 2147483647 w 26"/>
              <a:gd name="T3" fmla="*/ 2147483647 h 12"/>
              <a:gd name="T4" fmla="*/ 2147483647 w 26"/>
              <a:gd name="T5" fmla="*/ 2147483647 h 12"/>
              <a:gd name="T6" fmla="*/ 2147483647 w 26"/>
              <a:gd name="T7" fmla="*/ 2147483647 h 12"/>
              <a:gd name="T8" fmla="*/ 2147483647 w 26"/>
              <a:gd name="T9" fmla="*/ 2147483647 h 12"/>
              <a:gd name="T10" fmla="*/ 2147483647 w 26"/>
              <a:gd name="T11" fmla="*/ 2147483647 h 12"/>
              <a:gd name="T12" fmla="*/ 2147483647 w 26"/>
              <a:gd name="T13" fmla="*/ 2147483647 h 12"/>
              <a:gd name="T14" fmla="*/ 2147483647 w 26"/>
              <a:gd name="T15" fmla="*/ 2147483647 h 12"/>
              <a:gd name="T16" fmla="*/ 2147483647 w 26"/>
              <a:gd name="T17" fmla="*/ 2147483647 h 12"/>
              <a:gd name="T18" fmla="*/ 2147483647 w 26"/>
              <a:gd name="T19" fmla="*/ 2147483647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16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813675" y="4328914"/>
            <a:ext cx="31750" cy="57150"/>
          </a:xfrm>
          <a:custGeom>
            <a:avLst/>
            <a:gdLst>
              <a:gd name="T0" fmla="*/ 0 w 73"/>
              <a:gd name="T1" fmla="*/ 0 h 57150"/>
              <a:gd name="T2" fmla="*/ 2147483647 w 73"/>
              <a:gd name="T3" fmla="*/ 0 h 57150"/>
              <a:gd name="T4" fmla="*/ 2147483647 w 73"/>
              <a:gd name="T5" fmla="*/ 0 h 57150"/>
              <a:gd name="T6" fmla="*/ 2147483647 w 73"/>
              <a:gd name="T7" fmla="*/ 0 h 57150"/>
              <a:gd name="T8" fmla="*/ 2147483647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17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769225" y="4317802"/>
            <a:ext cx="22225" cy="57150"/>
          </a:xfrm>
          <a:custGeom>
            <a:avLst/>
            <a:gdLst>
              <a:gd name="T0" fmla="*/ 0 w 53"/>
              <a:gd name="T1" fmla="*/ 0 h 3"/>
              <a:gd name="T2" fmla="*/ 2147483647 w 53"/>
              <a:gd name="T3" fmla="*/ 0 h 3"/>
              <a:gd name="T4" fmla="*/ 2147483647 w 53"/>
              <a:gd name="T5" fmla="*/ 2147483647 h 3"/>
              <a:gd name="T6" fmla="*/ 2147483647 w 53"/>
              <a:gd name="T7" fmla="*/ 2147483647 h 3"/>
              <a:gd name="T8" fmla="*/ 2147483647 w 53"/>
              <a:gd name="T9" fmla="*/ 2147483647 h 3"/>
              <a:gd name="T10" fmla="*/ 2147483647 w 53"/>
              <a:gd name="T11" fmla="*/ 2147483647 h 3"/>
              <a:gd name="T12" fmla="*/ 2147483647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18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802563" y="4303514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19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823200" y="4309864"/>
            <a:ext cx="1588" cy="57150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147483647 h 13"/>
              <a:gd name="T4" fmla="*/ 0 w 1588"/>
              <a:gd name="T5" fmla="*/ 2147483647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20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777163" y="4303514"/>
            <a:ext cx="14287" cy="58738"/>
          </a:xfrm>
          <a:custGeom>
            <a:avLst/>
            <a:gdLst>
              <a:gd name="T0" fmla="*/ 0 w 26"/>
              <a:gd name="T1" fmla="*/ 0 h 58738"/>
              <a:gd name="T2" fmla="*/ 2147483647 w 26"/>
              <a:gd name="T3" fmla="*/ 0 h 58738"/>
              <a:gd name="T4" fmla="*/ 214748364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21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770813" y="4284464"/>
            <a:ext cx="6350" cy="60325"/>
          </a:xfrm>
          <a:custGeom>
            <a:avLst/>
            <a:gdLst>
              <a:gd name="T0" fmla="*/ 2147483647 w 20"/>
              <a:gd name="T1" fmla="*/ 0 h 25"/>
              <a:gd name="T2" fmla="*/ 0 w 20"/>
              <a:gd name="T3" fmla="*/ 2147483647 h 25"/>
              <a:gd name="T4" fmla="*/ 2147483647 w 20"/>
              <a:gd name="T5" fmla="*/ 2147483647 h 25"/>
              <a:gd name="T6" fmla="*/ 2147483647 w 20"/>
              <a:gd name="T7" fmla="*/ 2147483647 h 25"/>
              <a:gd name="T8" fmla="*/ 2147483647 w 20"/>
              <a:gd name="T9" fmla="*/ 2147483647 h 25"/>
              <a:gd name="T10" fmla="*/ 2147483647 w 20"/>
              <a:gd name="T11" fmla="*/ 2147483647 h 25"/>
              <a:gd name="T12" fmla="*/ 2147483647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22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851775" y="4011414"/>
            <a:ext cx="1588" cy="57150"/>
          </a:xfrm>
          <a:custGeom>
            <a:avLst/>
            <a:gdLst>
              <a:gd name="T0" fmla="*/ 0 w 6"/>
              <a:gd name="T1" fmla="*/ 2147483647 h 24"/>
              <a:gd name="T2" fmla="*/ 0 w 6"/>
              <a:gd name="T3" fmla="*/ 0 h 24"/>
              <a:gd name="T4" fmla="*/ 2147483647 w 6"/>
              <a:gd name="T5" fmla="*/ 2147483647 h 24"/>
              <a:gd name="T6" fmla="*/ 0 w 6"/>
              <a:gd name="T7" fmla="*/ 2147483647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123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726363" y="3682802"/>
            <a:ext cx="163512" cy="114300"/>
            <a:chOff x="5379" y="2466"/>
            <a:chExt cx="122" cy="71"/>
          </a:xfrm>
        </p:grpSpPr>
        <p:sp>
          <p:nvSpPr>
            <p:cNvPr id="2569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0 w 19"/>
                <a:gd name="T1" fmla="*/ 0 h 25"/>
                <a:gd name="T2" fmla="*/ 0 w 19"/>
                <a:gd name="T3" fmla="*/ 0 h 25"/>
                <a:gd name="T4" fmla="*/ 0 w 19"/>
                <a:gd name="T5" fmla="*/ 0 h 25"/>
                <a:gd name="T6" fmla="*/ 0 w 19"/>
                <a:gd name="T7" fmla="*/ 0 h 25"/>
                <a:gd name="T8" fmla="*/ 0 w 19"/>
                <a:gd name="T9" fmla="*/ 0 h 25"/>
                <a:gd name="T10" fmla="*/ 0 w 19"/>
                <a:gd name="T11" fmla="*/ 0 h 25"/>
                <a:gd name="T12" fmla="*/ 0 w 19"/>
                <a:gd name="T13" fmla="*/ 0 h 25"/>
                <a:gd name="T14" fmla="*/ 0 w 19"/>
                <a:gd name="T15" fmla="*/ 0 h 25"/>
                <a:gd name="T16" fmla="*/ 0 w 19"/>
                <a:gd name="T17" fmla="*/ 0 h 25"/>
                <a:gd name="T18" fmla="*/ 0 w 19"/>
                <a:gd name="T19" fmla="*/ 0 h 25"/>
                <a:gd name="T20" fmla="*/ 0 w 19"/>
                <a:gd name="T21" fmla="*/ 0 h 25"/>
                <a:gd name="T22" fmla="*/ 0 w 19"/>
                <a:gd name="T23" fmla="*/ 0 h 25"/>
                <a:gd name="T24" fmla="*/ 0 w 19"/>
                <a:gd name="T25" fmla="*/ 0 h 25"/>
                <a:gd name="T26" fmla="*/ 0 w 19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70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0 w 26"/>
                <a:gd name="T1" fmla="*/ 0 h 18"/>
                <a:gd name="T2" fmla="*/ 0 w 26"/>
                <a:gd name="T3" fmla="*/ 0 h 18"/>
                <a:gd name="T4" fmla="*/ 0 w 26"/>
                <a:gd name="T5" fmla="*/ 0 h 18"/>
                <a:gd name="T6" fmla="*/ 0 w 26"/>
                <a:gd name="T7" fmla="*/ 0 h 18"/>
                <a:gd name="T8" fmla="*/ 0 w 26"/>
                <a:gd name="T9" fmla="*/ 0 h 18"/>
                <a:gd name="T10" fmla="*/ 0 w 26"/>
                <a:gd name="T11" fmla="*/ 0 h 18"/>
                <a:gd name="T12" fmla="*/ 0 w 26"/>
                <a:gd name="T13" fmla="*/ 0 h 18"/>
                <a:gd name="T14" fmla="*/ 0 w 26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71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72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0 h 24"/>
                <a:gd name="T2" fmla="*/ 0 w 26"/>
                <a:gd name="T3" fmla="*/ 0 h 24"/>
                <a:gd name="T4" fmla="*/ 0 w 26"/>
                <a:gd name="T5" fmla="*/ 0 h 24"/>
                <a:gd name="T6" fmla="*/ 0 w 26"/>
                <a:gd name="T7" fmla="*/ 0 h 24"/>
                <a:gd name="T8" fmla="*/ 0 w 26"/>
                <a:gd name="T9" fmla="*/ 0 h 24"/>
                <a:gd name="T10" fmla="*/ 0 w 26"/>
                <a:gd name="T11" fmla="*/ 0 h 24"/>
                <a:gd name="T12" fmla="*/ 0 w 26"/>
                <a:gd name="T13" fmla="*/ 0 h 24"/>
                <a:gd name="T14" fmla="*/ 0 w 26"/>
                <a:gd name="T15" fmla="*/ 0 h 24"/>
                <a:gd name="T16" fmla="*/ 0 w 26"/>
                <a:gd name="T17" fmla="*/ 0 h 24"/>
                <a:gd name="T18" fmla="*/ 0 w 26"/>
                <a:gd name="T19" fmla="*/ 0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73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0 h 6"/>
                <a:gd name="T2" fmla="*/ 0 w 34"/>
                <a:gd name="T3" fmla="*/ 0 h 6"/>
                <a:gd name="T4" fmla="*/ 0 w 34"/>
                <a:gd name="T5" fmla="*/ 0 h 6"/>
                <a:gd name="T6" fmla="*/ 0 w 34"/>
                <a:gd name="T7" fmla="*/ 0 h 6"/>
                <a:gd name="T8" fmla="*/ 0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74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75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0 h 19"/>
                <a:gd name="T2" fmla="*/ 0 w 1"/>
                <a:gd name="T3" fmla="*/ 0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76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77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0 w 14"/>
                <a:gd name="T1" fmla="*/ 0 h 6"/>
                <a:gd name="T2" fmla="*/ 0 w 14"/>
                <a:gd name="T3" fmla="*/ 0 h 6"/>
                <a:gd name="T4" fmla="*/ 0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124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310313" y="3544689"/>
            <a:ext cx="6350" cy="57150"/>
          </a:xfrm>
          <a:custGeom>
            <a:avLst/>
            <a:gdLst>
              <a:gd name="T0" fmla="*/ 2147483647 w 26"/>
              <a:gd name="T1" fmla="*/ 2147483647 h 111"/>
              <a:gd name="T2" fmla="*/ 2147483647 w 26"/>
              <a:gd name="T3" fmla="*/ 2147483647 h 111"/>
              <a:gd name="T4" fmla="*/ 2147483647 w 26"/>
              <a:gd name="T5" fmla="*/ 2147483647 h 111"/>
              <a:gd name="T6" fmla="*/ 2147483647 w 26"/>
              <a:gd name="T7" fmla="*/ 2147483647 h 111"/>
              <a:gd name="T8" fmla="*/ 2147483647 w 26"/>
              <a:gd name="T9" fmla="*/ 2147483647 h 111"/>
              <a:gd name="T10" fmla="*/ 0 w 26"/>
              <a:gd name="T11" fmla="*/ 2147483647 h 111"/>
              <a:gd name="T12" fmla="*/ 0 w 26"/>
              <a:gd name="T13" fmla="*/ 2147483647 h 111"/>
              <a:gd name="T14" fmla="*/ 0 w 26"/>
              <a:gd name="T15" fmla="*/ 2147483647 h 111"/>
              <a:gd name="T16" fmla="*/ 2147483647 w 26"/>
              <a:gd name="T17" fmla="*/ 2147483647 h 111"/>
              <a:gd name="T18" fmla="*/ 2147483647 w 26"/>
              <a:gd name="T19" fmla="*/ 2147483647 h 111"/>
              <a:gd name="T20" fmla="*/ 2147483647 w 26"/>
              <a:gd name="T21" fmla="*/ 2147483647 h 111"/>
              <a:gd name="T22" fmla="*/ 2147483647 w 26"/>
              <a:gd name="T23" fmla="*/ 2147483647 h 111"/>
              <a:gd name="T24" fmla="*/ 2147483647 w 26"/>
              <a:gd name="T25" fmla="*/ 2147483647 h 111"/>
              <a:gd name="T26" fmla="*/ 2147483647 w 26"/>
              <a:gd name="T27" fmla="*/ 2147483647 h 111"/>
              <a:gd name="T28" fmla="*/ 2147483647 w 26"/>
              <a:gd name="T29" fmla="*/ 0 h 111"/>
              <a:gd name="T30" fmla="*/ 2147483647 w 26"/>
              <a:gd name="T31" fmla="*/ 2147483647 h 111"/>
              <a:gd name="T32" fmla="*/ 2147483647 w 26"/>
              <a:gd name="T33" fmla="*/ 2147483647 h 111"/>
              <a:gd name="T34" fmla="*/ 2147483647 w 26"/>
              <a:gd name="T35" fmla="*/ 2147483647 h 111"/>
              <a:gd name="T36" fmla="*/ 2147483647 w 26"/>
              <a:gd name="T37" fmla="*/ 2147483647 h 111"/>
              <a:gd name="T38" fmla="*/ 2147483647 w 26"/>
              <a:gd name="T39" fmla="*/ 2147483647 h 111"/>
              <a:gd name="T40" fmla="*/ 2147483647 w 26"/>
              <a:gd name="T41" fmla="*/ 2147483647 h 111"/>
              <a:gd name="T42" fmla="*/ 2147483647 w 26"/>
              <a:gd name="T43" fmla="*/ 2147483647 h 111"/>
              <a:gd name="T44" fmla="*/ 2147483647 w 26"/>
              <a:gd name="T45" fmla="*/ 2147483647 h 111"/>
              <a:gd name="T46" fmla="*/ 2147483647 w 26"/>
              <a:gd name="T47" fmla="*/ 2147483647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25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09925" y="5684639"/>
            <a:ext cx="53975" cy="58738"/>
          </a:xfrm>
          <a:custGeom>
            <a:avLst/>
            <a:gdLst>
              <a:gd name="T0" fmla="*/ 0 w 126"/>
              <a:gd name="T1" fmla="*/ 2147483647 h 62"/>
              <a:gd name="T2" fmla="*/ 2147483647 w 126"/>
              <a:gd name="T3" fmla="*/ 2147483647 h 62"/>
              <a:gd name="T4" fmla="*/ 2147483647 w 126"/>
              <a:gd name="T5" fmla="*/ 2147483647 h 62"/>
              <a:gd name="T6" fmla="*/ 2147483647 w 126"/>
              <a:gd name="T7" fmla="*/ 2147483647 h 62"/>
              <a:gd name="T8" fmla="*/ 2147483647 w 126"/>
              <a:gd name="T9" fmla="*/ 2147483647 h 62"/>
              <a:gd name="T10" fmla="*/ 2147483647 w 126"/>
              <a:gd name="T11" fmla="*/ 2147483647 h 62"/>
              <a:gd name="T12" fmla="*/ 2147483647 w 126"/>
              <a:gd name="T13" fmla="*/ 2147483647 h 62"/>
              <a:gd name="T14" fmla="*/ 2147483647 w 126"/>
              <a:gd name="T15" fmla="*/ 2147483647 h 62"/>
              <a:gd name="T16" fmla="*/ 2147483647 w 126"/>
              <a:gd name="T17" fmla="*/ 2147483647 h 62"/>
              <a:gd name="T18" fmla="*/ 2147483647 w 126"/>
              <a:gd name="T19" fmla="*/ 2147483647 h 62"/>
              <a:gd name="T20" fmla="*/ 2147483647 w 126"/>
              <a:gd name="T21" fmla="*/ 2147483647 h 62"/>
              <a:gd name="T22" fmla="*/ 2147483647 w 126"/>
              <a:gd name="T23" fmla="*/ 2147483647 h 62"/>
              <a:gd name="T24" fmla="*/ 2147483647 w 126"/>
              <a:gd name="T25" fmla="*/ 2147483647 h 62"/>
              <a:gd name="T26" fmla="*/ 2147483647 w 126"/>
              <a:gd name="T27" fmla="*/ 2147483647 h 62"/>
              <a:gd name="T28" fmla="*/ 2147483647 w 126"/>
              <a:gd name="T29" fmla="*/ 2147483647 h 62"/>
              <a:gd name="T30" fmla="*/ 2147483647 w 126"/>
              <a:gd name="T31" fmla="*/ 2147483647 h 62"/>
              <a:gd name="T32" fmla="*/ 2147483647 w 126"/>
              <a:gd name="T33" fmla="*/ 2147483647 h 62"/>
              <a:gd name="T34" fmla="*/ 2147483647 w 126"/>
              <a:gd name="T35" fmla="*/ 2147483647 h 62"/>
              <a:gd name="T36" fmla="*/ 2147483647 w 126"/>
              <a:gd name="T37" fmla="*/ 2147483647 h 62"/>
              <a:gd name="T38" fmla="*/ 2147483647 w 126"/>
              <a:gd name="T39" fmla="*/ 2147483647 h 62"/>
              <a:gd name="T40" fmla="*/ 2147483647 w 126"/>
              <a:gd name="T41" fmla="*/ 2147483647 h 62"/>
              <a:gd name="T42" fmla="*/ 2147483647 w 126"/>
              <a:gd name="T43" fmla="*/ 2147483647 h 62"/>
              <a:gd name="T44" fmla="*/ 2147483647 w 126"/>
              <a:gd name="T45" fmla="*/ 2147483647 h 62"/>
              <a:gd name="T46" fmla="*/ 2147483647 w 126"/>
              <a:gd name="T47" fmla="*/ 2147483647 h 62"/>
              <a:gd name="T48" fmla="*/ 2147483647 w 126"/>
              <a:gd name="T49" fmla="*/ 0 h 62"/>
              <a:gd name="T50" fmla="*/ 0 w 126"/>
              <a:gd name="T51" fmla="*/ 0 h 62"/>
              <a:gd name="T52" fmla="*/ 0 w 126"/>
              <a:gd name="T53" fmla="*/ 2147483647 h 62"/>
              <a:gd name="T54" fmla="*/ 0 w 126"/>
              <a:gd name="T55" fmla="*/ 2147483647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26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511800" y="5522714"/>
            <a:ext cx="30163" cy="55563"/>
          </a:xfrm>
          <a:custGeom>
            <a:avLst/>
            <a:gdLst>
              <a:gd name="T0" fmla="*/ 0 w 66"/>
              <a:gd name="T1" fmla="*/ 0 h 44"/>
              <a:gd name="T2" fmla="*/ 2147483647 w 66"/>
              <a:gd name="T3" fmla="*/ 2147483647 h 44"/>
              <a:gd name="T4" fmla="*/ 2147483647 w 66"/>
              <a:gd name="T5" fmla="*/ 2147483647 h 44"/>
              <a:gd name="T6" fmla="*/ 2147483647 w 66"/>
              <a:gd name="T7" fmla="*/ 2147483647 h 44"/>
              <a:gd name="T8" fmla="*/ 2147483647 w 66"/>
              <a:gd name="T9" fmla="*/ 2147483647 h 44"/>
              <a:gd name="T10" fmla="*/ 2147483647 w 66"/>
              <a:gd name="T11" fmla="*/ 2147483647 h 44"/>
              <a:gd name="T12" fmla="*/ 2147483647 w 66"/>
              <a:gd name="T13" fmla="*/ 2147483647 h 44"/>
              <a:gd name="T14" fmla="*/ 2147483647 w 66"/>
              <a:gd name="T15" fmla="*/ 2147483647 h 44"/>
              <a:gd name="T16" fmla="*/ 2147483647 w 66"/>
              <a:gd name="T17" fmla="*/ 2147483647 h 44"/>
              <a:gd name="T18" fmla="*/ 2147483647 w 66"/>
              <a:gd name="T19" fmla="*/ 2147483647 h 44"/>
              <a:gd name="T20" fmla="*/ 2147483647 w 66"/>
              <a:gd name="T21" fmla="*/ 2147483647 h 44"/>
              <a:gd name="T22" fmla="*/ 2147483647 w 66"/>
              <a:gd name="T23" fmla="*/ 2147483647 h 44"/>
              <a:gd name="T24" fmla="*/ 2147483647 w 66"/>
              <a:gd name="T25" fmla="*/ 2147483647 h 44"/>
              <a:gd name="T26" fmla="*/ 2147483647 w 66"/>
              <a:gd name="T27" fmla="*/ 2147483647 h 44"/>
              <a:gd name="T28" fmla="*/ 2147483647 w 66"/>
              <a:gd name="T29" fmla="*/ 2147483647 h 44"/>
              <a:gd name="T30" fmla="*/ 2147483647 w 66"/>
              <a:gd name="T31" fmla="*/ 2147483647 h 44"/>
              <a:gd name="T32" fmla="*/ 2147483647 w 66"/>
              <a:gd name="T33" fmla="*/ 2147483647 h 44"/>
              <a:gd name="T34" fmla="*/ 2147483647 w 66"/>
              <a:gd name="T35" fmla="*/ 2147483647 h 44"/>
              <a:gd name="T36" fmla="*/ 0 w 66"/>
              <a:gd name="T37" fmla="*/ 2147483647 h 44"/>
              <a:gd name="T38" fmla="*/ 0 w 66"/>
              <a:gd name="T39" fmla="*/ 2147483647 h 44"/>
              <a:gd name="T40" fmla="*/ 0 w 66"/>
              <a:gd name="T41" fmla="*/ 2147483647 h 44"/>
              <a:gd name="T42" fmla="*/ 0 w 66"/>
              <a:gd name="T43" fmla="*/ 2147483647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27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666038" y="2293739"/>
            <a:ext cx="20637" cy="57150"/>
          </a:xfrm>
          <a:custGeom>
            <a:avLst/>
            <a:gdLst>
              <a:gd name="T0" fmla="*/ 2147483647 w 46"/>
              <a:gd name="T1" fmla="*/ 0 h 16"/>
              <a:gd name="T2" fmla="*/ 2147483647 w 46"/>
              <a:gd name="T3" fmla="*/ 2147483647 h 16"/>
              <a:gd name="T4" fmla="*/ 2147483647 w 46"/>
              <a:gd name="T5" fmla="*/ 2147483647 h 16"/>
              <a:gd name="T6" fmla="*/ 2147483647 w 46"/>
              <a:gd name="T7" fmla="*/ 2147483647 h 16"/>
              <a:gd name="T8" fmla="*/ 2147483647 w 46"/>
              <a:gd name="T9" fmla="*/ 2147483647 h 16"/>
              <a:gd name="T10" fmla="*/ 2147483647 w 46"/>
              <a:gd name="T11" fmla="*/ 2147483647 h 16"/>
              <a:gd name="T12" fmla="*/ 2147483647 w 46"/>
              <a:gd name="T13" fmla="*/ 2147483647 h 16"/>
              <a:gd name="T14" fmla="*/ 2147483647 w 46"/>
              <a:gd name="T15" fmla="*/ 2147483647 h 16"/>
              <a:gd name="T16" fmla="*/ 2147483647 w 46"/>
              <a:gd name="T17" fmla="*/ 2147483647 h 16"/>
              <a:gd name="T18" fmla="*/ 2147483647 w 46"/>
              <a:gd name="T19" fmla="*/ 2147483647 h 16"/>
              <a:gd name="T20" fmla="*/ 0 w 46"/>
              <a:gd name="T21" fmla="*/ 0 h 16"/>
              <a:gd name="T22" fmla="*/ 214748364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28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842250" y="2327077"/>
            <a:ext cx="15875" cy="57150"/>
          </a:xfrm>
          <a:custGeom>
            <a:avLst/>
            <a:gdLst>
              <a:gd name="T0" fmla="*/ 2147483647 w 39"/>
              <a:gd name="T1" fmla="*/ 2147483647 h 26"/>
              <a:gd name="T2" fmla="*/ 2147483647 w 39"/>
              <a:gd name="T3" fmla="*/ 2147483647 h 26"/>
              <a:gd name="T4" fmla="*/ 2147483647 w 39"/>
              <a:gd name="T5" fmla="*/ 2147483647 h 26"/>
              <a:gd name="T6" fmla="*/ 2147483647 w 39"/>
              <a:gd name="T7" fmla="*/ 2147483647 h 26"/>
              <a:gd name="T8" fmla="*/ 2147483647 w 39"/>
              <a:gd name="T9" fmla="*/ 2147483647 h 26"/>
              <a:gd name="T10" fmla="*/ 2147483647 w 39"/>
              <a:gd name="T11" fmla="*/ 2147483647 h 26"/>
              <a:gd name="T12" fmla="*/ 2147483647 w 39"/>
              <a:gd name="T13" fmla="*/ 2147483647 h 26"/>
              <a:gd name="T14" fmla="*/ 2147483647 w 39"/>
              <a:gd name="T15" fmla="*/ 2147483647 h 26"/>
              <a:gd name="T16" fmla="*/ 2147483647 w 39"/>
              <a:gd name="T17" fmla="*/ 2147483647 h 26"/>
              <a:gd name="T18" fmla="*/ 2147483647 w 39"/>
              <a:gd name="T19" fmla="*/ 2147483647 h 26"/>
              <a:gd name="T20" fmla="*/ 0 w 39"/>
              <a:gd name="T21" fmla="*/ 0 h 26"/>
              <a:gd name="T22" fmla="*/ 2147483647 w 39"/>
              <a:gd name="T23" fmla="*/ 2147483647 h 26"/>
              <a:gd name="T24" fmla="*/ 2147483647 w 39"/>
              <a:gd name="T25" fmla="*/ 2147483647 h 26"/>
              <a:gd name="T26" fmla="*/ 2147483647 w 39"/>
              <a:gd name="T27" fmla="*/ 2147483647 h 26"/>
              <a:gd name="T28" fmla="*/ 2147483647 w 39"/>
              <a:gd name="T29" fmla="*/ 2147483647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29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91388" y="2557264"/>
            <a:ext cx="4762" cy="58738"/>
          </a:xfrm>
          <a:custGeom>
            <a:avLst/>
            <a:gdLst>
              <a:gd name="T0" fmla="*/ 2147483647 w 11"/>
              <a:gd name="T1" fmla="*/ 0 h 25"/>
              <a:gd name="T2" fmla="*/ 2147483647 w 11"/>
              <a:gd name="T3" fmla="*/ 2147483647 h 25"/>
              <a:gd name="T4" fmla="*/ 2147483647 w 11"/>
              <a:gd name="T5" fmla="*/ 2147483647 h 25"/>
              <a:gd name="T6" fmla="*/ 2147483647 w 11"/>
              <a:gd name="T7" fmla="*/ 2147483647 h 25"/>
              <a:gd name="T8" fmla="*/ 2147483647 w 11"/>
              <a:gd name="T9" fmla="*/ 2147483647 h 25"/>
              <a:gd name="T10" fmla="*/ 2147483647 w 11"/>
              <a:gd name="T11" fmla="*/ 2147483647 h 25"/>
              <a:gd name="T12" fmla="*/ 2147483647 w 11"/>
              <a:gd name="T13" fmla="*/ 2147483647 h 25"/>
              <a:gd name="T14" fmla="*/ 0 w 11"/>
              <a:gd name="T15" fmla="*/ 2147483647 h 25"/>
              <a:gd name="T16" fmla="*/ 0 w 11"/>
              <a:gd name="T17" fmla="*/ 2147483647 h 25"/>
              <a:gd name="T18" fmla="*/ 2147483647 w 11"/>
              <a:gd name="T19" fmla="*/ 2147483647 h 25"/>
              <a:gd name="T20" fmla="*/ 2147483647 w 11"/>
              <a:gd name="T21" fmla="*/ 2147483647 h 25"/>
              <a:gd name="T22" fmla="*/ 2147483647 w 11"/>
              <a:gd name="T23" fmla="*/ 2147483647 h 25"/>
              <a:gd name="T24" fmla="*/ 2147483647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30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105650" y="3119239"/>
            <a:ext cx="14288" cy="58738"/>
          </a:xfrm>
          <a:custGeom>
            <a:avLst/>
            <a:gdLst>
              <a:gd name="T0" fmla="*/ 2147483647 w 20"/>
              <a:gd name="T1" fmla="*/ 0 h 31"/>
              <a:gd name="T2" fmla="*/ 2147483647 w 20"/>
              <a:gd name="T3" fmla="*/ 2147483647 h 31"/>
              <a:gd name="T4" fmla="*/ 2147483647 w 20"/>
              <a:gd name="T5" fmla="*/ 2147483647 h 31"/>
              <a:gd name="T6" fmla="*/ 2147483647 w 20"/>
              <a:gd name="T7" fmla="*/ 2147483647 h 31"/>
              <a:gd name="T8" fmla="*/ 0 w 20"/>
              <a:gd name="T9" fmla="*/ 2147483647 h 31"/>
              <a:gd name="T10" fmla="*/ 0 w 20"/>
              <a:gd name="T11" fmla="*/ 2147483647 h 31"/>
              <a:gd name="T12" fmla="*/ 2147483647 w 20"/>
              <a:gd name="T13" fmla="*/ 2147483647 h 31"/>
              <a:gd name="T14" fmla="*/ 2147483647 w 20"/>
              <a:gd name="T15" fmla="*/ 2147483647 h 31"/>
              <a:gd name="T16" fmla="*/ 2147483647 w 20"/>
              <a:gd name="T17" fmla="*/ 2147483647 h 31"/>
              <a:gd name="T18" fmla="*/ 2147483647 w 20"/>
              <a:gd name="T19" fmla="*/ 2147483647 h 31"/>
              <a:gd name="T20" fmla="*/ 2147483647 w 20"/>
              <a:gd name="T21" fmla="*/ 2147483647 h 31"/>
              <a:gd name="T22" fmla="*/ 2147483647 w 20"/>
              <a:gd name="T23" fmla="*/ 0 h 31"/>
              <a:gd name="T24" fmla="*/ 2147483647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31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123113" y="3054152"/>
            <a:ext cx="15875" cy="57150"/>
          </a:xfrm>
          <a:custGeom>
            <a:avLst/>
            <a:gdLst>
              <a:gd name="T0" fmla="*/ 2147483647 w 26"/>
              <a:gd name="T1" fmla="*/ 2147483647 h 37"/>
              <a:gd name="T2" fmla="*/ 0 w 26"/>
              <a:gd name="T3" fmla="*/ 2147483647 h 37"/>
              <a:gd name="T4" fmla="*/ 2147483647 w 26"/>
              <a:gd name="T5" fmla="*/ 2147483647 h 37"/>
              <a:gd name="T6" fmla="*/ 2147483647 w 26"/>
              <a:gd name="T7" fmla="*/ 2147483647 h 37"/>
              <a:gd name="T8" fmla="*/ 2147483647 w 26"/>
              <a:gd name="T9" fmla="*/ 2147483647 h 37"/>
              <a:gd name="T10" fmla="*/ 2147483647 w 26"/>
              <a:gd name="T11" fmla="*/ 0 h 37"/>
              <a:gd name="T12" fmla="*/ 2147483647 w 26"/>
              <a:gd name="T13" fmla="*/ 2147483647 h 37"/>
              <a:gd name="T14" fmla="*/ 2147483647 w 26"/>
              <a:gd name="T15" fmla="*/ 2147483647 h 37"/>
              <a:gd name="T16" fmla="*/ 2147483647 w 26"/>
              <a:gd name="T17" fmla="*/ 2147483647 h 37"/>
              <a:gd name="T18" fmla="*/ 2147483647 w 26"/>
              <a:gd name="T19" fmla="*/ 2147483647 h 37"/>
              <a:gd name="T20" fmla="*/ 2147483647 w 26"/>
              <a:gd name="T21" fmla="*/ 2147483647 h 37"/>
              <a:gd name="T22" fmla="*/ 2147483647 w 26"/>
              <a:gd name="T23" fmla="*/ 2147483647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32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011988" y="2903339"/>
            <a:ext cx="1587" cy="60325"/>
          </a:xfrm>
          <a:custGeom>
            <a:avLst/>
            <a:gdLst>
              <a:gd name="T0" fmla="*/ 0 w 7"/>
              <a:gd name="T1" fmla="*/ 2147483647 h 18"/>
              <a:gd name="T2" fmla="*/ 0 w 7"/>
              <a:gd name="T3" fmla="*/ 0 h 18"/>
              <a:gd name="T4" fmla="*/ 2147483647 w 7"/>
              <a:gd name="T5" fmla="*/ 2147483647 h 18"/>
              <a:gd name="T6" fmla="*/ 0 w 7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33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863975" y="2030214"/>
            <a:ext cx="9525" cy="57150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0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2147483647 w 33"/>
              <a:gd name="T19" fmla="*/ 2147483647 h 31"/>
              <a:gd name="T20" fmla="*/ 2147483647 w 33"/>
              <a:gd name="T21" fmla="*/ 2147483647 h 31"/>
              <a:gd name="T22" fmla="*/ 0 w 33"/>
              <a:gd name="T23" fmla="*/ 2147483647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34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849688" y="1798439"/>
            <a:ext cx="3175" cy="57150"/>
          </a:xfrm>
          <a:custGeom>
            <a:avLst/>
            <a:gdLst>
              <a:gd name="T0" fmla="*/ 2147483647 w 14"/>
              <a:gd name="T1" fmla="*/ 0 h 6"/>
              <a:gd name="T2" fmla="*/ 0 w 14"/>
              <a:gd name="T3" fmla="*/ 2147483647 h 6"/>
              <a:gd name="T4" fmla="*/ 2147483647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35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330825" y="3576439"/>
            <a:ext cx="25400" cy="55563"/>
          </a:xfrm>
          <a:custGeom>
            <a:avLst/>
            <a:gdLst>
              <a:gd name="T0" fmla="*/ 2147483647 w 59"/>
              <a:gd name="T1" fmla="*/ 2147483647 h 31"/>
              <a:gd name="T2" fmla="*/ 2147483647 w 59"/>
              <a:gd name="T3" fmla="*/ 2147483647 h 31"/>
              <a:gd name="T4" fmla="*/ 2147483647 w 59"/>
              <a:gd name="T5" fmla="*/ 2147483647 h 31"/>
              <a:gd name="T6" fmla="*/ 2147483647 w 59"/>
              <a:gd name="T7" fmla="*/ 2147483647 h 31"/>
              <a:gd name="T8" fmla="*/ 2147483647 w 59"/>
              <a:gd name="T9" fmla="*/ 2147483647 h 31"/>
              <a:gd name="T10" fmla="*/ 2147483647 w 59"/>
              <a:gd name="T11" fmla="*/ 2147483647 h 31"/>
              <a:gd name="T12" fmla="*/ 2147483647 w 59"/>
              <a:gd name="T13" fmla="*/ 2147483647 h 31"/>
              <a:gd name="T14" fmla="*/ 2147483647 w 59"/>
              <a:gd name="T15" fmla="*/ 2147483647 h 31"/>
              <a:gd name="T16" fmla="*/ 2147483647 w 59"/>
              <a:gd name="T17" fmla="*/ 2147483647 h 31"/>
              <a:gd name="T18" fmla="*/ 2147483647 w 59"/>
              <a:gd name="T19" fmla="*/ 2147483647 h 31"/>
              <a:gd name="T20" fmla="*/ 2147483647 w 59"/>
              <a:gd name="T21" fmla="*/ 2147483647 h 31"/>
              <a:gd name="T22" fmla="*/ 2147483647 w 59"/>
              <a:gd name="T23" fmla="*/ 2147483647 h 31"/>
              <a:gd name="T24" fmla="*/ 2147483647 w 59"/>
              <a:gd name="T25" fmla="*/ 2147483647 h 31"/>
              <a:gd name="T26" fmla="*/ 2147483647 w 59"/>
              <a:gd name="T27" fmla="*/ 2147483647 h 31"/>
              <a:gd name="T28" fmla="*/ 0 w 59"/>
              <a:gd name="T29" fmla="*/ 2147483647 h 31"/>
              <a:gd name="T30" fmla="*/ 2147483647 w 59"/>
              <a:gd name="T31" fmla="*/ 2147483647 h 31"/>
              <a:gd name="T32" fmla="*/ 2147483647 w 59"/>
              <a:gd name="T33" fmla="*/ 2147483647 h 31"/>
              <a:gd name="T34" fmla="*/ 2147483647 w 59"/>
              <a:gd name="T35" fmla="*/ 2147483647 h 31"/>
              <a:gd name="T36" fmla="*/ 2147483647 w 59"/>
              <a:gd name="T37" fmla="*/ 2147483647 h 31"/>
              <a:gd name="T38" fmla="*/ 2147483647 w 59"/>
              <a:gd name="T39" fmla="*/ 2147483647 h 31"/>
              <a:gd name="T40" fmla="*/ 2147483647 w 59"/>
              <a:gd name="T41" fmla="*/ 0 h 31"/>
              <a:gd name="T42" fmla="*/ 2147483647 w 59"/>
              <a:gd name="T43" fmla="*/ 0 h 31"/>
              <a:gd name="T44" fmla="*/ 2147483647 w 59"/>
              <a:gd name="T45" fmla="*/ 2147483647 h 31"/>
              <a:gd name="T46" fmla="*/ 2147483647 w 59"/>
              <a:gd name="T47" fmla="*/ 2147483647 h 31"/>
              <a:gd name="T48" fmla="*/ 2147483647 w 59"/>
              <a:gd name="T49" fmla="*/ 2147483647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36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033963" y="3438327"/>
            <a:ext cx="19050" cy="58737"/>
          </a:xfrm>
          <a:custGeom>
            <a:avLst/>
            <a:gdLst>
              <a:gd name="T0" fmla="*/ 2147483647 w 47"/>
              <a:gd name="T1" fmla="*/ 0 h 68"/>
              <a:gd name="T2" fmla="*/ 2147483647 w 47"/>
              <a:gd name="T3" fmla="*/ 2147483647 h 68"/>
              <a:gd name="T4" fmla="*/ 2147483647 w 47"/>
              <a:gd name="T5" fmla="*/ 2147483647 h 68"/>
              <a:gd name="T6" fmla="*/ 2147483647 w 47"/>
              <a:gd name="T7" fmla="*/ 2147483647 h 68"/>
              <a:gd name="T8" fmla="*/ 0 w 47"/>
              <a:gd name="T9" fmla="*/ 2147483647 h 68"/>
              <a:gd name="T10" fmla="*/ 0 w 47"/>
              <a:gd name="T11" fmla="*/ 2147483647 h 68"/>
              <a:gd name="T12" fmla="*/ 2147483647 w 47"/>
              <a:gd name="T13" fmla="*/ 2147483647 h 68"/>
              <a:gd name="T14" fmla="*/ 2147483647 w 47"/>
              <a:gd name="T15" fmla="*/ 2147483647 h 68"/>
              <a:gd name="T16" fmla="*/ 2147483647 w 47"/>
              <a:gd name="T17" fmla="*/ 2147483647 h 68"/>
              <a:gd name="T18" fmla="*/ 2147483647 w 47"/>
              <a:gd name="T19" fmla="*/ 2147483647 h 68"/>
              <a:gd name="T20" fmla="*/ 2147483647 w 47"/>
              <a:gd name="T21" fmla="*/ 2147483647 h 68"/>
              <a:gd name="T22" fmla="*/ 2147483647 w 47"/>
              <a:gd name="T23" fmla="*/ 2147483647 h 68"/>
              <a:gd name="T24" fmla="*/ 2147483647 w 47"/>
              <a:gd name="T25" fmla="*/ 2147483647 h 68"/>
              <a:gd name="T26" fmla="*/ 2147483647 w 47"/>
              <a:gd name="T27" fmla="*/ 2147483647 h 68"/>
              <a:gd name="T28" fmla="*/ 2147483647 w 47"/>
              <a:gd name="T29" fmla="*/ 2147483647 h 68"/>
              <a:gd name="T30" fmla="*/ 2147483647 w 47"/>
              <a:gd name="T31" fmla="*/ 2147483647 h 68"/>
              <a:gd name="T32" fmla="*/ 2147483647 w 47"/>
              <a:gd name="T33" fmla="*/ 2147483647 h 68"/>
              <a:gd name="T34" fmla="*/ 2147483647 w 47"/>
              <a:gd name="T35" fmla="*/ 2147483647 h 68"/>
              <a:gd name="T36" fmla="*/ 2147483647 w 47"/>
              <a:gd name="T37" fmla="*/ 2147483647 h 68"/>
              <a:gd name="T38" fmla="*/ 2147483647 w 47"/>
              <a:gd name="T39" fmla="*/ 2147483647 h 68"/>
              <a:gd name="T40" fmla="*/ 2147483647 w 47"/>
              <a:gd name="T41" fmla="*/ 2147483647 h 68"/>
              <a:gd name="T42" fmla="*/ 2147483647 w 47"/>
              <a:gd name="T43" fmla="*/ 2147483647 h 68"/>
              <a:gd name="T44" fmla="*/ 2147483647 w 47"/>
              <a:gd name="T45" fmla="*/ 2147483647 h 68"/>
              <a:gd name="T46" fmla="*/ 2147483647 w 47"/>
              <a:gd name="T47" fmla="*/ 2147483647 h 68"/>
              <a:gd name="T48" fmla="*/ 2147483647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137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805488" y="3625652"/>
            <a:ext cx="46037" cy="374650"/>
            <a:chOff x="3950" y="2430"/>
            <a:chExt cx="36" cy="234"/>
          </a:xfrm>
        </p:grpSpPr>
        <p:sp>
          <p:nvSpPr>
            <p:cNvPr id="2538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0 h 20"/>
                <a:gd name="T4" fmla="*/ 0 w 19"/>
                <a:gd name="T5" fmla="*/ 0 h 20"/>
                <a:gd name="T6" fmla="*/ 0 w 19"/>
                <a:gd name="T7" fmla="*/ 0 h 20"/>
                <a:gd name="T8" fmla="*/ 0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39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0 w 19"/>
                <a:gd name="T3" fmla="*/ 0 h 12"/>
                <a:gd name="T4" fmla="*/ 0 w 19"/>
                <a:gd name="T5" fmla="*/ 0 h 12"/>
                <a:gd name="T6" fmla="*/ 0 w 19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40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0 w 19"/>
                <a:gd name="T3" fmla="*/ 0 h 1"/>
                <a:gd name="T4" fmla="*/ 0 w 19"/>
                <a:gd name="T5" fmla="*/ 0 h 1"/>
                <a:gd name="T6" fmla="*/ 0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41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s-ES" altLang="es-ES" sz="18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42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43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44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0 h 24"/>
                <a:gd name="T4" fmla="*/ 0 w 14"/>
                <a:gd name="T5" fmla="*/ 0 h 24"/>
                <a:gd name="T6" fmla="*/ 0 w 14"/>
                <a:gd name="T7" fmla="*/ 0 h 24"/>
                <a:gd name="T8" fmla="*/ 0 w 14"/>
                <a:gd name="T9" fmla="*/ 0 h 24"/>
                <a:gd name="T10" fmla="*/ 0 w 14"/>
                <a:gd name="T11" fmla="*/ 0 h 24"/>
                <a:gd name="T12" fmla="*/ 0 w 14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45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46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0 w 13"/>
                <a:gd name="T1" fmla="*/ 0 h 12"/>
                <a:gd name="T2" fmla="*/ 0 w 13"/>
                <a:gd name="T3" fmla="*/ 0 h 12"/>
                <a:gd name="T4" fmla="*/ 0 w 13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47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0 h 19"/>
                <a:gd name="T4" fmla="*/ 0 w 7"/>
                <a:gd name="T5" fmla="*/ 0 h 19"/>
                <a:gd name="T6" fmla="*/ 0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48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49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0 h 18"/>
                <a:gd name="T4" fmla="*/ 0 w 8"/>
                <a:gd name="T5" fmla="*/ 0 h 18"/>
                <a:gd name="T6" fmla="*/ 0 w 8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50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0 h 19"/>
                <a:gd name="T4" fmla="*/ 0 w 6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51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0 h 19"/>
                <a:gd name="T4" fmla="*/ 0 w 28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52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0 w 15"/>
                <a:gd name="T1" fmla="*/ 0 h 19"/>
                <a:gd name="T2" fmla="*/ 0 w 15"/>
                <a:gd name="T3" fmla="*/ 0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53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0 h 20"/>
                <a:gd name="T4" fmla="*/ 0 w 19"/>
                <a:gd name="T5" fmla="*/ 0 h 20"/>
                <a:gd name="T6" fmla="*/ 0 w 19"/>
                <a:gd name="T7" fmla="*/ 0 h 20"/>
                <a:gd name="T8" fmla="*/ 0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54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0 w 19"/>
                <a:gd name="T3" fmla="*/ 0 h 12"/>
                <a:gd name="T4" fmla="*/ 0 w 19"/>
                <a:gd name="T5" fmla="*/ 0 h 12"/>
                <a:gd name="T6" fmla="*/ 0 w 19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55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0 w 19"/>
                <a:gd name="T3" fmla="*/ 0 h 1"/>
                <a:gd name="T4" fmla="*/ 0 w 19"/>
                <a:gd name="T5" fmla="*/ 0 h 1"/>
                <a:gd name="T6" fmla="*/ 0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56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s-ES" altLang="es-ES" sz="18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57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58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59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0 h 24"/>
                <a:gd name="T4" fmla="*/ 0 w 14"/>
                <a:gd name="T5" fmla="*/ 0 h 24"/>
                <a:gd name="T6" fmla="*/ 0 w 14"/>
                <a:gd name="T7" fmla="*/ 0 h 24"/>
                <a:gd name="T8" fmla="*/ 0 w 14"/>
                <a:gd name="T9" fmla="*/ 0 h 24"/>
                <a:gd name="T10" fmla="*/ 0 w 14"/>
                <a:gd name="T11" fmla="*/ 0 h 24"/>
                <a:gd name="T12" fmla="*/ 0 w 14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60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61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0 w 13"/>
                <a:gd name="T1" fmla="*/ 0 h 12"/>
                <a:gd name="T2" fmla="*/ 0 w 13"/>
                <a:gd name="T3" fmla="*/ 0 h 12"/>
                <a:gd name="T4" fmla="*/ 0 w 13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62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0 h 19"/>
                <a:gd name="T4" fmla="*/ 0 w 7"/>
                <a:gd name="T5" fmla="*/ 0 h 19"/>
                <a:gd name="T6" fmla="*/ 0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63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64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0 h 18"/>
                <a:gd name="T4" fmla="*/ 0 w 8"/>
                <a:gd name="T5" fmla="*/ 0 h 18"/>
                <a:gd name="T6" fmla="*/ 0 w 8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65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0 h 19"/>
                <a:gd name="T4" fmla="*/ 0 w 6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66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0 h 19"/>
                <a:gd name="T4" fmla="*/ 0 w 28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67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0 w 15"/>
                <a:gd name="T1" fmla="*/ 0 h 19"/>
                <a:gd name="T2" fmla="*/ 0 w 15"/>
                <a:gd name="T3" fmla="*/ 0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68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w 20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138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870825" y="4125714"/>
            <a:ext cx="185738" cy="214313"/>
            <a:chOff x="5486" y="2743"/>
            <a:chExt cx="137" cy="132"/>
          </a:xfrm>
        </p:grpSpPr>
        <p:sp>
          <p:nvSpPr>
            <p:cNvPr id="6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0 h 87"/>
                <a:gd name="T2" fmla="*/ 0 w 40"/>
                <a:gd name="T3" fmla="*/ 1 h 87"/>
                <a:gd name="T4" fmla="*/ 0 w 40"/>
                <a:gd name="T5" fmla="*/ 1 h 87"/>
                <a:gd name="T6" fmla="*/ 0 w 40"/>
                <a:gd name="T7" fmla="*/ 1 h 87"/>
                <a:gd name="T8" fmla="*/ 0 w 40"/>
                <a:gd name="T9" fmla="*/ 1 h 87"/>
                <a:gd name="T10" fmla="*/ 0 w 40"/>
                <a:gd name="T11" fmla="*/ 1 h 87"/>
                <a:gd name="T12" fmla="*/ 0 w 40"/>
                <a:gd name="T13" fmla="*/ 1 h 87"/>
                <a:gd name="T14" fmla="*/ 0 w 40"/>
                <a:gd name="T15" fmla="*/ 1 h 87"/>
                <a:gd name="T16" fmla="*/ 0 w 40"/>
                <a:gd name="T17" fmla="*/ 1 h 87"/>
                <a:gd name="T18" fmla="*/ 0 w 40"/>
                <a:gd name="T19" fmla="*/ 1 h 87"/>
                <a:gd name="T20" fmla="*/ 0 w 40"/>
                <a:gd name="T21" fmla="*/ 1 h 87"/>
                <a:gd name="T22" fmla="*/ 0 w 40"/>
                <a:gd name="T23" fmla="*/ 1 h 87"/>
                <a:gd name="T24" fmla="*/ 0 w 40"/>
                <a:gd name="T25" fmla="*/ 1 h 87"/>
                <a:gd name="T26" fmla="*/ 0 w 40"/>
                <a:gd name="T27" fmla="*/ 1 h 87"/>
                <a:gd name="T28" fmla="*/ 0 w 40"/>
                <a:gd name="T29" fmla="*/ 0 h 87"/>
                <a:gd name="T30" fmla="*/ 0 w 40"/>
                <a:gd name="T31" fmla="*/ 0 h 87"/>
                <a:gd name="T32" fmla="*/ 0 w 40"/>
                <a:gd name="T33" fmla="*/ 0 h 87"/>
                <a:gd name="T34" fmla="*/ 0 w 40"/>
                <a:gd name="T35" fmla="*/ 0 h 87"/>
                <a:gd name="T36" fmla="*/ 0 w 40"/>
                <a:gd name="T37" fmla="*/ 0 h 87"/>
                <a:gd name="T38" fmla="*/ 0 w 40"/>
                <a:gd name="T39" fmla="*/ 0 h 87"/>
                <a:gd name="T40" fmla="*/ 0 w 40"/>
                <a:gd name="T41" fmla="*/ 0 h 87"/>
                <a:gd name="T42" fmla="*/ 0 w 40"/>
                <a:gd name="T43" fmla="*/ 0 h 87"/>
                <a:gd name="T44" fmla="*/ 0 w 40"/>
                <a:gd name="T45" fmla="*/ 0 h 87"/>
                <a:gd name="T46" fmla="*/ 0 w 40"/>
                <a:gd name="T47" fmla="*/ 0 h 87"/>
                <a:gd name="T48" fmla="*/ 0 w 40"/>
                <a:gd name="T49" fmla="*/ 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0 h 37"/>
                <a:gd name="T2" fmla="*/ 0 w 61"/>
                <a:gd name="T3" fmla="*/ 0 h 37"/>
                <a:gd name="T4" fmla="*/ 0 w 61"/>
                <a:gd name="T5" fmla="*/ 0 h 37"/>
                <a:gd name="T6" fmla="*/ 1 w 61"/>
                <a:gd name="T7" fmla="*/ 0 h 37"/>
                <a:gd name="T8" fmla="*/ 1 w 61"/>
                <a:gd name="T9" fmla="*/ 0 h 37"/>
                <a:gd name="T10" fmla="*/ 1 w 61"/>
                <a:gd name="T11" fmla="*/ 0 h 37"/>
                <a:gd name="T12" fmla="*/ 1 w 61"/>
                <a:gd name="T13" fmla="*/ 0 h 37"/>
                <a:gd name="T14" fmla="*/ 1 w 61"/>
                <a:gd name="T15" fmla="*/ 0 h 37"/>
                <a:gd name="T16" fmla="*/ 0 w 61"/>
                <a:gd name="T17" fmla="*/ 0 h 37"/>
                <a:gd name="T18" fmla="*/ 0 w 61"/>
                <a:gd name="T19" fmla="*/ 0 h 37"/>
                <a:gd name="T20" fmla="*/ 0 w 61"/>
                <a:gd name="T21" fmla="*/ 0 h 37"/>
                <a:gd name="T22" fmla="*/ 0 w 61"/>
                <a:gd name="T23" fmla="*/ 0 h 37"/>
                <a:gd name="T24" fmla="*/ 0 w 61"/>
                <a:gd name="T25" fmla="*/ 0 h 37"/>
                <a:gd name="T26" fmla="*/ 0 w 61"/>
                <a:gd name="T27" fmla="*/ 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31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0 w 40"/>
                <a:gd name="T1" fmla="*/ 0 h 30"/>
                <a:gd name="T2" fmla="*/ 0 w 40"/>
                <a:gd name="T3" fmla="*/ 0 h 30"/>
                <a:gd name="T4" fmla="*/ 0 w 40"/>
                <a:gd name="T5" fmla="*/ 0 h 30"/>
                <a:gd name="T6" fmla="*/ 0 w 40"/>
                <a:gd name="T7" fmla="*/ 0 h 30"/>
                <a:gd name="T8" fmla="*/ 0 w 40"/>
                <a:gd name="T9" fmla="*/ 0 h 30"/>
                <a:gd name="T10" fmla="*/ 0 w 40"/>
                <a:gd name="T11" fmla="*/ 0 h 30"/>
                <a:gd name="T12" fmla="*/ 0 w 40"/>
                <a:gd name="T13" fmla="*/ 0 h 30"/>
                <a:gd name="T14" fmla="*/ 0 w 40"/>
                <a:gd name="T15" fmla="*/ 0 h 30"/>
                <a:gd name="T16" fmla="*/ 0 w 40"/>
                <a:gd name="T17" fmla="*/ 0 h 30"/>
                <a:gd name="T18" fmla="*/ 0 w 40"/>
                <a:gd name="T19" fmla="*/ 0 h 30"/>
                <a:gd name="T20" fmla="*/ 0 w 40"/>
                <a:gd name="T21" fmla="*/ 0 h 30"/>
                <a:gd name="T22" fmla="*/ 0 w 40"/>
                <a:gd name="T23" fmla="*/ 0 h 30"/>
                <a:gd name="T24" fmla="*/ 0 w 40"/>
                <a:gd name="T25" fmla="*/ 0 h 30"/>
                <a:gd name="T26" fmla="*/ 0 w 40"/>
                <a:gd name="T27" fmla="*/ 0 h 30"/>
                <a:gd name="T28" fmla="*/ 0 w 40"/>
                <a:gd name="T29" fmla="*/ 0 h 30"/>
                <a:gd name="T30" fmla="*/ 0 w 40"/>
                <a:gd name="T31" fmla="*/ 0 h 30"/>
                <a:gd name="T32" fmla="*/ 0 w 40"/>
                <a:gd name="T33" fmla="*/ 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32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1 w 74"/>
                <a:gd name="T1" fmla="*/ 1 h 80"/>
                <a:gd name="T2" fmla="*/ 1 w 74"/>
                <a:gd name="T3" fmla="*/ 1 h 80"/>
                <a:gd name="T4" fmla="*/ 1 w 74"/>
                <a:gd name="T5" fmla="*/ 1 h 80"/>
                <a:gd name="T6" fmla="*/ 1 w 74"/>
                <a:gd name="T7" fmla="*/ 1 h 80"/>
                <a:gd name="T8" fmla="*/ 1 w 74"/>
                <a:gd name="T9" fmla="*/ 1 h 80"/>
                <a:gd name="T10" fmla="*/ 1 w 74"/>
                <a:gd name="T11" fmla="*/ 1 h 80"/>
                <a:gd name="T12" fmla="*/ 1 w 74"/>
                <a:gd name="T13" fmla="*/ 0 h 80"/>
                <a:gd name="T14" fmla="*/ 0 w 74"/>
                <a:gd name="T15" fmla="*/ 0 h 80"/>
                <a:gd name="T16" fmla="*/ 0 w 74"/>
                <a:gd name="T17" fmla="*/ 0 h 80"/>
                <a:gd name="T18" fmla="*/ 0 w 74"/>
                <a:gd name="T19" fmla="*/ 0 h 80"/>
                <a:gd name="T20" fmla="*/ 0 w 74"/>
                <a:gd name="T21" fmla="*/ 0 h 80"/>
                <a:gd name="T22" fmla="*/ 0 w 74"/>
                <a:gd name="T23" fmla="*/ 0 h 80"/>
                <a:gd name="T24" fmla="*/ 0 w 74"/>
                <a:gd name="T25" fmla="*/ 0 h 80"/>
                <a:gd name="T26" fmla="*/ 0 w 74"/>
                <a:gd name="T27" fmla="*/ 0 h 80"/>
                <a:gd name="T28" fmla="*/ 0 w 74"/>
                <a:gd name="T29" fmla="*/ 0 h 80"/>
                <a:gd name="T30" fmla="*/ 0 w 74"/>
                <a:gd name="T31" fmla="*/ 0 h 80"/>
                <a:gd name="T32" fmla="*/ 0 w 74"/>
                <a:gd name="T33" fmla="*/ 0 h 80"/>
                <a:gd name="T34" fmla="*/ 0 w 74"/>
                <a:gd name="T35" fmla="*/ 0 h 80"/>
                <a:gd name="T36" fmla="*/ 0 w 74"/>
                <a:gd name="T37" fmla="*/ 0 h 80"/>
                <a:gd name="T38" fmla="*/ 0 w 74"/>
                <a:gd name="T39" fmla="*/ 1 h 80"/>
                <a:gd name="T40" fmla="*/ 0 w 74"/>
                <a:gd name="T41" fmla="*/ 1 h 80"/>
                <a:gd name="T42" fmla="*/ 0 w 74"/>
                <a:gd name="T43" fmla="*/ 1 h 80"/>
                <a:gd name="T44" fmla="*/ 0 w 74"/>
                <a:gd name="T45" fmla="*/ 1 h 80"/>
                <a:gd name="T46" fmla="*/ 0 w 74"/>
                <a:gd name="T47" fmla="*/ 1 h 80"/>
                <a:gd name="T48" fmla="*/ 0 w 74"/>
                <a:gd name="T49" fmla="*/ 1 h 80"/>
                <a:gd name="T50" fmla="*/ 1 w 74"/>
                <a:gd name="T51" fmla="*/ 1 h 80"/>
                <a:gd name="T52" fmla="*/ 1 w 74"/>
                <a:gd name="T53" fmla="*/ 1 h 80"/>
                <a:gd name="T54" fmla="*/ 1 w 74"/>
                <a:gd name="T55" fmla="*/ 1 h 80"/>
                <a:gd name="T56" fmla="*/ 1 w 74"/>
                <a:gd name="T57" fmla="*/ 1 h 80"/>
                <a:gd name="T58" fmla="*/ 1 w 74"/>
                <a:gd name="T59" fmla="*/ 1 h 80"/>
                <a:gd name="T60" fmla="*/ 1 w 74"/>
                <a:gd name="T61" fmla="*/ 1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33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1 w 86"/>
                <a:gd name="T1" fmla="*/ 1 h 80"/>
                <a:gd name="T2" fmla="*/ 1 w 86"/>
                <a:gd name="T3" fmla="*/ 1 h 80"/>
                <a:gd name="T4" fmla="*/ 1 w 86"/>
                <a:gd name="T5" fmla="*/ 1 h 80"/>
                <a:gd name="T6" fmla="*/ 1 w 86"/>
                <a:gd name="T7" fmla="*/ 1 h 80"/>
                <a:gd name="T8" fmla="*/ 1 w 86"/>
                <a:gd name="T9" fmla="*/ 1 h 80"/>
                <a:gd name="T10" fmla="*/ 1 w 86"/>
                <a:gd name="T11" fmla="*/ 1 h 80"/>
                <a:gd name="T12" fmla="*/ 1 w 86"/>
                <a:gd name="T13" fmla="*/ 1 h 80"/>
                <a:gd name="T14" fmla="*/ 1 w 86"/>
                <a:gd name="T15" fmla="*/ 1 h 80"/>
                <a:gd name="T16" fmla="*/ 0 w 86"/>
                <a:gd name="T17" fmla="*/ 0 h 80"/>
                <a:gd name="T18" fmla="*/ 0 w 86"/>
                <a:gd name="T19" fmla="*/ 0 h 80"/>
                <a:gd name="T20" fmla="*/ 0 w 86"/>
                <a:gd name="T21" fmla="*/ 0 h 80"/>
                <a:gd name="T22" fmla="*/ 0 w 86"/>
                <a:gd name="T23" fmla="*/ 0 h 80"/>
                <a:gd name="T24" fmla="*/ 0 w 86"/>
                <a:gd name="T25" fmla="*/ 0 h 80"/>
                <a:gd name="T26" fmla="*/ 0 w 86"/>
                <a:gd name="T27" fmla="*/ 0 h 80"/>
                <a:gd name="T28" fmla="*/ 0 w 86"/>
                <a:gd name="T29" fmla="*/ 0 h 80"/>
                <a:gd name="T30" fmla="*/ 0 w 86"/>
                <a:gd name="T31" fmla="*/ 0 h 80"/>
                <a:gd name="T32" fmla="*/ 0 w 86"/>
                <a:gd name="T33" fmla="*/ 1 h 80"/>
                <a:gd name="T34" fmla="*/ 0 w 86"/>
                <a:gd name="T35" fmla="*/ 1 h 80"/>
                <a:gd name="T36" fmla="*/ 0 w 86"/>
                <a:gd name="T37" fmla="*/ 1 h 80"/>
                <a:gd name="T38" fmla="*/ 0 w 86"/>
                <a:gd name="T39" fmla="*/ 1 h 80"/>
                <a:gd name="T40" fmla="*/ 0 w 86"/>
                <a:gd name="T41" fmla="*/ 1 h 80"/>
                <a:gd name="T42" fmla="*/ 1 w 86"/>
                <a:gd name="T43" fmla="*/ 1 h 80"/>
                <a:gd name="T44" fmla="*/ 1 w 86"/>
                <a:gd name="T45" fmla="*/ 1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34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0 h 31"/>
                <a:gd name="T2" fmla="*/ 0 w 74"/>
                <a:gd name="T3" fmla="*/ 0 h 31"/>
                <a:gd name="T4" fmla="*/ 0 w 74"/>
                <a:gd name="T5" fmla="*/ 0 h 31"/>
                <a:gd name="T6" fmla="*/ 0 w 74"/>
                <a:gd name="T7" fmla="*/ 0 h 31"/>
                <a:gd name="T8" fmla="*/ 0 w 74"/>
                <a:gd name="T9" fmla="*/ 0 h 31"/>
                <a:gd name="T10" fmla="*/ 0 w 74"/>
                <a:gd name="T11" fmla="*/ 0 h 31"/>
                <a:gd name="T12" fmla="*/ 0 w 74"/>
                <a:gd name="T13" fmla="*/ 0 h 31"/>
                <a:gd name="T14" fmla="*/ 0 w 74"/>
                <a:gd name="T15" fmla="*/ 0 h 31"/>
                <a:gd name="T16" fmla="*/ 0 w 74"/>
                <a:gd name="T17" fmla="*/ 0 h 31"/>
                <a:gd name="T18" fmla="*/ 1 w 74"/>
                <a:gd name="T19" fmla="*/ 0 h 31"/>
                <a:gd name="T20" fmla="*/ 1 w 74"/>
                <a:gd name="T21" fmla="*/ 0 h 31"/>
                <a:gd name="T22" fmla="*/ 1 w 74"/>
                <a:gd name="T23" fmla="*/ 0 h 31"/>
                <a:gd name="T24" fmla="*/ 1 w 74"/>
                <a:gd name="T25" fmla="*/ 0 h 31"/>
                <a:gd name="T26" fmla="*/ 1 w 74"/>
                <a:gd name="T27" fmla="*/ 0 h 31"/>
                <a:gd name="T28" fmla="*/ 1 w 74"/>
                <a:gd name="T29" fmla="*/ 0 h 31"/>
                <a:gd name="T30" fmla="*/ 1 w 74"/>
                <a:gd name="T31" fmla="*/ 0 h 31"/>
                <a:gd name="T32" fmla="*/ 1 w 74"/>
                <a:gd name="T33" fmla="*/ 0 h 31"/>
                <a:gd name="T34" fmla="*/ 1 w 74"/>
                <a:gd name="T35" fmla="*/ 0 h 31"/>
                <a:gd name="T36" fmla="*/ 1 w 74"/>
                <a:gd name="T37" fmla="*/ 0 h 31"/>
                <a:gd name="T38" fmla="*/ 1 w 74"/>
                <a:gd name="T39" fmla="*/ 0 h 31"/>
                <a:gd name="T40" fmla="*/ 1 w 74"/>
                <a:gd name="T41" fmla="*/ 0 h 31"/>
                <a:gd name="T42" fmla="*/ 0 w 74"/>
                <a:gd name="T43" fmla="*/ 0 h 31"/>
                <a:gd name="T44" fmla="*/ 0 w 74"/>
                <a:gd name="T45" fmla="*/ 0 h 31"/>
                <a:gd name="T46" fmla="*/ 0 w 74"/>
                <a:gd name="T47" fmla="*/ 0 h 31"/>
                <a:gd name="T48" fmla="*/ 0 w 74"/>
                <a:gd name="T49" fmla="*/ 0 h 31"/>
                <a:gd name="T50" fmla="*/ 0 w 74"/>
                <a:gd name="T51" fmla="*/ 0 h 31"/>
                <a:gd name="T52" fmla="*/ 0 w 74"/>
                <a:gd name="T53" fmla="*/ 0 h 31"/>
                <a:gd name="T54" fmla="*/ 0 w 74"/>
                <a:gd name="T55" fmla="*/ 0 h 31"/>
                <a:gd name="T56" fmla="*/ 0 w 74"/>
                <a:gd name="T57" fmla="*/ 0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35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0 w 20"/>
                <a:gd name="T1" fmla="*/ 0 h 1"/>
                <a:gd name="T2" fmla="*/ 0 w 20"/>
                <a:gd name="T3" fmla="*/ 0 h 1"/>
                <a:gd name="T4" fmla="*/ 0 w 20"/>
                <a:gd name="T5" fmla="*/ 0 h 1"/>
                <a:gd name="T6" fmla="*/ 0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36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0 w 100"/>
                <a:gd name="T1" fmla="*/ 0 h 65"/>
                <a:gd name="T2" fmla="*/ 0 w 100"/>
                <a:gd name="T3" fmla="*/ 0 h 65"/>
                <a:gd name="T4" fmla="*/ 1 w 100"/>
                <a:gd name="T5" fmla="*/ 1 h 65"/>
                <a:gd name="T6" fmla="*/ 1 w 100"/>
                <a:gd name="T7" fmla="*/ 1 h 65"/>
                <a:gd name="T8" fmla="*/ 1 w 100"/>
                <a:gd name="T9" fmla="*/ 1 h 65"/>
                <a:gd name="T10" fmla="*/ 1 w 100"/>
                <a:gd name="T11" fmla="*/ 1 h 65"/>
                <a:gd name="T12" fmla="*/ 1 w 100"/>
                <a:gd name="T13" fmla="*/ 1 h 65"/>
                <a:gd name="T14" fmla="*/ 1 w 100"/>
                <a:gd name="T15" fmla="*/ 1 h 65"/>
                <a:gd name="T16" fmla="*/ 1 w 100"/>
                <a:gd name="T17" fmla="*/ 1 h 65"/>
                <a:gd name="T18" fmla="*/ 1 w 100"/>
                <a:gd name="T19" fmla="*/ 1 h 65"/>
                <a:gd name="T20" fmla="*/ 1 w 100"/>
                <a:gd name="T21" fmla="*/ 1 h 65"/>
                <a:gd name="T22" fmla="*/ 1 w 100"/>
                <a:gd name="T23" fmla="*/ 1 h 65"/>
                <a:gd name="T24" fmla="*/ 1 w 100"/>
                <a:gd name="T25" fmla="*/ 1 h 65"/>
                <a:gd name="T26" fmla="*/ 1 w 100"/>
                <a:gd name="T27" fmla="*/ 0 h 65"/>
                <a:gd name="T28" fmla="*/ 1 w 100"/>
                <a:gd name="T29" fmla="*/ 0 h 65"/>
                <a:gd name="T30" fmla="*/ 1 w 100"/>
                <a:gd name="T31" fmla="*/ 0 h 65"/>
                <a:gd name="T32" fmla="*/ 1 w 100"/>
                <a:gd name="T33" fmla="*/ 0 h 65"/>
                <a:gd name="T34" fmla="*/ 0 w 100"/>
                <a:gd name="T35" fmla="*/ 0 h 65"/>
                <a:gd name="T36" fmla="*/ 0 w 100"/>
                <a:gd name="T37" fmla="*/ 0 h 65"/>
                <a:gd name="T38" fmla="*/ 0 w 100"/>
                <a:gd name="T39" fmla="*/ 0 h 65"/>
                <a:gd name="T40" fmla="*/ 0 w 100"/>
                <a:gd name="T41" fmla="*/ 0 h 65"/>
                <a:gd name="T42" fmla="*/ 0 w 100"/>
                <a:gd name="T43" fmla="*/ 0 h 65"/>
                <a:gd name="T44" fmla="*/ 0 w 100"/>
                <a:gd name="T45" fmla="*/ 0 h 65"/>
                <a:gd name="T46" fmla="*/ 0 w 100"/>
                <a:gd name="T47" fmla="*/ 0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37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1 w 79"/>
                <a:gd name="T1" fmla="*/ 1 h 104"/>
                <a:gd name="T2" fmla="*/ 1 w 79"/>
                <a:gd name="T3" fmla="*/ 1 h 104"/>
                <a:gd name="T4" fmla="*/ 0 w 79"/>
                <a:gd name="T5" fmla="*/ 0 h 104"/>
                <a:gd name="T6" fmla="*/ 0 w 79"/>
                <a:gd name="T7" fmla="*/ 0 h 104"/>
                <a:gd name="T8" fmla="*/ 0 w 79"/>
                <a:gd name="T9" fmla="*/ 0 h 104"/>
                <a:gd name="T10" fmla="*/ 0 w 79"/>
                <a:gd name="T11" fmla="*/ 0 h 104"/>
                <a:gd name="T12" fmla="*/ 0 w 79"/>
                <a:gd name="T13" fmla="*/ 0 h 104"/>
                <a:gd name="T14" fmla="*/ 0 w 79"/>
                <a:gd name="T15" fmla="*/ 0 h 104"/>
                <a:gd name="T16" fmla="*/ 0 w 79"/>
                <a:gd name="T17" fmla="*/ 1 h 104"/>
                <a:gd name="T18" fmla="*/ 0 w 79"/>
                <a:gd name="T19" fmla="*/ 1 h 104"/>
                <a:gd name="T20" fmla="*/ 0 w 79"/>
                <a:gd name="T21" fmla="*/ 1 h 104"/>
                <a:gd name="T22" fmla="*/ 0 w 79"/>
                <a:gd name="T23" fmla="*/ 1 h 104"/>
                <a:gd name="T24" fmla="*/ 0 w 79"/>
                <a:gd name="T25" fmla="*/ 1 h 104"/>
                <a:gd name="T26" fmla="*/ 0 w 79"/>
                <a:gd name="T27" fmla="*/ 1 h 104"/>
                <a:gd name="T28" fmla="*/ 0 w 79"/>
                <a:gd name="T29" fmla="*/ 1 h 104"/>
                <a:gd name="T30" fmla="*/ 0 w 79"/>
                <a:gd name="T31" fmla="*/ 1 h 104"/>
                <a:gd name="T32" fmla="*/ 0 w 79"/>
                <a:gd name="T33" fmla="*/ 1 h 104"/>
                <a:gd name="T34" fmla="*/ 0 w 79"/>
                <a:gd name="T35" fmla="*/ 1 h 104"/>
                <a:gd name="T36" fmla="*/ 0 w 79"/>
                <a:gd name="T37" fmla="*/ 1 h 104"/>
                <a:gd name="T38" fmla="*/ 0 w 79"/>
                <a:gd name="T39" fmla="*/ 1 h 104"/>
                <a:gd name="T40" fmla="*/ 1 w 79"/>
                <a:gd name="T41" fmla="*/ 1 h 104"/>
                <a:gd name="T42" fmla="*/ 1 w 79"/>
                <a:gd name="T43" fmla="*/ 1 h 104"/>
                <a:gd name="T44" fmla="*/ 1 w 79"/>
                <a:gd name="T45" fmla="*/ 1 h 104"/>
                <a:gd name="T46" fmla="*/ 1 w 79"/>
                <a:gd name="T47" fmla="*/ 1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139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216400" y="3863777"/>
            <a:ext cx="11113" cy="55562"/>
          </a:xfrm>
          <a:custGeom>
            <a:avLst/>
            <a:gdLst>
              <a:gd name="T0" fmla="*/ 2147483647 w 27"/>
              <a:gd name="T1" fmla="*/ 0 h 19"/>
              <a:gd name="T2" fmla="*/ 2147483647 w 27"/>
              <a:gd name="T3" fmla="*/ 2147483647 h 19"/>
              <a:gd name="T4" fmla="*/ 2147483647 w 27"/>
              <a:gd name="T5" fmla="*/ 2147483647 h 19"/>
              <a:gd name="T6" fmla="*/ 2147483647 w 27"/>
              <a:gd name="T7" fmla="*/ 2147483647 h 19"/>
              <a:gd name="T8" fmla="*/ 0 w 27"/>
              <a:gd name="T9" fmla="*/ 2147483647 h 19"/>
              <a:gd name="T10" fmla="*/ 2147483647 w 27"/>
              <a:gd name="T11" fmla="*/ 2147483647 h 19"/>
              <a:gd name="T12" fmla="*/ 214748364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40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140200" y="4003477"/>
            <a:ext cx="14288" cy="57150"/>
          </a:xfrm>
          <a:custGeom>
            <a:avLst/>
            <a:gdLst>
              <a:gd name="T0" fmla="*/ 0 w 39"/>
              <a:gd name="T1" fmla="*/ 0 h 35"/>
              <a:gd name="T2" fmla="*/ 2147483647 w 39"/>
              <a:gd name="T3" fmla="*/ 0 h 35"/>
              <a:gd name="T4" fmla="*/ 2147483647 w 39"/>
              <a:gd name="T5" fmla="*/ 2147483647 h 35"/>
              <a:gd name="T6" fmla="*/ 2147483647 w 39"/>
              <a:gd name="T7" fmla="*/ 2147483647 h 35"/>
              <a:gd name="T8" fmla="*/ 2147483647 w 39"/>
              <a:gd name="T9" fmla="*/ 2147483647 h 35"/>
              <a:gd name="T10" fmla="*/ 2147483647 w 39"/>
              <a:gd name="T11" fmla="*/ 2147483647 h 35"/>
              <a:gd name="T12" fmla="*/ 2147483647 w 39"/>
              <a:gd name="T13" fmla="*/ 2147483647 h 35"/>
              <a:gd name="T14" fmla="*/ 2147483647 w 39"/>
              <a:gd name="T15" fmla="*/ 2147483647 h 35"/>
              <a:gd name="T16" fmla="*/ 2147483647 w 39"/>
              <a:gd name="T17" fmla="*/ 2147483647 h 35"/>
              <a:gd name="T18" fmla="*/ 2147483647 w 39"/>
              <a:gd name="T19" fmla="*/ 2147483647 h 35"/>
              <a:gd name="T20" fmla="*/ 2147483647 w 39"/>
              <a:gd name="T21" fmla="*/ 2147483647 h 35"/>
              <a:gd name="T22" fmla="*/ 2147483647 w 39"/>
              <a:gd name="T23" fmla="*/ 2147483647 h 35"/>
              <a:gd name="T24" fmla="*/ 2147483647 w 39"/>
              <a:gd name="T25" fmla="*/ 2147483647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41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938838" y="2330252"/>
            <a:ext cx="728662" cy="331787"/>
          </a:xfrm>
          <a:custGeom>
            <a:avLst/>
            <a:gdLst>
              <a:gd name="T0" fmla="*/ 2147483647 w 1688"/>
              <a:gd name="T1" fmla="*/ 2147483647 h 630"/>
              <a:gd name="T2" fmla="*/ 2147483647 w 1688"/>
              <a:gd name="T3" fmla="*/ 2147483647 h 630"/>
              <a:gd name="T4" fmla="*/ 2147483647 w 1688"/>
              <a:gd name="T5" fmla="*/ 2147483647 h 630"/>
              <a:gd name="T6" fmla="*/ 2147483647 w 1688"/>
              <a:gd name="T7" fmla="*/ 2147483647 h 630"/>
              <a:gd name="T8" fmla="*/ 2147483647 w 1688"/>
              <a:gd name="T9" fmla="*/ 2147483647 h 630"/>
              <a:gd name="T10" fmla="*/ 2147483647 w 1688"/>
              <a:gd name="T11" fmla="*/ 2147483647 h 630"/>
              <a:gd name="T12" fmla="*/ 2147483647 w 1688"/>
              <a:gd name="T13" fmla="*/ 2147483647 h 630"/>
              <a:gd name="T14" fmla="*/ 2147483647 w 1688"/>
              <a:gd name="T15" fmla="*/ 2147483647 h 630"/>
              <a:gd name="T16" fmla="*/ 2147483647 w 1688"/>
              <a:gd name="T17" fmla="*/ 2147483647 h 630"/>
              <a:gd name="T18" fmla="*/ 2147483647 w 1688"/>
              <a:gd name="T19" fmla="*/ 2147483647 h 630"/>
              <a:gd name="T20" fmla="*/ 2147483647 w 1688"/>
              <a:gd name="T21" fmla="*/ 2147483647 h 630"/>
              <a:gd name="T22" fmla="*/ 2147483647 w 1688"/>
              <a:gd name="T23" fmla="*/ 2147483647 h 630"/>
              <a:gd name="T24" fmla="*/ 2147483647 w 1688"/>
              <a:gd name="T25" fmla="*/ 2147483647 h 630"/>
              <a:gd name="T26" fmla="*/ 2147483647 w 1688"/>
              <a:gd name="T27" fmla="*/ 2147483647 h 630"/>
              <a:gd name="T28" fmla="*/ 2147483647 w 1688"/>
              <a:gd name="T29" fmla="*/ 2147483647 h 630"/>
              <a:gd name="T30" fmla="*/ 2147483647 w 1688"/>
              <a:gd name="T31" fmla="*/ 2147483647 h 630"/>
              <a:gd name="T32" fmla="*/ 2147483647 w 1688"/>
              <a:gd name="T33" fmla="*/ 2147483647 h 630"/>
              <a:gd name="T34" fmla="*/ 2147483647 w 1688"/>
              <a:gd name="T35" fmla="*/ 2147483647 h 630"/>
              <a:gd name="T36" fmla="*/ 2147483647 w 1688"/>
              <a:gd name="T37" fmla="*/ 2147483647 h 630"/>
              <a:gd name="T38" fmla="*/ 2147483647 w 1688"/>
              <a:gd name="T39" fmla="*/ 2147483647 h 630"/>
              <a:gd name="T40" fmla="*/ 2147483647 w 1688"/>
              <a:gd name="T41" fmla="*/ 2147483647 h 630"/>
              <a:gd name="T42" fmla="*/ 2147483647 w 1688"/>
              <a:gd name="T43" fmla="*/ 2147483647 h 630"/>
              <a:gd name="T44" fmla="*/ 2147483647 w 1688"/>
              <a:gd name="T45" fmla="*/ 2147483647 h 630"/>
              <a:gd name="T46" fmla="*/ 2147483647 w 1688"/>
              <a:gd name="T47" fmla="*/ 2147483647 h 630"/>
              <a:gd name="T48" fmla="*/ 2147483647 w 1688"/>
              <a:gd name="T49" fmla="*/ 2147483647 h 630"/>
              <a:gd name="T50" fmla="*/ 2147483647 w 1688"/>
              <a:gd name="T51" fmla="*/ 2147483647 h 630"/>
              <a:gd name="T52" fmla="*/ 2147483647 w 1688"/>
              <a:gd name="T53" fmla="*/ 2147483647 h 630"/>
              <a:gd name="T54" fmla="*/ 2147483647 w 1688"/>
              <a:gd name="T55" fmla="*/ 2147483647 h 630"/>
              <a:gd name="T56" fmla="*/ 2147483647 w 1688"/>
              <a:gd name="T57" fmla="*/ 2147483647 h 630"/>
              <a:gd name="T58" fmla="*/ 2147483647 w 1688"/>
              <a:gd name="T59" fmla="*/ 2147483647 h 630"/>
              <a:gd name="T60" fmla="*/ 2147483647 w 1688"/>
              <a:gd name="T61" fmla="*/ 2147483647 h 630"/>
              <a:gd name="T62" fmla="*/ 2147483647 w 1688"/>
              <a:gd name="T63" fmla="*/ 2147483647 h 630"/>
              <a:gd name="T64" fmla="*/ 2147483647 w 1688"/>
              <a:gd name="T65" fmla="*/ 2147483647 h 630"/>
              <a:gd name="T66" fmla="*/ 2147483647 w 1688"/>
              <a:gd name="T67" fmla="*/ 2147483647 h 630"/>
              <a:gd name="T68" fmla="*/ 2147483647 w 1688"/>
              <a:gd name="T69" fmla="*/ 2147483647 h 630"/>
              <a:gd name="T70" fmla="*/ 2147483647 w 1688"/>
              <a:gd name="T71" fmla="*/ 2147483647 h 630"/>
              <a:gd name="T72" fmla="*/ 2147483647 w 1688"/>
              <a:gd name="T73" fmla="*/ 2147483647 h 630"/>
              <a:gd name="T74" fmla="*/ 2147483647 w 1688"/>
              <a:gd name="T75" fmla="*/ 2147483647 h 630"/>
              <a:gd name="T76" fmla="*/ 2147483647 w 1688"/>
              <a:gd name="T77" fmla="*/ 2147483647 h 630"/>
              <a:gd name="T78" fmla="*/ 2147483647 w 1688"/>
              <a:gd name="T79" fmla="*/ 2147483647 h 630"/>
              <a:gd name="T80" fmla="*/ 2147483647 w 1688"/>
              <a:gd name="T81" fmla="*/ 2147483647 h 630"/>
              <a:gd name="T82" fmla="*/ 2147483647 w 1688"/>
              <a:gd name="T83" fmla="*/ 2147483647 h 630"/>
              <a:gd name="T84" fmla="*/ 2147483647 w 1688"/>
              <a:gd name="T85" fmla="*/ 2147483647 h 630"/>
              <a:gd name="T86" fmla="*/ 2147483647 w 1688"/>
              <a:gd name="T87" fmla="*/ 2147483647 h 630"/>
              <a:gd name="T88" fmla="*/ 2147483647 w 1688"/>
              <a:gd name="T89" fmla="*/ 2147483647 h 630"/>
              <a:gd name="T90" fmla="*/ 2147483647 w 1688"/>
              <a:gd name="T91" fmla="*/ 2147483647 h 630"/>
              <a:gd name="T92" fmla="*/ 2147483647 w 1688"/>
              <a:gd name="T93" fmla="*/ 2147483647 h 630"/>
              <a:gd name="T94" fmla="*/ 2147483647 w 1688"/>
              <a:gd name="T95" fmla="*/ 2147483647 h 630"/>
              <a:gd name="T96" fmla="*/ 2147483647 w 1688"/>
              <a:gd name="T97" fmla="*/ 2147483647 h 630"/>
              <a:gd name="T98" fmla="*/ 2147483647 w 1688"/>
              <a:gd name="T99" fmla="*/ 2147483647 h 630"/>
              <a:gd name="T100" fmla="*/ 2147483647 w 1688"/>
              <a:gd name="T101" fmla="*/ 2147483647 h 630"/>
              <a:gd name="T102" fmla="*/ 2147483647 w 1688"/>
              <a:gd name="T103" fmla="*/ 2147483647 h 630"/>
              <a:gd name="T104" fmla="*/ 2147483647 w 1688"/>
              <a:gd name="T105" fmla="*/ 2147483647 h 630"/>
              <a:gd name="T106" fmla="*/ 2147483647 w 1688"/>
              <a:gd name="T107" fmla="*/ 2147483647 h 630"/>
              <a:gd name="T108" fmla="*/ 2147483647 w 1688"/>
              <a:gd name="T109" fmla="*/ 2147483647 h 630"/>
              <a:gd name="T110" fmla="*/ 2147483647 w 1688"/>
              <a:gd name="T111" fmla="*/ 2147483647 h 630"/>
              <a:gd name="T112" fmla="*/ 2147483647 w 1688"/>
              <a:gd name="T113" fmla="*/ 2147483647 h 630"/>
              <a:gd name="T114" fmla="*/ 2147483647 w 1688"/>
              <a:gd name="T115" fmla="*/ 2147483647 h 630"/>
              <a:gd name="T116" fmla="*/ 2147483647 w 1688"/>
              <a:gd name="T117" fmla="*/ 2147483647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42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265363" y="4297164"/>
            <a:ext cx="328612" cy="415925"/>
          </a:xfrm>
          <a:custGeom>
            <a:avLst/>
            <a:gdLst>
              <a:gd name="T0" fmla="*/ 2147483647 w 758"/>
              <a:gd name="T1" fmla="*/ 2147483647 h 795"/>
              <a:gd name="T2" fmla="*/ 2147483647 w 758"/>
              <a:gd name="T3" fmla="*/ 2147483647 h 795"/>
              <a:gd name="T4" fmla="*/ 2147483647 w 758"/>
              <a:gd name="T5" fmla="*/ 2147483647 h 795"/>
              <a:gd name="T6" fmla="*/ 2147483647 w 758"/>
              <a:gd name="T7" fmla="*/ 2147483647 h 795"/>
              <a:gd name="T8" fmla="*/ 2147483647 w 758"/>
              <a:gd name="T9" fmla="*/ 2147483647 h 795"/>
              <a:gd name="T10" fmla="*/ 2147483647 w 758"/>
              <a:gd name="T11" fmla="*/ 2147483647 h 795"/>
              <a:gd name="T12" fmla="*/ 2147483647 w 758"/>
              <a:gd name="T13" fmla="*/ 2147483647 h 795"/>
              <a:gd name="T14" fmla="*/ 2147483647 w 758"/>
              <a:gd name="T15" fmla="*/ 2147483647 h 795"/>
              <a:gd name="T16" fmla="*/ 2147483647 w 758"/>
              <a:gd name="T17" fmla="*/ 2147483647 h 795"/>
              <a:gd name="T18" fmla="*/ 2147483647 w 758"/>
              <a:gd name="T19" fmla="*/ 2147483647 h 795"/>
              <a:gd name="T20" fmla="*/ 2147483647 w 758"/>
              <a:gd name="T21" fmla="*/ 2147483647 h 795"/>
              <a:gd name="T22" fmla="*/ 2147483647 w 758"/>
              <a:gd name="T23" fmla="*/ 2147483647 h 795"/>
              <a:gd name="T24" fmla="*/ 2147483647 w 758"/>
              <a:gd name="T25" fmla="*/ 2147483647 h 795"/>
              <a:gd name="T26" fmla="*/ 2147483647 w 758"/>
              <a:gd name="T27" fmla="*/ 2147483647 h 795"/>
              <a:gd name="T28" fmla="*/ 2147483647 w 758"/>
              <a:gd name="T29" fmla="*/ 2147483647 h 795"/>
              <a:gd name="T30" fmla="*/ 2147483647 w 758"/>
              <a:gd name="T31" fmla="*/ 2147483647 h 795"/>
              <a:gd name="T32" fmla="*/ 2147483647 w 758"/>
              <a:gd name="T33" fmla="*/ 2147483647 h 795"/>
              <a:gd name="T34" fmla="*/ 2147483647 w 758"/>
              <a:gd name="T35" fmla="*/ 2147483647 h 795"/>
              <a:gd name="T36" fmla="*/ 2147483647 w 758"/>
              <a:gd name="T37" fmla="*/ 2147483647 h 795"/>
              <a:gd name="T38" fmla="*/ 2147483647 w 758"/>
              <a:gd name="T39" fmla="*/ 2147483647 h 795"/>
              <a:gd name="T40" fmla="*/ 2147483647 w 758"/>
              <a:gd name="T41" fmla="*/ 2147483647 h 795"/>
              <a:gd name="T42" fmla="*/ 2147483647 w 758"/>
              <a:gd name="T43" fmla="*/ 2147483647 h 795"/>
              <a:gd name="T44" fmla="*/ 2147483647 w 758"/>
              <a:gd name="T45" fmla="*/ 2147483647 h 795"/>
              <a:gd name="T46" fmla="*/ 2147483647 w 758"/>
              <a:gd name="T47" fmla="*/ 2147483647 h 795"/>
              <a:gd name="T48" fmla="*/ 2147483647 w 758"/>
              <a:gd name="T49" fmla="*/ 2147483647 h 795"/>
              <a:gd name="T50" fmla="*/ 2147483647 w 758"/>
              <a:gd name="T51" fmla="*/ 2147483647 h 795"/>
              <a:gd name="T52" fmla="*/ 2147483647 w 758"/>
              <a:gd name="T53" fmla="*/ 2147483647 h 795"/>
              <a:gd name="T54" fmla="*/ 2147483647 w 758"/>
              <a:gd name="T55" fmla="*/ 2147483647 h 795"/>
              <a:gd name="T56" fmla="*/ 2147483647 w 758"/>
              <a:gd name="T57" fmla="*/ 2147483647 h 795"/>
              <a:gd name="T58" fmla="*/ 2147483647 w 758"/>
              <a:gd name="T59" fmla="*/ 2147483647 h 795"/>
              <a:gd name="T60" fmla="*/ 2147483647 w 758"/>
              <a:gd name="T61" fmla="*/ 2147483647 h 795"/>
              <a:gd name="T62" fmla="*/ 2147483647 w 758"/>
              <a:gd name="T63" fmla="*/ 2147483647 h 795"/>
              <a:gd name="T64" fmla="*/ 2147483647 w 758"/>
              <a:gd name="T65" fmla="*/ 2147483647 h 795"/>
              <a:gd name="T66" fmla="*/ 2147483647 w 758"/>
              <a:gd name="T67" fmla="*/ 2147483647 h 795"/>
              <a:gd name="T68" fmla="*/ 2147483647 w 758"/>
              <a:gd name="T69" fmla="*/ 2147483647 h 795"/>
              <a:gd name="T70" fmla="*/ 2147483647 w 758"/>
              <a:gd name="T71" fmla="*/ 2147483647 h 795"/>
              <a:gd name="T72" fmla="*/ 2147483647 w 758"/>
              <a:gd name="T73" fmla="*/ 2147483647 h 795"/>
              <a:gd name="T74" fmla="*/ 2147483647 w 758"/>
              <a:gd name="T75" fmla="*/ 2147483647 h 795"/>
              <a:gd name="T76" fmla="*/ 2147483647 w 758"/>
              <a:gd name="T77" fmla="*/ 2147483647 h 795"/>
              <a:gd name="T78" fmla="*/ 2147483647 w 758"/>
              <a:gd name="T79" fmla="*/ 2147483647 h 795"/>
              <a:gd name="T80" fmla="*/ 2147483647 w 758"/>
              <a:gd name="T81" fmla="*/ 2147483647 h 795"/>
              <a:gd name="T82" fmla="*/ 2147483647 w 758"/>
              <a:gd name="T83" fmla="*/ 2147483647 h 795"/>
              <a:gd name="T84" fmla="*/ 2147483647 w 758"/>
              <a:gd name="T85" fmla="*/ 2147483647 h 795"/>
              <a:gd name="T86" fmla="*/ 2147483647 w 758"/>
              <a:gd name="T87" fmla="*/ 2147483647 h 795"/>
              <a:gd name="T88" fmla="*/ 2147483647 w 758"/>
              <a:gd name="T89" fmla="*/ 2147483647 h 795"/>
              <a:gd name="T90" fmla="*/ 2147483647 w 758"/>
              <a:gd name="T91" fmla="*/ 2147483647 h 795"/>
              <a:gd name="T92" fmla="*/ 2147483647 w 758"/>
              <a:gd name="T93" fmla="*/ 2147483647 h 795"/>
              <a:gd name="T94" fmla="*/ 2147483647 w 758"/>
              <a:gd name="T95" fmla="*/ 2147483647 h 795"/>
              <a:gd name="T96" fmla="*/ 2147483647 w 758"/>
              <a:gd name="T97" fmla="*/ 2147483647 h 795"/>
              <a:gd name="T98" fmla="*/ 2147483647 w 758"/>
              <a:gd name="T99" fmla="*/ 2147483647 h 795"/>
              <a:gd name="T100" fmla="*/ 2147483647 w 758"/>
              <a:gd name="T101" fmla="*/ 2147483647 h 795"/>
              <a:gd name="T102" fmla="*/ 2147483647 w 758"/>
              <a:gd name="T103" fmla="*/ 2147483647 h 795"/>
              <a:gd name="T104" fmla="*/ 2147483647 w 758"/>
              <a:gd name="T105" fmla="*/ 2147483647 h 795"/>
              <a:gd name="T106" fmla="*/ 2147483647 w 758"/>
              <a:gd name="T107" fmla="*/ 2147483647 h 795"/>
              <a:gd name="T108" fmla="*/ 2147483647 w 758"/>
              <a:gd name="T109" fmla="*/ 2147483647 h 795"/>
              <a:gd name="T110" fmla="*/ 2147483647 w 758"/>
              <a:gd name="T111" fmla="*/ 2147483647 h 795"/>
              <a:gd name="T112" fmla="*/ 2147483647 w 758"/>
              <a:gd name="T113" fmla="*/ 2147483647 h 795"/>
              <a:gd name="T114" fmla="*/ 2147483647 w 758"/>
              <a:gd name="T115" fmla="*/ 2147483647 h 795"/>
              <a:gd name="T116" fmla="*/ 2147483647 w 758"/>
              <a:gd name="T117" fmla="*/ 2147483647 h 795"/>
              <a:gd name="T118" fmla="*/ 0 w 758"/>
              <a:gd name="T119" fmla="*/ 2147483647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43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479675" y="3727252"/>
            <a:ext cx="119063" cy="215900"/>
          </a:xfrm>
          <a:custGeom>
            <a:avLst/>
            <a:gdLst>
              <a:gd name="T0" fmla="*/ 2147483647 w 273"/>
              <a:gd name="T1" fmla="*/ 2147483647 h 414"/>
              <a:gd name="T2" fmla="*/ 2147483647 w 273"/>
              <a:gd name="T3" fmla="*/ 2147483647 h 414"/>
              <a:gd name="T4" fmla="*/ 2147483647 w 273"/>
              <a:gd name="T5" fmla="*/ 2147483647 h 414"/>
              <a:gd name="T6" fmla="*/ 2147483647 w 273"/>
              <a:gd name="T7" fmla="*/ 2147483647 h 414"/>
              <a:gd name="T8" fmla="*/ 2147483647 w 273"/>
              <a:gd name="T9" fmla="*/ 2147483647 h 414"/>
              <a:gd name="T10" fmla="*/ 2147483647 w 273"/>
              <a:gd name="T11" fmla="*/ 2147483647 h 414"/>
              <a:gd name="T12" fmla="*/ 2147483647 w 273"/>
              <a:gd name="T13" fmla="*/ 2147483647 h 414"/>
              <a:gd name="T14" fmla="*/ 2147483647 w 273"/>
              <a:gd name="T15" fmla="*/ 2147483647 h 414"/>
              <a:gd name="T16" fmla="*/ 2147483647 w 273"/>
              <a:gd name="T17" fmla="*/ 2147483647 h 414"/>
              <a:gd name="T18" fmla="*/ 2147483647 w 273"/>
              <a:gd name="T19" fmla="*/ 2147483647 h 414"/>
              <a:gd name="T20" fmla="*/ 2147483647 w 273"/>
              <a:gd name="T21" fmla="*/ 2147483647 h 414"/>
              <a:gd name="T22" fmla="*/ 2147483647 w 273"/>
              <a:gd name="T23" fmla="*/ 2147483647 h 414"/>
              <a:gd name="T24" fmla="*/ 2147483647 w 273"/>
              <a:gd name="T25" fmla="*/ 2147483647 h 414"/>
              <a:gd name="T26" fmla="*/ 2147483647 w 273"/>
              <a:gd name="T27" fmla="*/ 2147483647 h 414"/>
              <a:gd name="T28" fmla="*/ 2147483647 w 273"/>
              <a:gd name="T29" fmla="*/ 2147483647 h 414"/>
              <a:gd name="T30" fmla="*/ 2147483647 w 273"/>
              <a:gd name="T31" fmla="*/ 2147483647 h 414"/>
              <a:gd name="T32" fmla="*/ 2147483647 w 273"/>
              <a:gd name="T33" fmla="*/ 2147483647 h 414"/>
              <a:gd name="T34" fmla="*/ 2147483647 w 273"/>
              <a:gd name="T35" fmla="*/ 2147483647 h 414"/>
              <a:gd name="T36" fmla="*/ 2147483647 w 273"/>
              <a:gd name="T37" fmla="*/ 2147483647 h 414"/>
              <a:gd name="T38" fmla="*/ 2147483647 w 273"/>
              <a:gd name="T39" fmla="*/ 2147483647 h 414"/>
              <a:gd name="T40" fmla="*/ 2147483647 w 273"/>
              <a:gd name="T41" fmla="*/ 2147483647 h 414"/>
              <a:gd name="T42" fmla="*/ 2147483647 w 273"/>
              <a:gd name="T43" fmla="*/ 2147483647 h 414"/>
              <a:gd name="T44" fmla="*/ 2147483647 w 273"/>
              <a:gd name="T45" fmla="*/ 2147483647 h 414"/>
              <a:gd name="T46" fmla="*/ 2147483647 w 273"/>
              <a:gd name="T47" fmla="*/ 2147483647 h 414"/>
              <a:gd name="T48" fmla="*/ 2147483647 w 273"/>
              <a:gd name="T49" fmla="*/ 2147483647 h 414"/>
              <a:gd name="T50" fmla="*/ 2147483647 w 273"/>
              <a:gd name="T51" fmla="*/ 2147483647 h 414"/>
              <a:gd name="T52" fmla="*/ 2147483647 w 273"/>
              <a:gd name="T53" fmla="*/ 2147483647 h 414"/>
              <a:gd name="T54" fmla="*/ 2147483647 w 273"/>
              <a:gd name="T55" fmla="*/ 2147483647 h 414"/>
              <a:gd name="T56" fmla="*/ 2147483647 w 273"/>
              <a:gd name="T57" fmla="*/ 2147483647 h 414"/>
              <a:gd name="T58" fmla="*/ 2147483647 w 273"/>
              <a:gd name="T59" fmla="*/ 2147483647 h 414"/>
              <a:gd name="T60" fmla="*/ 2147483647 w 273"/>
              <a:gd name="T61" fmla="*/ 2147483647 h 414"/>
              <a:gd name="T62" fmla="*/ 2147483647 w 273"/>
              <a:gd name="T63" fmla="*/ 2147483647 h 414"/>
              <a:gd name="T64" fmla="*/ 2147483647 w 273"/>
              <a:gd name="T65" fmla="*/ 2147483647 h 414"/>
              <a:gd name="T66" fmla="*/ 2147483647 w 273"/>
              <a:gd name="T67" fmla="*/ 2147483647 h 414"/>
              <a:gd name="T68" fmla="*/ 2147483647 w 273"/>
              <a:gd name="T69" fmla="*/ 2147483647 h 414"/>
              <a:gd name="T70" fmla="*/ 2147483647 w 273"/>
              <a:gd name="T71" fmla="*/ 2147483647 h 414"/>
              <a:gd name="T72" fmla="*/ 2147483647 w 273"/>
              <a:gd name="T73" fmla="*/ 2147483647 h 414"/>
              <a:gd name="T74" fmla="*/ 2147483647 w 273"/>
              <a:gd name="T75" fmla="*/ 2147483647 h 414"/>
              <a:gd name="T76" fmla="*/ 2147483647 w 273"/>
              <a:gd name="T77" fmla="*/ 2147483647 h 414"/>
              <a:gd name="T78" fmla="*/ 2147483647 w 273"/>
              <a:gd name="T79" fmla="*/ 2147483647 h 414"/>
              <a:gd name="T80" fmla="*/ 2147483647 w 273"/>
              <a:gd name="T81" fmla="*/ 2147483647 h 414"/>
              <a:gd name="T82" fmla="*/ 2147483647 w 273"/>
              <a:gd name="T83" fmla="*/ 2147483647 h 414"/>
              <a:gd name="T84" fmla="*/ 2147483647 w 273"/>
              <a:gd name="T85" fmla="*/ 2147483647 h 414"/>
              <a:gd name="T86" fmla="*/ 2147483647 w 273"/>
              <a:gd name="T87" fmla="*/ 2147483647 h 414"/>
              <a:gd name="T88" fmla="*/ 2147483647 w 273"/>
              <a:gd name="T89" fmla="*/ 2147483647 h 414"/>
              <a:gd name="T90" fmla="*/ 2147483647 w 273"/>
              <a:gd name="T91" fmla="*/ 2147483647 h 414"/>
              <a:gd name="T92" fmla="*/ 2147483647 w 273"/>
              <a:gd name="T93" fmla="*/ 2147483647 h 414"/>
              <a:gd name="T94" fmla="*/ 2147483647 w 273"/>
              <a:gd name="T95" fmla="*/ 2147483647 h 414"/>
              <a:gd name="T96" fmla="*/ 2147483647 w 273"/>
              <a:gd name="T97" fmla="*/ 2147483647 h 414"/>
              <a:gd name="T98" fmla="*/ 2147483647 w 273"/>
              <a:gd name="T99" fmla="*/ 2147483647 h 414"/>
              <a:gd name="T100" fmla="*/ 2147483647 w 273"/>
              <a:gd name="T101" fmla="*/ 2147483647 h 414"/>
              <a:gd name="T102" fmla="*/ 2147483647 w 273"/>
              <a:gd name="T103" fmla="*/ 2147483647 h 414"/>
              <a:gd name="T104" fmla="*/ 2147483647 w 273"/>
              <a:gd name="T105" fmla="*/ 2147483647 h 414"/>
              <a:gd name="T106" fmla="*/ 2147483647 w 273"/>
              <a:gd name="T107" fmla="*/ 2147483647 h 414"/>
              <a:gd name="T108" fmla="*/ 2147483647 w 273"/>
              <a:gd name="T109" fmla="*/ 2147483647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144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193925" y="3562152"/>
            <a:ext cx="323850" cy="401637"/>
            <a:chOff x="1486" y="2412"/>
            <a:chExt cx="244" cy="256"/>
          </a:xfrm>
          <a:solidFill>
            <a:schemeClr val="accent5">
              <a:lumMod val="90000"/>
            </a:schemeClr>
          </a:solidFill>
        </p:grpSpPr>
        <p:sp>
          <p:nvSpPr>
            <p:cNvPr id="2527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2 h 22"/>
                <a:gd name="T4" fmla="*/ 1 w 54"/>
                <a:gd name="T5" fmla="*/ 2 h 22"/>
                <a:gd name="T6" fmla="*/ 1 w 54"/>
                <a:gd name="T7" fmla="*/ 2 h 22"/>
                <a:gd name="T8" fmla="*/ 2 w 54"/>
                <a:gd name="T9" fmla="*/ 2 h 22"/>
                <a:gd name="T10" fmla="*/ 2 w 54"/>
                <a:gd name="T11" fmla="*/ 2 h 22"/>
                <a:gd name="T12" fmla="*/ 3 w 54"/>
                <a:gd name="T13" fmla="*/ 2 h 22"/>
                <a:gd name="T14" fmla="*/ 3 w 54"/>
                <a:gd name="T15" fmla="*/ 2 h 22"/>
                <a:gd name="T16" fmla="*/ 3 w 54"/>
                <a:gd name="T17" fmla="*/ 2 h 22"/>
                <a:gd name="T18" fmla="*/ 4 w 54"/>
                <a:gd name="T19" fmla="*/ 2 h 22"/>
                <a:gd name="T20" fmla="*/ 4 w 54"/>
                <a:gd name="T21" fmla="*/ 2 h 22"/>
                <a:gd name="T22" fmla="*/ 5 w 54"/>
                <a:gd name="T23" fmla="*/ 1 h 22"/>
                <a:gd name="T24" fmla="*/ 5 w 54"/>
                <a:gd name="T25" fmla="*/ 1 h 22"/>
                <a:gd name="T26" fmla="*/ 6 w 54"/>
                <a:gd name="T27" fmla="*/ 1 h 22"/>
                <a:gd name="T28" fmla="*/ 4 w 54"/>
                <a:gd name="T29" fmla="*/ 1 h 22"/>
                <a:gd name="T30" fmla="*/ 2 w 54"/>
                <a:gd name="T31" fmla="*/ 0 h 22"/>
                <a:gd name="T32" fmla="*/ 1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28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1 w 6"/>
                <a:gd name="T1" fmla="*/ 3 h 24"/>
                <a:gd name="T2" fmla="*/ 1 w 6"/>
                <a:gd name="T3" fmla="*/ 0 h 24"/>
                <a:gd name="T4" fmla="*/ 0 w 6"/>
                <a:gd name="T5" fmla="*/ 0 h 24"/>
                <a:gd name="T6" fmla="*/ 0 w 6"/>
                <a:gd name="T7" fmla="*/ 0 h 24"/>
                <a:gd name="T8" fmla="*/ 0 w 6"/>
                <a:gd name="T9" fmla="*/ 1 h 24"/>
                <a:gd name="T10" fmla="*/ 0 w 6"/>
                <a:gd name="T11" fmla="*/ 1 h 24"/>
                <a:gd name="T12" fmla="*/ 0 w 6"/>
                <a:gd name="T13" fmla="*/ 2 h 24"/>
                <a:gd name="T14" fmla="*/ 0 w 6"/>
                <a:gd name="T15" fmla="*/ 2 h 24"/>
                <a:gd name="T16" fmla="*/ 0 w 6"/>
                <a:gd name="T17" fmla="*/ 3 h 24"/>
                <a:gd name="T18" fmla="*/ 1 w 6"/>
                <a:gd name="T19" fmla="*/ 3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29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1 h 12"/>
                <a:gd name="T2" fmla="*/ 2 w 27"/>
                <a:gd name="T3" fmla="*/ 1 h 12"/>
                <a:gd name="T4" fmla="*/ 1 w 27"/>
                <a:gd name="T5" fmla="*/ 0 h 12"/>
                <a:gd name="T6" fmla="*/ 0 w 27"/>
                <a:gd name="T7" fmla="*/ 1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30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1 w 743"/>
                <a:gd name="T1" fmla="*/ 23 h 672"/>
                <a:gd name="T2" fmla="*/ 5 w 743"/>
                <a:gd name="T3" fmla="*/ 30 h 672"/>
                <a:gd name="T4" fmla="*/ 13 w 743"/>
                <a:gd name="T5" fmla="*/ 33 h 672"/>
                <a:gd name="T6" fmla="*/ 18 w 743"/>
                <a:gd name="T7" fmla="*/ 35 h 672"/>
                <a:gd name="T8" fmla="*/ 21 w 743"/>
                <a:gd name="T9" fmla="*/ 38 h 672"/>
                <a:gd name="T10" fmla="*/ 32 w 743"/>
                <a:gd name="T11" fmla="*/ 42 h 672"/>
                <a:gd name="T12" fmla="*/ 31 w 743"/>
                <a:gd name="T13" fmla="*/ 47 h 672"/>
                <a:gd name="T14" fmla="*/ 33 w 743"/>
                <a:gd name="T15" fmla="*/ 57 h 672"/>
                <a:gd name="T16" fmla="*/ 33 w 743"/>
                <a:gd name="T17" fmla="*/ 59 h 672"/>
                <a:gd name="T18" fmla="*/ 33 w 743"/>
                <a:gd name="T19" fmla="*/ 63 h 672"/>
                <a:gd name="T20" fmla="*/ 35 w 743"/>
                <a:gd name="T21" fmla="*/ 69 h 672"/>
                <a:gd name="T22" fmla="*/ 40 w 743"/>
                <a:gd name="T23" fmla="*/ 73 h 672"/>
                <a:gd name="T24" fmla="*/ 45 w 743"/>
                <a:gd name="T25" fmla="*/ 75 h 672"/>
                <a:gd name="T26" fmla="*/ 50 w 743"/>
                <a:gd name="T27" fmla="*/ 73 h 672"/>
                <a:gd name="T28" fmla="*/ 55 w 743"/>
                <a:gd name="T29" fmla="*/ 69 h 672"/>
                <a:gd name="T30" fmla="*/ 56 w 743"/>
                <a:gd name="T31" fmla="*/ 65 h 672"/>
                <a:gd name="T32" fmla="*/ 52 w 743"/>
                <a:gd name="T33" fmla="*/ 52 h 672"/>
                <a:gd name="T34" fmla="*/ 62 w 743"/>
                <a:gd name="T35" fmla="*/ 56 h 672"/>
                <a:gd name="T36" fmla="*/ 65 w 743"/>
                <a:gd name="T37" fmla="*/ 53 h 672"/>
                <a:gd name="T38" fmla="*/ 70 w 743"/>
                <a:gd name="T39" fmla="*/ 49 h 672"/>
                <a:gd name="T40" fmla="*/ 72 w 743"/>
                <a:gd name="T41" fmla="*/ 49 h 672"/>
                <a:gd name="T42" fmla="*/ 74 w 743"/>
                <a:gd name="T43" fmla="*/ 48 h 672"/>
                <a:gd name="T44" fmla="*/ 72 w 743"/>
                <a:gd name="T45" fmla="*/ 36 h 672"/>
                <a:gd name="T46" fmla="*/ 77 w 743"/>
                <a:gd name="T47" fmla="*/ 33 h 672"/>
                <a:gd name="T48" fmla="*/ 77 w 743"/>
                <a:gd name="T49" fmla="*/ 28 h 672"/>
                <a:gd name="T50" fmla="*/ 78 w 743"/>
                <a:gd name="T51" fmla="*/ 26 h 672"/>
                <a:gd name="T52" fmla="*/ 78 w 743"/>
                <a:gd name="T53" fmla="*/ 24 h 672"/>
                <a:gd name="T54" fmla="*/ 76 w 743"/>
                <a:gd name="T55" fmla="*/ 22 h 672"/>
                <a:gd name="T56" fmla="*/ 74 w 743"/>
                <a:gd name="T57" fmla="*/ 19 h 672"/>
                <a:gd name="T58" fmla="*/ 72 w 743"/>
                <a:gd name="T59" fmla="*/ 16 h 672"/>
                <a:gd name="T60" fmla="*/ 69 w 743"/>
                <a:gd name="T61" fmla="*/ 17 h 672"/>
                <a:gd name="T62" fmla="*/ 68 w 743"/>
                <a:gd name="T63" fmla="*/ 15 h 672"/>
                <a:gd name="T64" fmla="*/ 65 w 743"/>
                <a:gd name="T65" fmla="*/ 13 h 672"/>
                <a:gd name="T66" fmla="*/ 63 w 743"/>
                <a:gd name="T67" fmla="*/ 11 h 672"/>
                <a:gd name="T68" fmla="*/ 58 w 743"/>
                <a:gd name="T69" fmla="*/ 8 h 672"/>
                <a:gd name="T70" fmla="*/ 53 w 743"/>
                <a:gd name="T71" fmla="*/ 10 h 672"/>
                <a:gd name="T72" fmla="*/ 51 w 743"/>
                <a:gd name="T73" fmla="*/ 11 h 672"/>
                <a:gd name="T74" fmla="*/ 47 w 743"/>
                <a:gd name="T75" fmla="*/ 13 h 672"/>
                <a:gd name="T76" fmla="*/ 45 w 743"/>
                <a:gd name="T77" fmla="*/ 12 h 672"/>
                <a:gd name="T78" fmla="*/ 42 w 743"/>
                <a:gd name="T79" fmla="*/ 11 h 672"/>
                <a:gd name="T80" fmla="*/ 39 w 743"/>
                <a:gd name="T81" fmla="*/ 9 h 672"/>
                <a:gd name="T82" fmla="*/ 34 w 743"/>
                <a:gd name="T83" fmla="*/ 9 h 672"/>
                <a:gd name="T84" fmla="*/ 32 w 743"/>
                <a:gd name="T85" fmla="*/ 10 h 672"/>
                <a:gd name="T86" fmla="*/ 27 w 743"/>
                <a:gd name="T87" fmla="*/ 10 h 672"/>
                <a:gd name="T88" fmla="*/ 25 w 743"/>
                <a:gd name="T89" fmla="*/ 6 h 672"/>
                <a:gd name="T90" fmla="*/ 19 w 743"/>
                <a:gd name="T91" fmla="*/ 2 h 672"/>
                <a:gd name="T92" fmla="*/ 16 w 743"/>
                <a:gd name="T93" fmla="*/ 1 h 672"/>
                <a:gd name="T94" fmla="*/ 15 w 743"/>
                <a:gd name="T95" fmla="*/ 5 h 672"/>
                <a:gd name="T96" fmla="*/ 13 w 743"/>
                <a:gd name="T97" fmla="*/ 8 h 672"/>
                <a:gd name="T98" fmla="*/ 13 w 743"/>
                <a:gd name="T99" fmla="*/ 15 h 672"/>
                <a:gd name="T100" fmla="*/ 11 w 743"/>
                <a:gd name="T101" fmla="*/ 22 h 672"/>
                <a:gd name="T102" fmla="*/ 10 w 743"/>
                <a:gd name="T103" fmla="*/ 21 h 672"/>
                <a:gd name="T104" fmla="*/ 8 w 743"/>
                <a:gd name="T105" fmla="*/ 20 h 672"/>
                <a:gd name="T106" fmla="*/ 6 w 743"/>
                <a:gd name="T107" fmla="*/ 19 h 672"/>
                <a:gd name="T108" fmla="*/ 6 w 743"/>
                <a:gd name="T109" fmla="*/ 13 h 672"/>
                <a:gd name="T110" fmla="*/ 8 w 743"/>
                <a:gd name="T111" fmla="*/ 7 h 672"/>
                <a:gd name="T112" fmla="*/ 11 w 743"/>
                <a:gd name="T113" fmla="*/ 2 h 672"/>
                <a:gd name="T114" fmla="*/ 6 w 743"/>
                <a:gd name="T115" fmla="*/ 3 h 672"/>
                <a:gd name="T116" fmla="*/ 2 w 743"/>
                <a:gd name="T117" fmla="*/ 8 h 672"/>
                <a:gd name="T118" fmla="*/ 0 w 743"/>
                <a:gd name="T119" fmla="*/ 13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145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215188" y="5102027"/>
            <a:ext cx="31750" cy="11112"/>
          </a:xfrm>
          <a:custGeom>
            <a:avLst/>
            <a:gdLst>
              <a:gd name="T0" fmla="*/ 0 w 79"/>
              <a:gd name="T1" fmla="*/ 2147483647 h 23"/>
              <a:gd name="T2" fmla="*/ 2147483647 w 79"/>
              <a:gd name="T3" fmla="*/ 2147483647 h 23"/>
              <a:gd name="T4" fmla="*/ 2147483647 w 79"/>
              <a:gd name="T5" fmla="*/ 2147483647 h 23"/>
              <a:gd name="T6" fmla="*/ 2147483647 w 79"/>
              <a:gd name="T7" fmla="*/ 2147483647 h 23"/>
              <a:gd name="T8" fmla="*/ 2147483647 w 79"/>
              <a:gd name="T9" fmla="*/ 0 h 23"/>
              <a:gd name="T10" fmla="*/ 2147483647 w 79"/>
              <a:gd name="T11" fmla="*/ 0 h 23"/>
              <a:gd name="T12" fmla="*/ 2147483647 w 79"/>
              <a:gd name="T13" fmla="*/ 2147483647 h 23"/>
              <a:gd name="T14" fmla="*/ 2147483647 w 79"/>
              <a:gd name="T15" fmla="*/ 2147483647 h 23"/>
              <a:gd name="T16" fmla="*/ 2147483647 w 79"/>
              <a:gd name="T17" fmla="*/ 2147483647 h 23"/>
              <a:gd name="T18" fmla="*/ 2147483647 w 79"/>
              <a:gd name="T19" fmla="*/ 2147483647 h 23"/>
              <a:gd name="T20" fmla="*/ 2147483647 w 79"/>
              <a:gd name="T21" fmla="*/ 2147483647 h 23"/>
              <a:gd name="T22" fmla="*/ 2147483647 w 79"/>
              <a:gd name="T23" fmla="*/ 2147483647 h 23"/>
              <a:gd name="T24" fmla="*/ 2147483647 w 79"/>
              <a:gd name="T25" fmla="*/ 2147483647 h 23"/>
              <a:gd name="T26" fmla="*/ 2147483647 w 79"/>
              <a:gd name="T27" fmla="*/ 2147483647 h 23"/>
              <a:gd name="T28" fmla="*/ 2147483647 w 79"/>
              <a:gd name="T29" fmla="*/ 2147483647 h 23"/>
              <a:gd name="T30" fmla="*/ 2147483647 w 79"/>
              <a:gd name="T31" fmla="*/ 2147483647 h 23"/>
              <a:gd name="T32" fmla="*/ 2147483647 w 79"/>
              <a:gd name="T33" fmla="*/ 2147483647 h 23"/>
              <a:gd name="T34" fmla="*/ 2147483647 w 79"/>
              <a:gd name="T35" fmla="*/ 2147483647 h 23"/>
              <a:gd name="T36" fmla="*/ 2147483647 w 79"/>
              <a:gd name="T37" fmla="*/ 2147483647 h 23"/>
              <a:gd name="T38" fmla="*/ 2147483647 w 79"/>
              <a:gd name="T39" fmla="*/ 2147483647 h 23"/>
              <a:gd name="T40" fmla="*/ 2147483647 w 79"/>
              <a:gd name="T41" fmla="*/ 2147483647 h 23"/>
              <a:gd name="T42" fmla="*/ 2147483647 w 79"/>
              <a:gd name="T43" fmla="*/ 2147483647 h 23"/>
              <a:gd name="T44" fmla="*/ 2147483647 w 79"/>
              <a:gd name="T45" fmla="*/ 2147483647 h 23"/>
              <a:gd name="T46" fmla="*/ 2147483647 w 79"/>
              <a:gd name="T47" fmla="*/ 2147483647 h 23"/>
              <a:gd name="T48" fmla="*/ 0 w 79"/>
              <a:gd name="T49" fmla="*/ 2147483647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46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331075" y="5235377"/>
            <a:ext cx="1588" cy="476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2147483647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47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421563" y="5233789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48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421563" y="5233789"/>
            <a:ext cx="3175" cy="15875"/>
          </a:xfrm>
          <a:custGeom>
            <a:avLst/>
            <a:gdLst>
              <a:gd name="T0" fmla="*/ 0 w 5"/>
              <a:gd name="T1" fmla="*/ 0 h 30"/>
              <a:gd name="T2" fmla="*/ 2147483647 w 5"/>
              <a:gd name="T3" fmla="*/ 2147483647 h 30"/>
              <a:gd name="T4" fmla="*/ 2147483647 w 5"/>
              <a:gd name="T5" fmla="*/ 2147483647 h 30"/>
              <a:gd name="T6" fmla="*/ 2147483647 w 5"/>
              <a:gd name="T7" fmla="*/ 2147483647 h 30"/>
              <a:gd name="T8" fmla="*/ 2147483647 w 5"/>
              <a:gd name="T9" fmla="*/ 2147483647 h 30"/>
              <a:gd name="T10" fmla="*/ 2147483647 w 5"/>
              <a:gd name="T11" fmla="*/ 2147483647 h 30"/>
              <a:gd name="T12" fmla="*/ 2147483647 w 5"/>
              <a:gd name="T13" fmla="*/ 2147483647 h 30"/>
              <a:gd name="T14" fmla="*/ 2147483647 w 5"/>
              <a:gd name="T15" fmla="*/ 2147483647 h 30"/>
              <a:gd name="T16" fmla="*/ 0 w 5"/>
              <a:gd name="T17" fmla="*/ 2147483647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49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720013" y="4703564"/>
            <a:ext cx="22225" cy="28575"/>
          </a:xfrm>
          <a:custGeom>
            <a:avLst/>
            <a:gdLst>
              <a:gd name="T0" fmla="*/ 0 w 53"/>
              <a:gd name="T1" fmla="*/ 2147483647 h 55"/>
              <a:gd name="T2" fmla="*/ 2147483647 w 53"/>
              <a:gd name="T3" fmla="*/ 2147483647 h 55"/>
              <a:gd name="T4" fmla="*/ 2147483647 w 53"/>
              <a:gd name="T5" fmla="*/ 2147483647 h 55"/>
              <a:gd name="T6" fmla="*/ 2147483647 w 53"/>
              <a:gd name="T7" fmla="*/ 2147483647 h 55"/>
              <a:gd name="T8" fmla="*/ 2147483647 w 53"/>
              <a:gd name="T9" fmla="*/ 2147483647 h 55"/>
              <a:gd name="T10" fmla="*/ 2147483647 w 53"/>
              <a:gd name="T11" fmla="*/ 2147483647 h 55"/>
              <a:gd name="T12" fmla="*/ 2147483647 w 53"/>
              <a:gd name="T13" fmla="*/ 2147483647 h 55"/>
              <a:gd name="T14" fmla="*/ 2147483647 w 53"/>
              <a:gd name="T15" fmla="*/ 2147483647 h 55"/>
              <a:gd name="T16" fmla="*/ 2147483647 w 53"/>
              <a:gd name="T17" fmla="*/ 2147483647 h 55"/>
              <a:gd name="T18" fmla="*/ 2147483647 w 53"/>
              <a:gd name="T19" fmla="*/ 2147483647 h 55"/>
              <a:gd name="T20" fmla="*/ 2147483647 w 53"/>
              <a:gd name="T21" fmla="*/ 2147483647 h 55"/>
              <a:gd name="T22" fmla="*/ 2147483647 w 53"/>
              <a:gd name="T23" fmla="*/ 2147483647 h 55"/>
              <a:gd name="T24" fmla="*/ 2147483647 w 53"/>
              <a:gd name="T25" fmla="*/ 2147483647 h 55"/>
              <a:gd name="T26" fmla="*/ 2147483647 w 53"/>
              <a:gd name="T27" fmla="*/ 0 h 55"/>
              <a:gd name="T28" fmla="*/ 2147483647 w 53"/>
              <a:gd name="T29" fmla="*/ 2147483647 h 55"/>
              <a:gd name="T30" fmla="*/ 0 w 53"/>
              <a:gd name="T31" fmla="*/ 2147483647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0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726363" y="4630539"/>
            <a:ext cx="26987" cy="39688"/>
          </a:xfrm>
          <a:custGeom>
            <a:avLst/>
            <a:gdLst>
              <a:gd name="T0" fmla="*/ 0 w 65"/>
              <a:gd name="T1" fmla="*/ 2147483647 h 75"/>
              <a:gd name="T2" fmla="*/ 2147483647 w 65"/>
              <a:gd name="T3" fmla="*/ 2147483647 h 75"/>
              <a:gd name="T4" fmla="*/ 2147483647 w 65"/>
              <a:gd name="T5" fmla="*/ 2147483647 h 75"/>
              <a:gd name="T6" fmla="*/ 2147483647 w 65"/>
              <a:gd name="T7" fmla="*/ 2147483647 h 75"/>
              <a:gd name="T8" fmla="*/ 2147483647 w 65"/>
              <a:gd name="T9" fmla="*/ 2147483647 h 75"/>
              <a:gd name="T10" fmla="*/ 2147483647 w 65"/>
              <a:gd name="T11" fmla="*/ 2147483647 h 75"/>
              <a:gd name="T12" fmla="*/ 2147483647 w 65"/>
              <a:gd name="T13" fmla="*/ 2147483647 h 75"/>
              <a:gd name="T14" fmla="*/ 2147483647 w 65"/>
              <a:gd name="T15" fmla="*/ 2147483647 h 75"/>
              <a:gd name="T16" fmla="*/ 2147483647 w 65"/>
              <a:gd name="T17" fmla="*/ 2147483647 h 75"/>
              <a:gd name="T18" fmla="*/ 2147483647 w 65"/>
              <a:gd name="T19" fmla="*/ 2147483647 h 75"/>
              <a:gd name="T20" fmla="*/ 2147483647 w 65"/>
              <a:gd name="T21" fmla="*/ 2147483647 h 75"/>
              <a:gd name="T22" fmla="*/ 2147483647 w 65"/>
              <a:gd name="T23" fmla="*/ 2147483647 h 75"/>
              <a:gd name="T24" fmla="*/ 2147483647 w 65"/>
              <a:gd name="T25" fmla="*/ 2147483647 h 75"/>
              <a:gd name="T26" fmla="*/ 2147483647 w 65"/>
              <a:gd name="T27" fmla="*/ 2147483647 h 75"/>
              <a:gd name="T28" fmla="*/ 2147483647 w 65"/>
              <a:gd name="T29" fmla="*/ 2147483647 h 75"/>
              <a:gd name="T30" fmla="*/ 2147483647 w 65"/>
              <a:gd name="T31" fmla="*/ 2147483647 h 75"/>
              <a:gd name="T32" fmla="*/ 2147483647 w 65"/>
              <a:gd name="T33" fmla="*/ 2147483647 h 75"/>
              <a:gd name="T34" fmla="*/ 2147483647 w 65"/>
              <a:gd name="T35" fmla="*/ 2147483647 h 75"/>
              <a:gd name="T36" fmla="*/ 2147483647 w 65"/>
              <a:gd name="T37" fmla="*/ 0 h 75"/>
              <a:gd name="T38" fmla="*/ 2147483647 w 65"/>
              <a:gd name="T39" fmla="*/ 0 h 75"/>
              <a:gd name="T40" fmla="*/ 2147483647 w 65"/>
              <a:gd name="T41" fmla="*/ 0 h 75"/>
              <a:gd name="T42" fmla="*/ 2147483647 w 65"/>
              <a:gd name="T43" fmla="*/ 2147483647 h 75"/>
              <a:gd name="T44" fmla="*/ 2147483647 w 65"/>
              <a:gd name="T45" fmla="*/ 2147483647 h 75"/>
              <a:gd name="T46" fmla="*/ 2147483647 w 65"/>
              <a:gd name="T47" fmla="*/ 2147483647 h 75"/>
              <a:gd name="T48" fmla="*/ 2147483647 w 65"/>
              <a:gd name="T49" fmla="*/ 2147483647 h 75"/>
              <a:gd name="T50" fmla="*/ 2147483647 w 65"/>
              <a:gd name="T51" fmla="*/ 2147483647 h 75"/>
              <a:gd name="T52" fmla="*/ 2147483647 w 65"/>
              <a:gd name="T53" fmla="*/ 2147483647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1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702550" y="4606727"/>
            <a:ext cx="17463" cy="30162"/>
          </a:xfrm>
          <a:custGeom>
            <a:avLst/>
            <a:gdLst>
              <a:gd name="T0" fmla="*/ 0 w 40"/>
              <a:gd name="T1" fmla="*/ 2147483647 h 62"/>
              <a:gd name="T2" fmla="*/ 2147483647 w 40"/>
              <a:gd name="T3" fmla="*/ 2147483647 h 62"/>
              <a:gd name="T4" fmla="*/ 2147483647 w 40"/>
              <a:gd name="T5" fmla="*/ 2147483647 h 62"/>
              <a:gd name="T6" fmla="*/ 2147483647 w 40"/>
              <a:gd name="T7" fmla="*/ 2147483647 h 62"/>
              <a:gd name="T8" fmla="*/ 2147483647 w 40"/>
              <a:gd name="T9" fmla="*/ 2147483647 h 62"/>
              <a:gd name="T10" fmla="*/ 2147483647 w 40"/>
              <a:gd name="T11" fmla="*/ 2147483647 h 62"/>
              <a:gd name="T12" fmla="*/ 2147483647 w 40"/>
              <a:gd name="T13" fmla="*/ 2147483647 h 62"/>
              <a:gd name="T14" fmla="*/ 2147483647 w 40"/>
              <a:gd name="T15" fmla="*/ 2147483647 h 62"/>
              <a:gd name="T16" fmla="*/ 2147483647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2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621588" y="4484489"/>
            <a:ext cx="68262" cy="138113"/>
          </a:xfrm>
          <a:custGeom>
            <a:avLst/>
            <a:gdLst>
              <a:gd name="T0" fmla="*/ 2147483647 w 159"/>
              <a:gd name="T1" fmla="*/ 2147483647 h 259"/>
              <a:gd name="T2" fmla="*/ 2147483647 w 159"/>
              <a:gd name="T3" fmla="*/ 2147483647 h 259"/>
              <a:gd name="T4" fmla="*/ 2147483647 w 159"/>
              <a:gd name="T5" fmla="*/ 2147483647 h 259"/>
              <a:gd name="T6" fmla="*/ 2147483647 w 159"/>
              <a:gd name="T7" fmla="*/ 2147483647 h 259"/>
              <a:gd name="T8" fmla="*/ 2147483647 w 159"/>
              <a:gd name="T9" fmla="*/ 2147483647 h 259"/>
              <a:gd name="T10" fmla="*/ 2147483647 w 159"/>
              <a:gd name="T11" fmla="*/ 2147483647 h 259"/>
              <a:gd name="T12" fmla="*/ 2147483647 w 159"/>
              <a:gd name="T13" fmla="*/ 2147483647 h 259"/>
              <a:gd name="T14" fmla="*/ 2147483647 w 159"/>
              <a:gd name="T15" fmla="*/ 2147483647 h 259"/>
              <a:gd name="T16" fmla="*/ 2147483647 w 159"/>
              <a:gd name="T17" fmla="*/ 2147483647 h 259"/>
              <a:gd name="T18" fmla="*/ 2147483647 w 159"/>
              <a:gd name="T19" fmla="*/ 2147483647 h 259"/>
              <a:gd name="T20" fmla="*/ 2147483647 w 159"/>
              <a:gd name="T21" fmla="*/ 2147483647 h 259"/>
              <a:gd name="T22" fmla="*/ 2147483647 w 159"/>
              <a:gd name="T23" fmla="*/ 2147483647 h 259"/>
              <a:gd name="T24" fmla="*/ 2147483647 w 159"/>
              <a:gd name="T25" fmla="*/ 2147483647 h 259"/>
              <a:gd name="T26" fmla="*/ 2147483647 w 159"/>
              <a:gd name="T27" fmla="*/ 2147483647 h 259"/>
              <a:gd name="T28" fmla="*/ 2147483647 w 159"/>
              <a:gd name="T29" fmla="*/ 2147483647 h 259"/>
              <a:gd name="T30" fmla="*/ 2147483647 w 159"/>
              <a:gd name="T31" fmla="*/ 2147483647 h 259"/>
              <a:gd name="T32" fmla="*/ 2147483647 w 159"/>
              <a:gd name="T33" fmla="*/ 2147483647 h 259"/>
              <a:gd name="T34" fmla="*/ 2147483647 w 159"/>
              <a:gd name="T35" fmla="*/ 2147483647 h 259"/>
              <a:gd name="T36" fmla="*/ 2147483647 w 159"/>
              <a:gd name="T37" fmla="*/ 2147483647 h 259"/>
              <a:gd name="T38" fmla="*/ 2147483647 w 159"/>
              <a:gd name="T39" fmla="*/ 2147483647 h 259"/>
              <a:gd name="T40" fmla="*/ 2147483647 w 159"/>
              <a:gd name="T41" fmla="*/ 2147483647 h 259"/>
              <a:gd name="T42" fmla="*/ 2147483647 w 159"/>
              <a:gd name="T43" fmla="*/ 2147483647 h 259"/>
              <a:gd name="T44" fmla="*/ 2147483647 w 159"/>
              <a:gd name="T45" fmla="*/ 2147483647 h 259"/>
              <a:gd name="T46" fmla="*/ 2147483647 w 159"/>
              <a:gd name="T47" fmla="*/ 2147483647 h 259"/>
              <a:gd name="T48" fmla="*/ 2147483647 w 159"/>
              <a:gd name="T49" fmla="*/ 2147483647 h 259"/>
              <a:gd name="T50" fmla="*/ 2147483647 w 159"/>
              <a:gd name="T51" fmla="*/ 2147483647 h 259"/>
              <a:gd name="T52" fmla="*/ 2147483647 w 159"/>
              <a:gd name="T53" fmla="*/ 2147483647 h 259"/>
              <a:gd name="T54" fmla="*/ 2147483647 w 159"/>
              <a:gd name="T55" fmla="*/ 2147483647 h 259"/>
              <a:gd name="T56" fmla="*/ 2147483647 w 159"/>
              <a:gd name="T57" fmla="*/ 2147483647 h 259"/>
              <a:gd name="T58" fmla="*/ 2147483647 w 159"/>
              <a:gd name="T59" fmla="*/ 2147483647 h 259"/>
              <a:gd name="T60" fmla="*/ 2147483647 w 159"/>
              <a:gd name="T61" fmla="*/ 2147483647 h 259"/>
              <a:gd name="T62" fmla="*/ 2147483647 w 159"/>
              <a:gd name="T63" fmla="*/ 2147483647 h 259"/>
              <a:gd name="T64" fmla="*/ 2147483647 w 159"/>
              <a:gd name="T65" fmla="*/ 2147483647 h 259"/>
              <a:gd name="T66" fmla="*/ 2147483647 w 159"/>
              <a:gd name="T67" fmla="*/ 2147483647 h 259"/>
              <a:gd name="T68" fmla="*/ 2147483647 w 159"/>
              <a:gd name="T69" fmla="*/ 2147483647 h 259"/>
              <a:gd name="T70" fmla="*/ 0 w 159"/>
              <a:gd name="T71" fmla="*/ 2147483647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3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615238" y="4451152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4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615238" y="4435277"/>
            <a:ext cx="6350" cy="15875"/>
          </a:xfrm>
          <a:custGeom>
            <a:avLst/>
            <a:gdLst>
              <a:gd name="T0" fmla="*/ 0 w 13"/>
              <a:gd name="T1" fmla="*/ 2147483647 h 25"/>
              <a:gd name="T2" fmla="*/ 2147483647 w 13"/>
              <a:gd name="T3" fmla="*/ 2147483647 h 25"/>
              <a:gd name="T4" fmla="*/ 2147483647 w 13"/>
              <a:gd name="T5" fmla="*/ 2147483647 h 25"/>
              <a:gd name="T6" fmla="*/ 2147483647 w 13"/>
              <a:gd name="T7" fmla="*/ 2147483647 h 25"/>
              <a:gd name="T8" fmla="*/ 2147483647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5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621588" y="4422577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6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575550" y="4355902"/>
            <a:ext cx="46038" cy="66675"/>
          </a:xfrm>
          <a:custGeom>
            <a:avLst/>
            <a:gdLst>
              <a:gd name="T0" fmla="*/ 2147483647 w 100"/>
              <a:gd name="T1" fmla="*/ 2147483647 h 123"/>
              <a:gd name="T2" fmla="*/ 2147483647 w 100"/>
              <a:gd name="T3" fmla="*/ 2147483647 h 123"/>
              <a:gd name="T4" fmla="*/ 2147483647 w 100"/>
              <a:gd name="T5" fmla="*/ 2147483647 h 123"/>
              <a:gd name="T6" fmla="*/ 2147483647 w 100"/>
              <a:gd name="T7" fmla="*/ 2147483647 h 123"/>
              <a:gd name="T8" fmla="*/ 2147483647 w 100"/>
              <a:gd name="T9" fmla="*/ 2147483647 h 123"/>
              <a:gd name="T10" fmla="*/ 2147483647 w 100"/>
              <a:gd name="T11" fmla="*/ 2147483647 h 123"/>
              <a:gd name="T12" fmla="*/ 2147483647 w 100"/>
              <a:gd name="T13" fmla="*/ 2147483647 h 123"/>
              <a:gd name="T14" fmla="*/ 2147483647 w 100"/>
              <a:gd name="T15" fmla="*/ 2147483647 h 123"/>
              <a:gd name="T16" fmla="*/ 2147483647 w 100"/>
              <a:gd name="T17" fmla="*/ 2147483647 h 123"/>
              <a:gd name="T18" fmla="*/ 2147483647 w 100"/>
              <a:gd name="T19" fmla="*/ 2147483647 h 123"/>
              <a:gd name="T20" fmla="*/ 2147483647 w 100"/>
              <a:gd name="T21" fmla="*/ 2147483647 h 123"/>
              <a:gd name="T22" fmla="*/ 2147483647 w 100"/>
              <a:gd name="T23" fmla="*/ 2147483647 h 123"/>
              <a:gd name="T24" fmla="*/ 0 w 100"/>
              <a:gd name="T25" fmla="*/ 2147483647 h 123"/>
              <a:gd name="T26" fmla="*/ 2147483647 w 100"/>
              <a:gd name="T27" fmla="*/ 2147483647 h 123"/>
              <a:gd name="T28" fmla="*/ 2147483647 w 100"/>
              <a:gd name="T29" fmla="*/ 2147483647 h 123"/>
              <a:gd name="T30" fmla="*/ 2147483647 w 100"/>
              <a:gd name="T31" fmla="*/ 2147483647 h 123"/>
              <a:gd name="T32" fmla="*/ 2147483647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7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89838" y="4298752"/>
            <a:ext cx="1587" cy="50800"/>
          </a:xfrm>
          <a:custGeom>
            <a:avLst/>
            <a:gdLst>
              <a:gd name="T0" fmla="*/ 2147483647 w 5"/>
              <a:gd name="T1" fmla="*/ 0 h 99"/>
              <a:gd name="T2" fmla="*/ 2147483647 w 5"/>
              <a:gd name="T3" fmla="*/ 2147483647 h 99"/>
              <a:gd name="T4" fmla="*/ 2147483647 w 5"/>
              <a:gd name="T5" fmla="*/ 2147483647 h 99"/>
              <a:gd name="T6" fmla="*/ 0 w 5"/>
              <a:gd name="T7" fmla="*/ 2147483647 h 99"/>
              <a:gd name="T8" fmla="*/ 0 w 5"/>
              <a:gd name="T9" fmla="*/ 2147483647 h 99"/>
              <a:gd name="T10" fmla="*/ 2147483647 w 5"/>
              <a:gd name="T11" fmla="*/ 2147483647 h 99"/>
              <a:gd name="T12" fmla="*/ 2147483647 w 5"/>
              <a:gd name="T13" fmla="*/ 2147483647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8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96188" y="4292402"/>
            <a:ext cx="7937" cy="36512"/>
          </a:xfrm>
          <a:custGeom>
            <a:avLst/>
            <a:gdLst>
              <a:gd name="T0" fmla="*/ 2147483647 w 14"/>
              <a:gd name="T1" fmla="*/ 0 h 68"/>
              <a:gd name="T2" fmla="*/ 2147483647 w 14"/>
              <a:gd name="T3" fmla="*/ 2147483647 h 68"/>
              <a:gd name="T4" fmla="*/ 2147483647 w 14"/>
              <a:gd name="T5" fmla="*/ 2147483647 h 68"/>
              <a:gd name="T6" fmla="*/ 2147483647 w 14"/>
              <a:gd name="T7" fmla="*/ 2147483647 h 68"/>
              <a:gd name="T8" fmla="*/ 0 w 14"/>
              <a:gd name="T9" fmla="*/ 2147483647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9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612063" y="4273352"/>
            <a:ext cx="1587" cy="22225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2147483647 h 43"/>
              <a:gd name="T4" fmla="*/ 0 w 1587"/>
              <a:gd name="T5" fmla="*/ 2147483647 h 43"/>
              <a:gd name="T6" fmla="*/ 0 w 1587"/>
              <a:gd name="T7" fmla="*/ 2147483647 h 43"/>
              <a:gd name="T8" fmla="*/ 0 w 1587"/>
              <a:gd name="T9" fmla="*/ 2147483647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0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612063" y="4292402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1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96188" y="4276527"/>
            <a:ext cx="1587" cy="15875"/>
          </a:xfrm>
          <a:custGeom>
            <a:avLst/>
            <a:gdLst>
              <a:gd name="T0" fmla="*/ 0 w 1587"/>
              <a:gd name="T1" fmla="*/ 2147483647 h 31"/>
              <a:gd name="T2" fmla="*/ 0 w 1587"/>
              <a:gd name="T3" fmla="*/ 2147483647 h 31"/>
              <a:gd name="T4" fmla="*/ 0 w 1587"/>
              <a:gd name="T5" fmla="*/ 2147483647 h 31"/>
              <a:gd name="T6" fmla="*/ 0 w 1587"/>
              <a:gd name="T7" fmla="*/ 214748364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2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316788" y="5265539"/>
            <a:ext cx="96837" cy="87313"/>
          </a:xfrm>
          <a:custGeom>
            <a:avLst/>
            <a:gdLst>
              <a:gd name="T0" fmla="*/ 2147483647 w 225"/>
              <a:gd name="T1" fmla="*/ 2147483647 h 167"/>
              <a:gd name="T2" fmla="*/ 2147483647 w 225"/>
              <a:gd name="T3" fmla="*/ 2147483647 h 167"/>
              <a:gd name="T4" fmla="*/ 0 w 225"/>
              <a:gd name="T5" fmla="*/ 2147483647 h 167"/>
              <a:gd name="T6" fmla="*/ 2147483647 w 225"/>
              <a:gd name="T7" fmla="*/ 2147483647 h 167"/>
              <a:gd name="T8" fmla="*/ 2147483647 w 225"/>
              <a:gd name="T9" fmla="*/ 2147483647 h 167"/>
              <a:gd name="T10" fmla="*/ 2147483647 w 225"/>
              <a:gd name="T11" fmla="*/ 2147483647 h 167"/>
              <a:gd name="T12" fmla="*/ 2147483647 w 225"/>
              <a:gd name="T13" fmla="*/ 2147483647 h 167"/>
              <a:gd name="T14" fmla="*/ 2147483647 w 225"/>
              <a:gd name="T15" fmla="*/ 2147483647 h 167"/>
              <a:gd name="T16" fmla="*/ 2147483647 w 225"/>
              <a:gd name="T17" fmla="*/ 2147483647 h 167"/>
              <a:gd name="T18" fmla="*/ 2147483647 w 225"/>
              <a:gd name="T19" fmla="*/ 2147483647 h 167"/>
              <a:gd name="T20" fmla="*/ 2147483647 w 225"/>
              <a:gd name="T21" fmla="*/ 2147483647 h 167"/>
              <a:gd name="T22" fmla="*/ 2147483647 w 225"/>
              <a:gd name="T23" fmla="*/ 2147483647 h 167"/>
              <a:gd name="T24" fmla="*/ 2147483647 w 225"/>
              <a:gd name="T25" fmla="*/ 2147483647 h 167"/>
              <a:gd name="T26" fmla="*/ 2147483647 w 225"/>
              <a:gd name="T27" fmla="*/ 2147483647 h 167"/>
              <a:gd name="T28" fmla="*/ 2147483647 w 225"/>
              <a:gd name="T29" fmla="*/ 2147483647 h 167"/>
              <a:gd name="T30" fmla="*/ 2147483647 w 225"/>
              <a:gd name="T31" fmla="*/ 2147483647 h 167"/>
              <a:gd name="T32" fmla="*/ 2147483647 w 225"/>
              <a:gd name="T33" fmla="*/ 2147483647 h 167"/>
              <a:gd name="T34" fmla="*/ 2147483647 w 225"/>
              <a:gd name="T35" fmla="*/ 0 h 167"/>
              <a:gd name="T36" fmla="*/ 2147483647 w 225"/>
              <a:gd name="T37" fmla="*/ 2147483647 h 167"/>
              <a:gd name="T38" fmla="*/ 2147483647 w 225"/>
              <a:gd name="T39" fmla="*/ 2147483647 h 167"/>
              <a:gd name="T40" fmla="*/ 2147483647 w 225"/>
              <a:gd name="T41" fmla="*/ 2147483647 h 167"/>
              <a:gd name="T42" fmla="*/ 2147483647 w 225"/>
              <a:gd name="T43" fmla="*/ 2147483647 h 167"/>
              <a:gd name="T44" fmla="*/ 2147483647 w 225"/>
              <a:gd name="T45" fmla="*/ 2147483647 h 167"/>
              <a:gd name="T46" fmla="*/ 2147483647 w 225"/>
              <a:gd name="T47" fmla="*/ 2147483647 h 167"/>
              <a:gd name="T48" fmla="*/ 2147483647 w 225"/>
              <a:gd name="T49" fmla="*/ 2147483647 h 167"/>
              <a:gd name="T50" fmla="*/ 2147483647 w 225"/>
              <a:gd name="T51" fmla="*/ 2147483647 h 167"/>
              <a:gd name="T52" fmla="*/ 2147483647 w 225"/>
              <a:gd name="T53" fmla="*/ 2147483647 h 167"/>
              <a:gd name="T54" fmla="*/ 2147483647 w 225"/>
              <a:gd name="T55" fmla="*/ 2147483647 h 167"/>
              <a:gd name="T56" fmla="*/ 2147483647 w 225"/>
              <a:gd name="T57" fmla="*/ 2147483647 h 167"/>
              <a:gd name="T58" fmla="*/ 2147483647 w 225"/>
              <a:gd name="T59" fmla="*/ 2147483647 h 167"/>
              <a:gd name="T60" fmla="*/ 2147483647 w 225"/>
              <a:gd name="T61" fmla="*/ 2147483647 h 167"/>
              <a:gd name="T62" fmla="*/ 2147483647 w 225"/>
              <a:gd name="T63" fmla="*/ 2147483647 h 167"/>
              <a:gd name="T64" fmla="*/ 2147483647 w 225"/>
              <a:gd name="T65" fmla="*/ 2147483647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3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54900" y="4484489"/>
            <a:ext cx="3175" cy="17463"/>
          </a:xfrm>
          <a:custGeom>
            <a:avLst/>
            <a:gdLst>
              <a:gd name="T0" fmla="*/ 0 w 7"/>
              <a:gd name="T1" fmla="*/ 2147483647 h 31"/>
              <a:gd name="T2" fmla="*/ 2147483647 w 7"/>
              <a:gd name="T3" fmla="*/ 2147483647 h 31"/>
              <a:gd name="T4" fmla="*/ 2147483647 w 7"/>
              <a:gd name="T5" fmla="*/ 2147483647 h 31"/>
              <a:gd name="T6" fmla="*/ 2147483647 w 7"/>
              <a:gd name="T7" fmla="*/ 2147483647 h 31"/>
              <a:gd name="T8" fmla="*/ 2147483647 w 7"/>
              <a:gd name="T9" fmla="*/ 0 h 31"/>
              <a:gd name="T10" fmla="*/ 2147483647 w 7"/>
              <a:gd name="T11" fmla="*/ 2147483647 h 31"/>
              <a:gd name="T12" fmla="*/ 2147483647 w 7"/>
              <a:gd name="T13" fmla="*/ 2147483647 h 31"/>
              <a:gd name="T14" fmla="*/ 2147483647 w 7"/>
              <a:gd name="T15" fmla="*/ 2147483647 h 31"/>
              <a:gd name="T16" fmla="*/ 0 w 7"/>
              <a:gd name="T17" fmla="*/ 2147483647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4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388225" y="4406702"/>
            <a:ext cx="15875" cy="15875"/>
          </a:xfrm>
          <a:custGeom>
            <a:avLst/>
            <a:gdLst>
              <a:gd name="T0" fmla="*/ 2147483647 w 33"/>
              <a:gd name="T1" fmla="*/ 2147483647 h 31"/>
              <a:gd name="T2" fmla="*/ 2147483647 w 33"/>
              <a:gd name="T3" fmla="*/ 0 h 31"/>
              <a:gd name="T4" fmla="*/ 2147483647 w 33"/>
              <a:gd name="T5" fmla="*/ 0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0 w 33"/>
              <a:gd name="T19" fmla="*/ 2147483647 h 31"/>
              <a:gd name="T20" fmla="*/ 2147483647 w 33"/>
              <a:gd name="T21" fmla="*/ 2147483647 h 31"/>
              <a:gd name="T22" fmla="*/ 2147483647 w 33"/>
              <a:gd name="T23" fmla="*/ 2147483647 h 31"/>
              <a:gd name="T24" fmla="*/ 2147483647 w 33"/>
              <a:gd name="T25" fmla="*/ 2147483647 h 31"/>
              <a:gd name="T26" fmla="*/ 2147483647 w 33"/>
              <a:gd name="T27" fmla="*/ 2147483647 h 31"/>
              <a:gd name="T28" fmla="*/ 2147483647 w 33"/>
              <a:gd name="T29" fmla="*/ 2147483647 h 31"/>
              <a:gd name="T30" fmla="*/ 2147483647 w 33"/>
              <a:gd name="T31" fmla="*/ 2147483647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5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404100" y="4319389"/>
            <a:ext cx="3175" cy="9525"/>
          </a:xfrm>
          <a:custGeom>
            <a:avLst/>
            <a:gdLst>
              <a:gd name="T0" fmla="*/ 0 w 13"/>
              <a:gd name="T1" fmla="*/ 2147483647 h 19"/>
              <a:gd name="T2" fmla="*/ 2147483647 w 13"/>
              <a:gd name="T3" fmla="*/ 2147483647 h 19"/>
              <a:gd name="T4" fmla="*/ 2147483647 w 13"/>
              <a:gd name="T5" fmla="*/ 2147483647 h 19"/>
              <a:gd name="T6" fmla="*/ 2147483647 w 13"/>
              <a:gd name="T7" fmla="*/ 2147483647 h 19"/>
              <a:gd name="T8" fmla="*/ 2147483647 w 13"/>
              <a:gd name="T9" fmla="*/ 2147483647 h 19"/>
              <a:gd name="T10" fmla="*/ 2147483647 w 13"/>
              <a:gd name="T11" fmla="*/ 2147483647 h 19"/>
              <a:gd name="T12" fmla="*/ 2147483647 w 13"/>
              <a:gd name="T13" fmla="*/ 0 h 19"/>
              <a:gd name="T14" fmla="*/ 0 w 13"/>
              <a:gd name="T15" fmla="*/ 2147483647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6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243763" y="4322564"/>
            <a:ext cx="36512" cy="22225"/>
          </a:xfrm>
          <a:custGeom>
            <a:avLst/>
            <a:gdLst>
              <a:gd name="T0" fmla="*/ 2147483647 w 87"/>
              <a:gd name="T1" fmla="*/ 2147483647 h 42"/>
              <a:gd name="T2" fmla="*/ 2147483647 w 87"/>
              <a:gd name="T3" fmla="*/ 2147483647 h 42"/>
              <a:gd name="T4" fmla="*/ 2147483647 w 87"/>
              <a:gd name="T5" fmla="*/ 2147483647 h 42"/>
              <a:gd name="T6" fmla="*/ 2147483647 w 87"/>
              <a:gd name="T7" fmla="*/ 2147483647 h 42"/>
              <a:gd name="T8" fmla="*/ 2147483647 w 87"/>
              <a:gd name="T9" fmla="*/ 2147483647 h 42"/>
              <a:gd name="T10" fmla="*/ 2147483647 w 87"/>
              <a:gd name="T11" fmla="*/ 2147483647 h 42"/>
              <a:gd name="T12" fmla="*/ 2147483647 w 87"/>
              <a:gd name="T13" fmla="*/ 2147483647 h 42"/>
              <a:gd name="T14" fmla="*/ 2147483647 w 87"/>
              <a:gd name="T15" fmla="*/ 2147483647 h 42"/>
              <a:gd name="T16" fmla="*/ 2147483647 w 87"/>
              <a:gd name="T17" fmla="*/ 2147483647 h 42"/>
              <a:gd name="T18" fmla="*/ 2147483647 w 87"/>
              <a:gd name="T19" fmla="*/ 2147483647 h 42"/>
              <a:gd name="T20" fmla="*/ 2147483647 w 87"/>
              <a:gd name="T21" fmla="*/ 2147483647 h 42"/>
              <a:gd name="T22" fmla="*/ 2147483647 w 87"/>
              <a:gd name="T23" fmla="*/ 2147483647 h 42"/>
              <a:gd name="T24" fmla="*/ 2147483647 w 87"/>
              <a:gd name="T25" fmla="*/ 0 h 42"/>
              <a:gd name="T26" fmla="*/ 2147483647 w 87"/>
              <a:gd name="T27" fmla="*/ 0 h 42"/>
              <a:gd name="T28" fmla="*/ 2147483647 w 87"/>
              <a:gd name="T29" fmla="*/ 0 h 42"/>
              <a:gd name="T30" fmla="*/ 2147483647 w 87"/>
              <a:gd name="T31" fmla="*/ 0 h 42"/>
              <a:gd name="T32" fmla="*/ 2147483647 w 87"/>
              <a:gd name="T33" fmla="*/ 2147483647 h 42"/>
              <a:gd name="T34" fmla="*/ 2147483647 w 87"/>
              <a:gd name="T35" fmla="*/ 2147483647 h 42"/>
              <a:gd name="T36" fmla="*/ 2147483647 w 87"/>
              <a:gd name="T37" fmla="*/ 2147483647 h 42"/>
              <a:gd name="T38" fmla="*/ 2147483647 w 87"/>
              <a:gd name="T39" fmla="*/ 2147483647 h 42"/>
              <a:gd name="T40" fmla="*/ 0 w 87"/>
              <a:gd name="T41" fmla="*/ 2147483647 h 42"/>
              <a:gd name="T42" fmla="*/ 2147483647 w 87"/>
              <a:gd name="T43" fmla="*/ 2147483647 h 42"/>
              <a:gd name="T44" fmla="*/ 2147483647 w 87"/>
              <a:gd name="T45" fmla="*/ 2147483647 h 42"/>
              <a:gd name="T46" fmla="*/ 2147483647 w 87"/>
              <a:gd name="T47" fmla="*/ 2147483647 h 42"/>
              <a:gd name="T48" fmla="*/ 2147483647 w 87"/>
              <a:gd name="T49" fmla="*/ 2147483647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7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488238" y="4786114"/>
            <a:ext cx="1587" cy="14288"/>
          </a:xfrm>
          <a:custGeom>
            <a:avLst/>
            <a:gdLst>
              <a:gd name="T0" fmla="*/ 0 w 7"/>
              <a:gd name="T1" fmla="*/ 0 h 31"/>
              <a:gd name="T2" fmla="*/ 2147483647 w 7"/>
              <a:gd name="T3" fmla="*/ 0 h 31"/>
              <a:gd name="T4" fmla="*/ 2147483647 w 7"/>
              <a:gd name="T5" fmla="*/ 2147483647 h 31"/>
              <a:gd name="T6" fmla="*/ 0 w 7"/>
              <a:gd name="T7" fmla="*/ 2147483647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8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724650" y="4292402"/>
            <a:ext cx="1019175" cy="908050"/>
          </a:xfrm>
          <a:custGeom>
            <a:avLst/>
            <a:gdLst>
              <a:gd name="T0" fmla="*/ 40874512 w 2332"/>
              <a:gd name="T1" fmla="*/ 194556139 h 1731"/>
              <a:gd name="T2" fmla="*/ 62076149 w 2332"/>
              <a:gd name="T3" fmla="*/ 178595232 h 1731"/>
              <a:gd name="T4" fmla="*/ 83086363 w 2332"/>
              <a:gd name="T5" fmla="*/ 166762255 h 1731"/>
              <a:gd name="T6" fmla="*/ 115557051 w 2332"/>
              <a:gd name="T7" fmla="*/ 156855539 h 1731"/>
              <a:gd name="T8" fmla="*/ 129308921 w 2332"/>
              <a:gd name="T9" fmla="*/ 120256036 h 1731"/>
              <a:gd name="T10" fmla="*/ 144780539 w 2332"/>
              <a:gd name="T11" fmla="*/ 120806322 h 1731"/>
              <a:gd name="T12" fmla="*/ 149746614 w 2332"/>
              <a:gd name="T13" fmla="*/ 99892320 h 1731"/>
              <a:gd name="T14" fmla="*/ 165408781 w 2332"/>
              <a:gd name="T15" fmla="*/ 86958771 h 1731"/>
              <a:gd name="T16" fmla="*/ 179352074 w 2332"/>
              <a:gd name="T17" fmla="*/ 67695626 h 1731"/>
              <a:gd name="T18" fmla="*/ 196160158 w 2332"/>
              <a:gd name="T19" fmla="*/ 61366554 h 1731"/>
              <a:gd name="T20" fmla="*/ 205901320 w 2332"/>
              <a:gd name="T21" fmla="*/ 78152627 h 1731"/>
              <a:gd name="T22" fmla="*/ 216788400 w 2332"/>
              <a:gd name="T23" fmla="*/ 74300103 h 1731"/>
              <a:gd name="T24" fmla="*/ 224619702 w 2332"/>
              <a:gd name="T25" fmla="*/ 47331910 h 1731"/>
              <a:gd name="T26" fmla="*/ 252124316 w 2332"/>
              <a:gd name="T27" fmla="*/ 32196694 h 1731"/>
              <a:gd name="T28" fmla="*/ 255180092 w 2332"/>
              <a:gd name="T29" fmla="*/ 11282692 h 1731"/>
              <a:gd name="T30" fmla="*/ 273516502 w 2332"/>
              <a:gd name="T31" fmla="*/ 29444741 h 1731"/>
              <a:gd name="T32" fmla="*/ 294908688 w 2332"/>
              <a:gd name="T33" fmla="*/ 32196694 h 1731"/>
              <a:gd name="T34" fmla="*/ 279819478 w 2332"/>
              <a:gd name="T35" fmla="*/ 72098436 h 1731"/>
              <a:gd name="T36" fmla="*/ 288223739 w 2332"/>
              <a:gd name="T37" fmla="*/ 91636986 h 1731"/>
              <a:gd name="T38" fmla="*/ 302167032 w 2332"/>
              <a:gd name="T39" fmla="*/ 97415772 h 1731"/>
              <a:gd name="T40" fmla="*/ 318593144 w 2332"/>
              <a:gd name="T41" fmla="*/ 116403512 h 1731"/>
              <a:gd name="T42" fmla="*/ 336929553 w 2332"/>
              <a:gd name="T43" fmla="*/ 113651559 h 1731"/>
              <a:gd name="T44" fmla="*/ 349535506 w 2332"/>
              <a:gd name="T45" fmla="*/ 56412934 h 1731"/>
              <a:gd name="T46" fmla="*/ 363669785 w 2332"/>
              <a:gd name="T47" fmla="*/ 2751953 h 1731"/>
              <a:gd name="T48" fmla="*/ 369208818 w 2332"/>
              <a:gd name="T49" fmla="*/ 22014573 h 1731"/>
              <a:gd name="T50" fmla="*/ 371310102 w 2332"/>
              <a:gd name="T51" fmla="*/ 48432481 h 1731"/>
              <a:gd name="T52" fmla="*/ 379331953 w 2332"/>
              <a:gd name="T53" fmla="*/ 66044244 h 1731"/>
              <a:gd name="T54" fmla="*/ 389646511 w 2332"/>
              <a:gd name="T55" fmla="*/ 118054369 h 1731"/>
              <a:gd name="T56" fmla="*/ 399005701 w 2332"/>
              <a:gd name="T57" fmla="*/ 148600205 h 1731"/>
              <a:gd name="T58" fmla="*/ 413139543 w 2332"/>
              <a:gd name="T59" fmla="*/ 188777352 h 1731"/>
              <a:gd name="T60" fmla="*/ 423836073 w 2332"/>
              <a:gd name="T61" fmla="*/ 211617616 h 1731"/>
              <a:gd name="T62" fmla="*/ 445419246 w 2332"/>
              <a:gd name="T63" fmla="*/ 245465167 h 1731"/>
              <a:gd name="T64" fmla="*/ 434723153 w 2332"/>
              <a:gd name="T65" fmla="*/ 304079768 h 1731"/>
              <a:gd name="T66" fmla="*/ 398623292 w 2332"/>
              <a:gd name="T67" fmla="*/ 374802752 h 1731"/>
              <a:gd name="T68" fmla="*/ 382961125 w 2332"/>
              <a:gd name="T69" fmla="*/ 394065373 h 1731"/>
              <a:gd name="T70" fmla="*/ 351063832 w 2332"/>
              <a:gd name="T71" fmla="*/ 437820163 h 1731"/>
              <a:gd name="T72" fmla="*/ 334064325 w 2332"/>
              <a:gd name="T73" fmla="*/ 461210713 h 1731"/>
              <a:gd name="T74" fmla="*/ 303503934 w 2332"/>
              <a:gd name="T75" fmla="*/ 474969952 h 1731"/>
              <a:gd name="T76" fmla="*/ 289751627 w 2332"/>
              <a:gd name="T77" fmla="*/ 465888928 h 1731"/>
              <a:gd name="T78" fmla="*/ 269314372 w 2332"/>
              <a:gd name="T79" fmla="*/ 475795643 h 1731"/>
              <a:gd name="T80" fmla="*/ 247731199 w 2332"/>
              <a:gd name="T81" fmla="*/ 465888928 h 1731"/>
              <a:gd name="T82" fmla="*/ 244293013 w 2332"/>
              <a:gd name="T83" fmla="*/ 444149235 h 1731"/>
              <a:gd name="T84" fmla="*/ 241236800 w 2332"/>
              <a:gd name="T85" fmla="*/ 417181042 h 1731"/>
              <a:gd name="T86" fmla="*/ 233978892 w 2332"/>
              <a:gd name="T87" fmla="*/ 412778232 h 1731"/>
              <a:gd name="T88" fmla="*/ 244483999 w 2332"/>
              <a:gd name="T89" fmla="*/ 380306133 h 1731"/>
              <a:gd name="T90" fmla="*/ 207811181 w 2332"/>
              <a:gd name="T91" fmla="*/ 374802752 h 1731"/>
              <a:gd name="T92" fmla="*/ 183554204 w 2332"/>
              <a:gd name="T93" fmla="*/ 352787654 h 1731"/>
              <a:gd name="T94" fmla="*/ 144016158 w 2332"/>
              <a:gd name="T95" fmla="*/ 364070346 h 1731"/>
              <a:gd name="T96" fmla="*/ 96838670 w 2332"/>
              <a:gd name="T97" fmla="*/ 390488254 h 1731"/>
              <a:gd name="T98" fmla="*/ 40874512 w 2332"/>
              <a:gd name="T99" fmla="*/ 405348064 h 1731"/>
              <a:gd name="T100" fmla="*/ 10505107 w 2332"/>
              <a:gd name="T101" fmla="*/ 410026279 h 1731"/>
              <a:gd name="T102" fmla="*/ 381972 w 2332"/>
              <a:gd name="T103" fmla="*/ 391588825 h 1731"/>
              <a:gd name="T104" fmla="*/ 18527395 w 2332"/>
              <a:gd name="T105" fmla="*/ 369849132 h 1731"/>
              <a:gd name="T106" fmla="*/ 14325265 w 2332"/>
              <a:gd name="T107" fmla="*/ 341504963 h 1731"/>
              <a:gd name="T108" fmla="*/ 21583172 w 2332"/>
              <a:gd name="T109" fmla="*/ 321966937 h 1731"/>
              <a:gd name="T110" fmla="*/ 11078065 w 2332"/>
              <a:gd name="T111" fmla="*/ 259499812 h 1731"/>
              <a:gd name="T112" fmla="*/ 21583172 w 2332"/>
              <a:gd name="T113" fmla="*/ 265278598 h 1731"/>
              <a:gd name="T114" fmla="*/ 20246270 w 2332"/>
              <a:gd name="T115" fmla="*/ 237209833 h 1731"/>
              <a:gd name="T116" fmla="*/ 28077572 w 2332"/>
              <a:gd name="T117" fmla="*/ 210517045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chemeClr val="tx2">
              <a:lumMod val="50000"/>
            </a:schemeClr>
          </a:solidFill>
          <a:ln>
            <a:solidFill>
              <a:schemeClr val="accent5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69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211263" y="2958902"/>
            <a:ext cx="668337" cy="581025"/>
          </a:xfrm>
          <a:custGeom>
            <a:avLst/>
            <a:gdLst>
              <a:gd name="T0" fmla="*/ 235638210 w 1535"/>
              <a:gd name="T1" fmla="*/ 253903210 h 1109"/>
              <a:gd name="T2" fmla="*/ 246254101 w 1535"/>
              <a:gd name="T3" fmla="*/ 269548971 h 1109"/>
              <a:gd name="T4" fmla="*/ 231277692 w 1535"/>
              <a:gd name="T5" fmla="*/ 274215508 h 1109"/>
              <a:gd name="T6" fmla="*/ 223126158 w 1535"/>
              <a:gd name="T7" fmla="*/ 300566485 h 1109"/>
              <a:gd name="T8" fmla="*/ 201894376 w 1535"/>
              <a:gd name="T9" fmla="*/ 276136716 h 1109"/>
              <a:gd name="T10" fmla="*/ 188434461 w 1535"/>
              <a:gd name="T11" fmla="*/ 277783914 h 1109"/>
              <a:gd name="T12" fmla="*/ 173079255 w 1535"/>
              <a:gd name="T13" fmla="*/ 285195257 h 1109"/>
              <a:gd name="T14" fmla="*/ 149003448 w 1535"/>
              <a:gd name="T15" fmla="*/ 266529632 h 1109"/>
              <a:gd name="T16" fmla="*/ 122842518 w 1535"/>
              <a:gd name="T17" fmla="*/ 251707470 h 1109"/>
              <a:gd name="T18" fmla="*/ 111468162 w 1535"/>
              <a:gd name="T19" fmla="*/ 242374919 h 1109"/>
              <a:gd name="T20" fmla="*/ 101800134 w 1535"/>
              <a:gd name="T21" fmla="*/ 229198907 h 1109"/>
              <a:gd name="T22" fmla="*/ 91942272 w 1535"/>
              <a:gd name="T23" fmla="*/ 226728634 h 1109"/>
              <a:gd name="T24" fmla="*/ 83222107 w 1535"/>
              <a:gd name="T25" fmla="*/ 207789000 h 1109"/>
              <a:gd name="T26" fmla="*/ 88530052 w 1535"/>
              <a:gd name="T27" fmla="*/ 193515380 h 1109"/>
              <a:gd name="T28" fmla="*/ 85307231 w 1535"/>
              <a:gd name="T29" fmla="*/ 164968663 h 1109"/>
              <a:gd name="T30" fmla="*/ 66729204 w 1535"/>
              <a:gd name="T31" fmla="*/ 128461536 h 1109"/>
              <a:gd name="T32" fmla="*/ 57629807 w 1535"/>
              <a:gd name="T33" fmla="*/ 116932722 h 1109"/>
              <a:gd name="T34" fmla="*/ 55544683 w 1535"/>
              <a:gd name="T35" fmla="*/ 101286960 h 1109"/>
              <a:gd name="T36" fmla="*/ 41137340 w 1535"/>
              <a:gd name="T37" fmla="*/ 68073706 h 1109"/>
              <a:gd name="T38" fmla="*/ 31658710 w 1535"/>
              <a:gd name="T39" fmla="*/ 20312299 h 1109"/>
              <a:gd name="T40" fmla="*/ 15923837 w 1535"/>
              <a:gd name="T41" fmla="*/ 28546717 h 1109"/>
              <a:gd name="T42" fmla="*/ 21421616 w 1535"/>
              <a:gd name="T43" fmla="*/ 60936896 h 1109"/>
              <a:gd name="T44" fmla="*/ 28435889 w 1535"/>
              <a:gd name="T45" fmla="*/ 89483613 h 1109"/>
              <a:gd name="T46" fmla="*/ 37156054 w 1535"/>
              <a:gd name="T47" fmla="*/ 110344978 h 1109"/>
              <a:gd name="T48" fmla="*/ 37914519 w 1535"/>
              <a:gd name="T49" fmla="*/ 127637937 h 1109"/>
              <a:gd name="T50" fmla="*/ 40378875 w 1535"/>
              <a:gd name="T51" fmla="*/ 143832765 h 1109"/>
              <a:gd name="T52" fmla="*/ 49099040 w 1535"/>
              <a:gd name="T53" fmla="*/ 156733720 h 1109"/>
              <a:gd name="T54" fmla="*/ 40568274 w 1535"/>
              <a:gd name="T55" fmla="*/ 163595998 h 1109"/>
              <a:gd name="T56" fmla="*/ 36587423 w 1535"/>
              <a:gd name="T57" fmla="*/ 148773835 h 1109"/>
              <a:gd name="T58" fmla="*/ 22748711 w 1535"/>
              <a:gd name="T59" fmla="*/ 130108210 h 1109"/>
              <a:gd name="T60" fmla="*/ 27677424 w 1535"/>
              <a:gd name="T61" fmla="*/ 115286048 h 1109"/>
              <a:gd name="T62" fmla="*/ 16871700 w 1535"/>
              <a:gd name="T63" fmla="*/ 100463361 h 1109"/>
              <a:gd name="T64" fmla="*/ 5118547 w 1535"/>
              <a:gd name="T65" fmla="*/ 84268534 h 1109"/>
              <a:gd name="T66" fmla="*/ 12322219 w 1535"/>
              <a:gd name="T67" fmla="*/ 79327464 h 1109"/>
              <a:gd name="T68" fmla="*/ 12132820 w 1535"/>
              <a:gd name="T69" fmla="*/ 61760495 h 1109"/>
              <a:gd name="T70" fmla="*/ 1137261 w 1535"/>
              <a:gd name="T71" fmla="*/ 32115122 h 1109"/>
              <a:gd name="T72" fmla="*/ 7203671 w 1535"/>
              <a:gd name="T73" fmla="*/ 1372665 h 1109"/>
              <a:gd name="T74" fmla="*/ 39999643 w 1535"/>
              <a:gd name="T75" fmla="*/ 4941070 h 1109"/>
              <a:gd name="T76" fmla="*/ 68435532 w 1535"/>
              <a:gd name="T77" fmla="*/ 20861365 h 1109"/>
              <a:gd name="T78" fmla="*/ 94407064 w 1535"/>
              <a:gd name="T79" fmla="*/ 15096696 h 1109"/>
              <a:gd name="T80" fmla="*/ 112416025 w 1535"/>
              <a:gd name="T81" fmla="*/ 14822686 h 1109"/>
              <a:gd name="T82" fmla="*/ 119998929 w 1535"/>
              <a:gd name="T83" fmla="*/ 30193915 h 1109"/>
              <a:gd name="T84" fmla="*/ 132700379 w 1535"/>
              <a:gd name="T85" fmla="*/ 59015165 h 1109"/>
              <a:gd name="T86" fmla="*/ 142179009 w 1535"/>
              <a:gd name="T87" fmla="*/ 52701954 h 1109"/>
              <a:gd name="T88" fmla="*/ 155828323 w 1535"/>
              <a:gd name="T89" fmla="*/ 48310474 h 1109"/>
              <a:gd name="T90" fmla="*/ 166633612 w 1535"/>
              <a:gd name="T91" fmla="*/ 66975574 h 1109"/>
              <a:gd name="T92" fmla="*/ 171562761 w 1535"/>
              <a:gd name="T93" fmla="*/ 99365229 h 1109"/>
              <a:gd name="T94" fmla="*/ 182747283 w 1535"/>
              <a:gd name="T95" fmla="*/ 111168577 h 1109"/>
              <a:gd name="T96" fmla="*/ 185212075 w 1535"/>
              <a:gd name="T97" fmla="*/ 125167664 h 1109"/>
              <a:gd name="T98" fmla="*/ 176491474 w 1535"/>
              <a:gd name="T99" fmla="*/ 135049281 h 1109"/>
              <a:gd name="T100" fmla="*/ 173837719 w 1535"/>
              <a:gd name="T101" fmla="*/ 174026680 h 1109"/>
              <a:gd name="T102" fmla="*/ 181230789 w 1535"/>
              <a:gd name="T103" fmla="*/ 217121550 h 1109"/>
              <a:gd name="T104" fmla="*/ 199808816 w 1535"/>
              <a:gd name="T105" fmla="*/ 240727721 h 1109"/>
              <a:gd name="T106" fmla="*/ 221041034 w 1535"/>
              <a:gd name="T107" fmla="*/ 233041845 h 1109"/>
              <a:gd name="T108" fmla="*/ 236775472 w 1535"/>
              <a:gd name="T109" fmla="*/ 233316378 h 1109"/>
              <a:gd name="T110" fmla="*/ 245685471 w 1535"/>
              <a:gd name="T111" fmla="*/ 203671529 h 1109"/>
              <a:gd name="T112" fmla="*/ 253268374 w 1535"/>
              <a:gd name="T113" fmla="*/ 190221508 h 1109"/>
              <a:gd name="T114" fmla="*/ 285495280 w 1535"/>
              <a:gd name="T115" fmla="*/ 186104036 h 1109"/>
              <a:gd name="T116" fmla="*/ 284926649 w 1535"/>
              <a:gd name="T117" fmla="*/ 200103124 h 1109"/>
              <a:gd name="T118" fmla="*/ 278291608 w 1535"/>
              <a:gd name="T119" fmla="*/ 225356493 h 1109"/>
              <a:gd name="T120" fmla="*/ 259524183 w 1535"/>
              <a:gd name="T121" fmla="*/ 243747060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0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86025" y="4598789"/>
            <a:ext cx="211138" cy="265113"/>
          </a:xfrm>
          <a:custGeom>
            <a:avLst/>
            <a:gdLst>
              <a:gd name="T0" fmla="*/ 2642266 w 486"/>
              <a:gd name="T1" fmla="*/ 48505704 h 505"/>
              <a:gd name="T2" fmla="*/ 5851042 w 486"/>
              <a:gd name="T3" fmla="*/ 54568655 h 505"/>
              <a:gd name="T4" fmla="*/ 9625460 w 486"/>
              <a:gd name="T5" fmla="*/ 63938956 h 505"/>
              <a:gd name="T6" fmla="*/ 15476502 w 486"/>
              <a:gd name="T7" fmla="*/ 73309782 h 505"/>
              <a:gd name="T8" fmla="*/ 23780829 w 486"/>
              <a:gd name="T9" fmla="*/ 80750795 h 505"/>
              <a:gd name="T10" fmla="*/ 32085591 w 486"/>
              <a:gd name="T11" fmla="*/ 85436208 h 505"/>
              <a:gd name="T12" fmla="*/ 46429507 w 486"/>
              <a:gd name="T13" fmla="*/ 90396708 h 505"/>
              <a:gd name="T14" fmla="*/ 55677873 w 486"/>
              <a:gd name="T15" fmla="*/ 94806509 h 505"/>
              <a:gd name="T16" fmla="*/ 56432930 w 486"/>
              <a:gd name="T17" fmla="*/ 105003647 h 505"/>
              <a:gd name="T18" fmla="*/ 52280549 w 486"/>
              <a:gd name="T19" fmla="*/ 115200786 h 505"/>
              <a:gd name="T20" fmla="*/ 50393340 w 486"/>
              <a:gd name="T21" fmla="*/ 122090574 h 505"/>
              <a:gd name="T22" fmla="*/ 50204359 w 486"/>
              <a:gd name="T23" fmla="*/ 127602824 h 505"/>
              <a:gd name="T24" fmla="*/ 52469096 w 486"/>
              <a:gd name="T25" fmla="*/ 132839462 h 505"/>
              <a:gd name="T26" fmla="*/ 56432930 w 486"/>
              <a:gd name="T27" fmla="*/ 136146288 h 505"/>
              <a:gd name="T28" fmla="*/ 64925804 w 486"/>
              <a:gd name="T29" fmla="*/ 138902413 h 505"/>
              <a:gd name="T30" fmla="*/ 73041584 w 486"/>
              <a:gd name="T31" fmla="*/ 138902413 h 505"/>
              <a:gd name="T32" fmla="*/ 78326550 w 486"/>
              <a:gd name="T33" fmla="*/ 136146288 h 505"/>
              <a:gd name="T34" fmla="*/ 84177158 w 486"/>
              <a:gd name="T35" fmla="*/ 130634562 h 505"/>
              <a:gd name="T36" fmla="*/ 89273143 w 486"/>
              <a:gd name="T37" fmla="*/ 123193024 h 505"/>
              <a:gd name="T38" fmla="*/ 91538315 w 486"/>
              <a:gd name="T39" fmla="*/ 115200786 h 505"/>
              <a:gd name="T40" fmla="*/ 91349334 w 486"/>
              <a:gd name="T41" fmla="*/ 109413448 h 505"/>
              <a:gd name="T42" fmla="*/ 90216748 w 486"/>
              <a:gd name="T43" fmla="*/ 98664559 h 505"/>
              <a:gd name="T44" fmla="*/ 88895615 w 486"/>
              <a:gd name="T45" fmla="*/ 87089358 h 505"/>
              <a:gd name="T46" fmla="*/ 87763463 w 486"/>
              <a:gd name="T47" fmla="*/ 74412232 h 505"/>
              <a:gd name="T48" fmla="*/ 86064801 w 486"/>
              <a:gd name="T49" fmla="*/ 69451206 h 505"/>
              <a:gd name="T50" fmla="*/ 82856025 w 486"/>
              <a:gd name="T51" fmla="*/ 65868244 h 505"/>
              <a:gd name="T52" fmla="*/ 77949022 w 486"/>
              <a:gd name="T53" fmla="*/ 63938956 h 505"/>
              <a:gd name="T54" fmla="*/ 73985623 w 486"/>
              <a:gd name="T55" fmla="*/ 61183356 h 505"/>
              <a:gd name="T56" fmla="*/ 69833242 w 486"/>
              <a:gd name="T57" fmla="*/ 57049168 h 505"/>
              <a:gd name="T58" fmla="*/ 62283538 w 486"/>
              <a:gd name="T59" fmla="*/ 51813055 h 505"/>
              <a:gd name="T60" fmla="*/ 54734268 w 486"/>
              <a:gd name="T61" fmla="*/ 47403254 h 505"/>
              <a:gd name="T62" fmla="*/ 51525492 w 486"/>
              <a:gd name="T63" fmla="*/ 44095904 h 505"/>
              <a:gd name="T64" fmla="*/ 49826830 w 486"/>
              <a:gd name="T65" fmla="*/ 41615391 h 505"/>
              <a:gd name="T66" fmla="*/ 49260754 w 486"/>
              <a:gd name="T67" fmla="*/ 34449991 h 505"/>
              <a:gd name="T68" fmla="*/ 49260754 w 486"/>
              <a:gd name="T69" fmla="*/ 24804077 h 505"/>
              <a:gd name="T70" fmla="*/ 48128169 w 486"/>
              <a:gd name="T71" fmla="*/ 19567439 h 505"/>
              <a:gd name="T72" fmla="*/ 45485902 w 486"/>
              <a:gd name="T73" fmla="*/ 15158164 h 505"/>
              <a:gd name="T74" fmla="*/ 44164769 w 486"/>
              <a:gd name="T75" fmla="*/ 10197138 h 505"/>
              <a:gd name="T76" fmla="*/ 37559104 w 486"/>
              <a:gd name="T77" fmla="*/ 3307350 h 505"/>
              <a:gd name="T78" fmla="*/ 35105385 w 486"/>
              <a:gd name="T79" fmla="*/ 2204900 h 505"/>
              <a:gd name="T80" fmla="*/ 32651666 w 486"/>
              <a:gd name="T81" fmla="*/ 551225 h 505"/>
              <a:gd name="T82" fmla="*/ 26234548 w 486"/>
              <a:gd name="T83" fmla="*/ 275613 h 505"/>
              <a:gd name="T84" fmla="*/ 13211765 w 486"/>
              <a:gd name="T85" fmla="*/ 3031738 h 505"/>
              <a:gd name="T86" fmla="*/ 7926798 w 486"/>
              <a:gd name="T87" fmla="*/ 5787863 h 505"/>
              <a:gd name="T88" fmla="*/ 4529909 w 486"/>
              <a:gd name="T89" fmla="*/ 10197138 h 505"/>
              <a:gd name="T90" fmla="*/ 3774852 w 486"/>
              <a:gd name="T91" fmla="*/ 17638152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1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655888" y="3803452"/>
            <a:ext cx="73025" cy="109537"/>
          </a:xfrm>
          <a:custGeom>
            <a:avLst/>
            <a:gdLst>
              <a:gd name="T0" fmla="*/ 2147483647 w 166"/>
              <a:gd name="T1" fmla="*/ 2147483647 h 208"/>
              <a:gd name="T2" fmla="*/ 2147483647 w 166"/>
              <a:gd name="T3" fmla="*/ 2147483647 h 208"/>
              <a:gd name="T4" fmla="*/ 2147483647 w 166"/>
              <a:gd name="T5" fmla="*/ 2147483647 h 208"/>
              <a:gd name="T6" fmla="*/ 2147483647 w 166"/>
              <a:gd name="T7" fmla="*/ 2147483647 h 208"/>
              <a:gd name="T8" fmla="*/ 2147483647 w 166"/>
              <a:gd name="T9" fmla="*/ 2147483647 h 208"/>
              <a:gd name="T10" fmla="*/ 2147483647 w 166"/>
              <a:gd name="T11" fmla="*/ 2147483647 h 208"/>
              <a:gd name="T12" fmla="*/ 2147483647 w 166"/>
              <a:gd name="T13" fmla="*/ 2147483647 h 208"/>
              <a:gd name="T14" fmla="*/ 2147483647 w 166"/>
              <a:gd name="T15" fmla="*/ 2147483647 h 208"/>
              <a:gd name="T16" fmla="*/ 2147483647 w 166"/>
              <a:gd name="T17" fmla="*/ 2147483647 h 208"/>
              <a:gd name="T18" fmla="*/ 2147483647 w 166"/>
              <a:gd name="T19" fmla="*/ 2147483647 h 208"/>
              <a:gd name="T20" fmla="*/ 2147483647 w 166"/>
              <a:gd name="T21" fmla="*/ 2147483647 h 208"/>
              <a:gd name="T22" fmla="*/ 2147483647 w 166"/>
              <a:gd name="T23" fmla="*/ 2147483647 h 208"/>
              <a:gd name="T24" fmla="*/ 2147483647 w 166"/>
              <a:gd name="T25" fmla="*/ 2147483647 h 208"/>
              <a:gd name="T26" fmla="*/ 2147483647 w 166"/>
              <a:gd name="T27" fmla="*/ 2147483647 h 208"/>
              <a:gd name="T28" fmla="*/ 2147483647 w 166"/>
              <a:gd name="T29" fmla="*/ 2147483647 h 208"/>
              <a:gd name="T30" fmla="*/ 2147483647 w 166"/>
              <a:gd name="T31" fmla="*/ 2147483647 h 208"/>
              <a:gd name="T32" fmla="*/ 2147483647 w 166"/>
              <a:gd name="T33" fmla="*/ 2147483647 h 208"/>
              <a:gd name="T34" fmla="*/ 2147483647 w 166"/>
              <a:gd name="T35" fmla="*/ 2147483647 h 208"/>
              <a:gd name="T36" fmla="*/ 2147483647 w 166"/>
              <a:gd name="T37" fmla="*/ 2147483647 h 208"/>
              <a:gd name="T38" fmla="*/ 2147483647 w 166"/>
              <a:gd name="T39" fmla="*/ 2147483647 h 208"/>
              <a:gd name="T40" fmla="*/ 2147483647 w 166"/>
              <a:gd name="T41" fmla="*/ 2147483647 h 208"/>
              <a:gd name="T42" fmla="*/ 2147483647 w 166"/>
              <a:gd name="T43" fmla="*/ 2147483647 h 208"/>
              <a:gd name="T44" fmla="*/ 2147483647 w 166"/>
              <a:gd name="T45" fmla="*/ 2147483647 h 208"/>
              <a:gd name="T46" fmla="*/ 2147483647 w 166"/>
              <a:gd name="T47" fmla="*/ 2147483647 h 208"/>
              <a:gd name="T48" fmla="*/ 2147483647 w 166"/>
              <a:gd name="T49" fmla="*/ 2147483647 h 208"/>
              <a:gd name="T50" fmla="*/ 2147483647 w 166"/>
              <a:gd name="T51" fmla="*/ 2147483647 h 208"/>
              <a:gd name="T52" fmla="*/ 2147483647 w 166"/>
              <a:gd name="T53" fmla="*/ 2147483647 h 208"/>
              <a:gd name="T54" fmla="*/ 2147483647 w 166"/>
              <a:gd name="T55" fmla="*/ 0 h 208"/>
              <a:gd name="T56" fmla="*/ 2147483647 w 166"/>
              <a:gd name="T57" fmla="*/ 2147483647 h 208"/>
              <a:gd name="T58" fmla="*/ 2147483647 w 166"/>
              <a:gd name="T59" fmla="*/ 2147483647 h 208"/>
              <a:gd name="T60" fmla="*/ 2147483647 w 166"/>
              <a:gd name="T61" fmla="*/ 2147483647 h 208"/>
              <a:gd name="T62" fmla="*/ 2147483647 w 166"/>
              <a:gd name="T63" fmla="*/ 2147483647 h 208"/>
              <a:gd name="T64" fmla="*/ 2147483647 w 166"/>
              <a:gd name="T65" fmla="*/ 2147483647 h 208"/>
              <a:gd name="T66" fmla="*/ 2147483647 w 166"/>
              <a:gd name="T67" fmla="*/ 2147483647 h 208"/>
              <a:gd name="T68" fmla="*/ 2147483647 w 166"/>
              <a:gd name="T69" fmla="*/ 2147483647 h 208"/>
              <a:gd name="T70" fmla="*/ 0 w 166"/>
              <a:gd name="T71" fmla="*/ 2147483647 h 208"/>
              <a:gd name="T72" fmla="*/ 0 w 166"/>
              <a:gd name="T73" fmla="*/ 2147483647 h 208"/>
              <a:gd name="T74" fmla="*/ 2147483647 w 166"/>
              <a:gd name="T75" fmla="*/ 2147483647 h 208"/>
              <a:gd name="T76" fmla="*/ 2147483647 w 166"/>
              <a:gd name="T77" fmla="*/ 2147483647 h 208"/>
              <a:gd name="T78" fmla="*/ 2147483647 w 166"/>
              <a:gd name="T79" fmla="*/ 2147483647 h 208"/>
              <a:gd name="T80" fmla="*/ 2147483647 w 166"/>
              <a:gd name="T81" fmla="*/ 2147483647 h 208"/>
              <a:gd name="T82" fmla="*/ 2147483647 w 166"/>
              <a:gd name="T83" fmla="*/ 2147483647 h 208"/>
              <a:gd name="T84" fmla="*/ 2147483647 w 166"/>
              <a:gd name="T85" fmla="*/ 2147483647 h 208"/>
              <a:gd name="T86" fmla="*/ 2147483647 w 166"/>
              <a:gd name="T87" fmla="*/ 2147483647 h 208"/>
              <a:gd name="T88" fmla="*/ 2147483647 w 166"/>
              <a:gd name="T89" fmla="*/ 2147483647 h 208"/>
              <a:gd name="T90" fmla="*/ 2147483647 w 166"/>
              <a:gd name="T91" fmla="*/ 2147483647 h 208"/>
              <a:gd name="T92" fmla="*/ 2147483647 w 166"/>
              <a:gd name="T93" fmla="*/ 2147483647 h 208"/>
              <a:gd name="T94" fmla="*/ 2147483647 w 166"/>
              <a:gd name="T95" fmla="*/ 2147483647 h 208"/>
              <a:gd name="T96" fmla="*/ 2147483647 w 166"/>
              <a:gd name="T97" fmla="*/ 2147483647 h 208"/>
              <a:gd name="T98" fmla="*/ 2147483647 w 166"/>
              <a:gd name="T99" fmla="*/ 2147483647 h 208"/>
              <a:gd name="T100" fmla="*/ 2147483647 w 166"/>
              <a:gd name="T101" fmla="*/ 2147483647 h 208"/>
              <a:gd name="T102" fmla="*/ 2147483647 w 166"/>
              <a:gd name="T103" fmla="*/ 2147483647 h 208"/>
              <a:gd name="T104" fmla="*/ 2147483647 w 166"/>
              <a:gd name="T105" fmla="*/ 2147483647 h 208"/>
              <a:gd name="T106" fmla="*/ 2147483647 w 166"/>
              <a:gd name="T107" fmla="*/ 2147483647 h 208"/>
              <a:gd name="T108" fmla="*/ 2147483647 w 166"/>
              <a:gd name="T109" fmla="*/ 2147483647 h 208"/>
              <a:gd name="T110" fmla="*/ 2147483647 w 166"/>
              <a:gd name="T111" fmla="*/ 2147483647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2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170113" y="3362127"/>
            <a:ext cx="69850" cy="58737"/>
          </a:xfrm>
          <a:custGeom>
            <a:avLst/>
            <a:gdLst>
              <a:gd name="T0" fmla="*/ 2147483647 w 164"/>
              <a:gd name="T1" fmla="*/ 2147483647 h 104"/>
              <a:gd name="T2" fmla="*/ 2147483647 w 164"/>
              <a:gd name="T3" fmla="*/ 2147483647 h 104"/>
              <a:gd name="T4" fmla="*/ 2147483647 w 164"/>
              <a:gd name="T5" fmla="*/ 2147483647 h 104"/>
              <a:gd name="T6" fmla="*/ 2147483647 w 164"/>
              <a:gd name="T7" fmla="*/ 2147483647 h 104"/>
              <a:gd name="T8" fmla="*/ 2147483647 w 164"/>
              <a:gd name="T9" fmla="*/ 2147483647 h 104"/>
              <a:gd name="T10" fmla="*/ 2147483647 w 164"/>
              <a:gd name="T11" fmla="*/ 2147483647 h 104"/>
              <a:gd name="T12" fmla="*/ 2147483647 w 164"/>
              <a:gd name="T13" fmla="*/ 2147483647 h 104"/>
              <a:gd name="T14" fmla="*/ 2147483647 w 164"/>
              <a:gd name="T15" fmla="*/ 2147483647 h 104"/>
              <a:gd name="T16" fmla="*/ 2147483647 w 164"/>
              <a:gd name="T17" fmla="*/ 2147483647 h 104"/>
              <a:gd name="T18" fmla="*/ 2147483647 w 164"/>
              <a:gd name="T19" fmla="*/ 2147483647 h 104"/>
              <a:gd name="T20" fmla="*/ 2147483647 w 164"/>
              <a:gd name="T21" fmla="*/ 2147483647 h 104"/>
              <a:gd name="T22" fmla="*/ 2147483647 w 164"/>
              <a:gd name="T23" fmla="*/ 2147483647 h 104"/>
              <a:gd name="T24" fmla="*/ 2147483647 w 164"/>
              <a:gd name="T25" fmla="*/ 2147483647 h 104"/>
              <a:gd name="T26" fmla="*/ 2147483647 w 164"/>
              <a:gd name="T27" fmla="*/ 2147483647 h 104"/>
              <a:gd name="T28" fmla="*/ 2147483647 w 164"/>
              <a:gd name="T29" fmla="*/ 2147483647 h 104"/>
              <a:gd name="T30" fmla="*/ 2147483647 w 164"/>
              <a:gd name="T31" fmla="*/ 2147483647 h 104"/>
              <a:gd name="T32" fmla="*/ 2147483647 w 164"/>
              <a:gd name="T33" fmla="*/ 2147483647 h 104"/>
              <a:gd name="T34" fmla="*/ 0 w 164"/>
              <a:gd name="T35" fmla="*/ 2147483647 h 104"/>
              <a:gd name="T36" fmla="*/ 0 w 164"/>
              <a:gd name="T37" fmla="*/ 2147483647 h 104"/>
              <a:gd name="T38" fmla="*/ 0 w 164"/>
              <a:gd name="T39" fmla="*/ 2147483647 h 104"/>
              <a:gd name="T40" fmla="*/ 2147483647 w 164"/>
              <a:gd name="T41" fmla="*/ 2147483647 h 104"/>
              <a:gd name="T42" fmla="*/ 2147483647 w 164"/>
              <a:gd name="T43" fmla="*/ 2147483647 h 104"/>
              <a:gd name="T44" fmla="*/ 2147483647 w 164"/>
              <a:gd name="T45" fmla="*/ 2147483647 h 104"/>
              <a:gd name="T46" fmla="*/ 2147483647 w 164"/>
              <a:gd name="T47" fmla="*/ 2147483647 h 104"/>
              <a:gd name="T48" fmla="*/ 2147483647 w 164"/>
              <a:gd name="T49" fmla="*/ 2147483647 h 104"/>
              <a:gd name="T50" fmla="*/ 2147483647 w 164"/>
              <a:gd name="T51" fmla="*/ 2147483647 h 104"/>
              <a:gd name="T52" fmla="*/ 2147483647 w 164"/>
              <a:gd name="T53" fmla="*/ 2147483647 h 104"/>
              <a:gd name="T54" fmla="*/ 2147483647 w 164"/>
              <a:gd name="T55" fmla="*/ 2147483647 h 104"/>
              <a:gd name="T56" fmla="*/ 2147483647 w 164"/>
              <a:gd name="T57" fmla="*/ 2147483647 h 104"/>
              <a:gd name="T58" fmla="*/ 2147483647 w 164"/>
              <a:gd name="T59" fmla="*/ 2147483647 h 104"/>
              <a:gd name="T60" fmla="*/ 2147483647 w 164"/>
              <a:gd name="T61" fmla="*/ 2147483647 h 104"/>
              <a:gd name="T62" fmla="*/ 2147483647 w 164"/>
              <a:gd name="T63" fmla="*/ 2147483647 h 104"/>
              <a:gd name="T64" fmla="*/ 2147483647 w 164"/>
              <a:gd name="T65" fmla="*/ 2147483647 h 104"/>
              <a:gd name="T66" fmla="*/ 2147483647 w 164"/>
              <a:gd name="T67" fmla="*/ 2147483647 h 104"/>
              <a:gd name="T68" fmla="*/ 2147483647 w 164"/>
              <a:gd name="T69" fmla="*/ 2147483647 h 104"/>
              <a:gd name="T70" fmla="*/ 2147483647 w 164"/>
              <a:gd name="T71" fmla="*/ 2147483647 h 104"/>
              <a:gd name="T72" fmla="*/ 2147483647 w 164"/>
              <a:gd name="T73" fmla="*/ 2147483647 h 104"/>
              <a:gd name="T74" fmla="*/ 2147483647 w 164"/>
              <a:gd name="T75" fmla="*/ 2147483647 h 104"/>
              <a:gd name="T76" fmla="*/ 2147483647 w 164"/>
              <a:gd name="T77" fmla="*/ 2147483647 h 104"/>
              <a:gd name="T78" fmla="*/ 2147483647 w 164"/>
              <a:gd name="T79" fmla="*/ 2147483647 h 104"/>
              <a:gd name="T80" fmla="*/ 2147483647 w 164"/>
              <a:gd name="T81" fmla="*/ 0 h 104"/>
              <a:gd name="T82" fmla="*/ 2147483647 w 164"/>
              <a:gd name="T83" fmla="*/ 0 h 104"/>
              <a:gd name="T84" fmla="*/ 2147483647 w 164"/>
              <a:gd name="T85" fmla="*/ 2147483647 h 104"/>
              <a:gd name="T86" fmla="*/ 2147483647 w 164"/>
              <a:gd name="T87" fmla="*/ 2147483647 h 104"/>
              <a:gd name="T88" fmla="*/ 2147483647 w 164"/>
              <a:gd name="T89" fmla="*/ 2147483647 h 104"/>
              <a:gd name="T90" fmla="*/ 2147483647 w 164"/>
              <a:gd name="T91" fmla="*/ 2147483647 h 104"/>
              <a:gd name="T92" fmla="*/ 2147483647 w 164"/>
              <a:gd name="T93" fmla="*/ 2147483647 h 104"/>
              <a:gd name="T94" fmla="*/ 2147483647 w 164"/>
              <a:gd name="T95" fmla="*/ 2147483647 h 104"/>
              <a:gd name="T96" fmla="*/ 2147483647 w 164"/>
              <a:gd name="T97" fmla="*/ 2147483647 h 104"/>
              <a:gd name="T98" fmla="*/ 2147483647 w 164"/>
              <a:gd name="T99" fmla="*/ 2147483647 h 104"/>
              <a:gd name="T100" fmla="*/ 2147483647 w 164"/>
              <a:gd name="T101" fmla="*/ 2147483647 h 104"/>
              <a:gd name="T102" fmla="*/ 2147483647 w 164"/>
              <a:gd name="T103" fmla="*/ 2147483647 h 104"/>
              <a:gd name="T104" fmla="*/ 2147483647 w 164"/>
              <a:gd name="T105" fmla="*/ 2147483647 h 104"/>
              <a:gd name="T106" fmla="*/ 2147483647 w 164"/>
              <a:gd name="T107" fmla="*/ 2147483647 h 104"/>
              <a:gd name="T108" fmla="*/ 2147483647 w 164"/>
              <a:gd name="T109" fmla="*/ 214748364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3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36825" y="5716389"/>
            <a:ext cx="23813" cy="57150"/>
          </a:xfrm>
          <a:custGeom>
            <a:avLst/>
            <a:gdLst>
              <a:gd name="T0" fmla="*/ 0 w 53"/>
              <a:gd name="T1" fmla="*/ 2147483647 h 19"/>
              <a:gd name="T2" fmla="*/ 2147483647 w 53"/>
              <a:gd name="T3" fmla="*/ 2147483647 h 19"/>
              <a:gd name="T4" fmla="*/ 2147483647 w 53"/>
              <a:gd name="T5" fmla="*/ 2147483647 h 19"/>
              <a:gd name="T6" fmla="*/ 2147483647 w 53"/>
              <a:gd name="T7" fmla="*/ 2147483647 h 19"/>
              <a:gd name="T8" fmla="*/ 2147483647 w 53"/>
              <a:gd name="T9" fmla="*/ 2147483647 h 19"/>
              <a:gd name="T10" fmla="*/ 2147483647 w 53"/>
              <a:gd name="T11" fmla="*/ 2147483647 h 19"/>
              <a:gd name="T12" fmla="*/ 2147483647 w 53"/>
              <a:gd name="T13" fmla="*/ 2147483647 h 19"/>
              <a:gd name="T14" fmla="*/ 2147483647 w 53"/>
              <a:gd name="T15" fmla="*/ 2147483647 h 19"/>
              <a:gd name="T16" fmla="*/ 2147483647 w 53"/>
              <a:gd name="T17" fmla="*/ 2147483647 h 19"/>
              <a:gd name="T18" fmla="*/ 2147483647 w 53"/>
              <a:gd name="T19" fmla="*/ 2147483647 h 19"/>
              <a:gd name="T20" fmla="*/ 2147483647 w 53"/>
              <a:gd name="T21" fmla="*/ 2147483647 h 19"/>
              <a:gd name="T22" fmla="*/ 2147483647 w 53"/>
              <a:gd name="T23" fmla="*/ 2147483647 h 19"/>
              <a:gd name="T24" fmla="*/ 2147483647 w 53"/>
              <a:gd name="T25" fmla="*/ 0 h 19"/>
              <a:gd name="T26" fmla="*/ 2147483647 w 53"/>
              <a:gd name="T27" fmla="*/ 0 h 19"/>
              <a:gd name="T28" fmla="*/ 2147483647 w 53"/>
              <a:gd name="T29" fmla="*/ 2147483647 h 19"/>
              <a:gd name="T30" fmla="*/ 2147483647 w 53"/>
              <a:gd name="T31" fmla="*/ 2147483647 h 19"/>
              <a:gd name="T32" fmla="*/ 0 w 53"/>
              <a:gd name="T33" fmla="*/ 2147483647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4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01900" y="5695752"/>
            <a:ext cx="34925" cy="58737"/>
          </a:xfrm>
          <a:custGeom>
            <a:avLst/>
            <a:gdLst>
              <a:gd name="T0" fmla="*/ 0 w 80"/>
              <a:gd name="T1" fmla="*/ 0 h 18"/>
              <a:gd name="T2" fmla="*/ 2147483647 w 80"/>
              <a:gd name="T3" fmla="*/ 2147483647 h 18"/>
              <a:gd name="T4" fmla="*/ 2147483647 w 80"/>
              <a:gd name="T5" fmla="*/ 2147483647 h 18"/>
              <a:gd name="T6" fmla="*/ 2147483647 w 80"/>
              <a:gd name="T7" fmla="*/ 2147483647 h 18"/>
              <a:gd name="T8" fmla="*/ 2147483647 w 80"/>
              <a:gd name="T9" fmla="*/ 2147483647 h 18"/>
              <a:gd name="T10" fmla="*/ 2147483647 w 80"/>
              <a:gd name="T11" fmla="*/ 2147483647 h 18"/>
              <a:gd name="T12" fmla="*/ 2147483647 w 80"/>
              <a:gd name="T13" fmla="*/ 2147483647 h 18"/>
              <a:gd name="T14" fmla="*/ 2147483647 w 80"/>
              <a:gd name="T15" fmla="*/ 2147483647 h 18"/>
              <a:gd name="T16" fmla="*/ 2147483647 w 80"/>
              <a:gd name="T17" fmla="*/ 2147483647 h 18"/>
              <a:gd name="T18" fmla="*/ 2147483647 w 80"/>
              <a:gd name="T19" fmla="*/ 2147483647 h 18"/>
              <a:gd name="T20" fmla="*/ 2147483647 w 80"/>
              <a:gd name="T21" fmla="*/ 2147483647 h 18"/>
              <a:gd name="T22" fmla="*/ 2147483647 w 80"/>
              <a:gd name="T23" fmla="*/ 2147483647 h 18"/>
              <a:gd name="T24" fmla="*/ 2147483647 w 80"/>
              <a:gd name="T25" fmla="*/ 2147483647 h 18"/>
              <a:gd name="T26" fmla="*/ 2147483647 w 80"/>
              <a:gd name="T27" fmla="*/ 2147483647 h 18"/>
              <a:gd name="T28" fmla="*/ 2147483647 w 80"/>
              <a:gd name="T29" fmla="*/ 2147483647 h 18"/>
              <a:gd name="T30" fmla="*/ 2147483647 w 80"/>
              <a:gd name="T31" fmla="*/ 2147483647 h 18"/>
              <a:gd name="T32" fmla="*/ 2147483647 w 80"/>
              <a:gd name="T33" fmla="*/ 2147483647 h 18"/>
              <a:gd name="T34" fmla="*/ 2147483647 w 80"/>
              <a:gd name="T35" fmla="*/ 2147483647 h 18"/>
              <a:gd name="T36" fmla="*/ 2147483647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5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01900" y="5675114"/>
            <a:ext cx="22225" cy="60325"/>
          </a:xfrm>
          <a:custGeom>
            <a:avLst/>
            <a:gdLst>
              <a:gd name="T0" fmla="*/ 2147483647 w 46"/>
              <a:gd name="T1" fmla="*/ 0 h 27"/>
              <a:gd name="T2" fmla="*/ 0 w 46"/>
              <a:gd name="T3" fmla="*/ 2147483647 h 27"/>
              <a:gd name="T4" fmla="*/ 2147483647 w 46"/>
              <a:gd name="T5" fmla="*/ 2147483647 h 27"/>
              <a:gd name="T6" fmla="*/ 2147483647 w 46"/>
              <a:gd name="T7" fmla="*/ 2147483647 h 27"/>
              <a:gd name="T8" fmla="*/ 2147483647 w 46"/>
              <a:gd name="T9" fmla="*/ 2147483647 h 27"/>
              <a:gd name="T10" fmla="*/ 2147483647 w 46"/>
              <a:gd name="T11" fmla="*/ 2147483647 h 27"/>
              <a:gd name="T12" fmla="*/ 2147483647 w 46"/>
              <a:gd name="T13" fmla="*/ 2147483647 h 27"/>
              <a:gd name="T14" fmla="*/ 2147483647 w 46"/>
              <a:gd name="T15" fmla="*/ 2147483647 h 27"/>
              <a:gd name="T16" fmla="*/ 2147483647 w 46"/>
              <a:gd name="T17" fmla="*/ 2147483647 h 27"/>
              <a:gd name="T18" fmla="*/ 2147483647 w 46"/>
              <a:gd name="T19" fmla="*/ 2147483647 h 27"/>
              <a:gd name="T20" fmla="*/ 2147483647 w 46"/>
              <a:gd name="T21" fmla="*/ 2147483647 h 27"/>
              <a:gd name="T22" fmla="*/ 2147483647 w 46"/>
              <a:gd name="T23" fmla="*/ 2147483647 h 27"/>
              <a:gd name="T24" fmla="*/ 2147483647 w 46"/>
              <a:gd name="T25" fmla="*/ 2147483647 h 27"/>
              <a:gd name="T26" fmla="*/ 2147483647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6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471738" y="5668764"/>
            <a:ext cx="25400" cy="60325"/>
          </a:xfrm>
          <a:custGeom>
            <a:avLst/>
            <a:gdLst>
              <a:gd name="T0" fmla="*/ 2147483647 w 54"/>
              <a:gd name="T1" fmla="*/ 0 h 39"/>
              <a:gd name="T2" fmla="*/ 2147483647 w 54"/>
              <a:gd name="T3" fmla="*/ 2147483647 h 39"/>
              <a:gd name="T4" fmla="*/ 2147483647 w 54"/>
              <a:gd name="T5" fmla="*/ 2147483647 h 39"/>
              <a:gd name="T6" fmla="*/ 2147483647 w 54"/>
              <a:gd name="T7" fmla="*/ 2147483647 h 39"/>
              <a:gd name="T8" fmla="*/ 2147483647 w 54"/>
              <a:gd name="T9" fmla="*/ 2147483647 h 39"/>
              <a:gd name="T10" fmla="*/ 2147483647 w 54"/>
              <a:gd name="T11" fmla="*/ 2147483647 h 39"/>
              <a:gd name="T12" fmla="*/ 0 w 54"/>
              <a:gd name="T13" fmla="*/ 2147483647 h 39"/>
              <a:gd name="T14" fmla="*/ 2147483647 w 54"/>
              <a:gd name="T15" fmla="*/ 2147483647 h 39"/>
              <a:gd name="T16" fmla="*/ 2147483647 w 54"/>
              <a:gd name="T17" fmla="*/ 2147483647 h 39"/>
              <a:gd name="T18" fmla="*/ 2147483647 w 54"/>
              <a:gd name="T19" fmla="*/ 2147483647 h 39"/>
              <a:gd name="T20" fmla="*/ 2147483647 w 54"/>
              <a:gd name="T21" fmla="*/ 2147483647 h 39"/>
              <a:gd name="T22" fmla="*/ 2147483647 w 54"/>
              <a:gd name="T23" fmla="*/ 2147483647 h 39"/>
              <a:gd name="T24" fmla="*/ 2147483647 w 54"/>
              <a:gd name="T25" fmla="*/ 2147483647 h 39"/>
              <a:gd name="T26" fmla="*/ 2147483647 w 54"/>
              <a:gd name="T27" fmla="*/ 2147483647 h 39"/>
              <a:gd name="T28" fmla="*/ 2147483647 w 54"/>
              <a:gd name="T29" fmla="*/ 2147483647 h 39"/>
              <a:gd name="T30" fmla="*/ 2147483647 w 54"/>
              <a:gd name="T31" fmla="*/ 2147483647 h 39"/>
              <a:gd name="T32" fmla="*/ 2147483647 w 54"/>
              <a:gd name="T33" fmla="*/ 2147483647 h 39"/>
              <a:gd name="T34" fmla="*/ 2147483647 w 54"/>
              <a:gd name="T35" fmla="*/ 2147483647 h 39"/>
              <a:gd name="T36" fmla="*/ 2147483647 w 54"/>
              <a:gd name="T37" fmla="*/ 2147483647 h 39"/>
              <a:gd name="T38" fmla="*/ 2147483647 w 54"/>
              <a:gd name="T39" fmla="*/ 2147483647 h 39"/>
              <a:gd name="T40" fmla="*/ 2147483647 w 54"/>
              <a:gd name="T41" fmla="*/ 2147483647 h 39"/>
              <a:gd name="T42" fmla="*/ 2147483647 w 54"/>
              <a:gd name="T43" fmla="*/ 2147483647 h 39"/>
              <a:gd name="T44" fmla="*/ 2147483647 w 54"/>
              <a:gd name="T45" fmla="*/ 2147483647 h 39"/>
              <a:gd name="T46" fmla="*/ 2147483647 w 54"/>
              <a:gd name="T47" fmla="*/ 2147483647 h 39"/>
              <a:gd name="T48" fmla="*/ 2147483647 w 54"/>
              <a:gd name="T49" fmla="*/ 2147483647 h 39"/>
              <a:gd name="T50" fmla="*/ 2147483647 w 54"/>
              <a:gd name="T51" fmla="*/ 2147483647 h 39"/>
              <a:gd name="T52" fmla="*/ 2147483647 w 54"/>
              <a:gd name="T53" fmla="*/ 2147483647 h 39"/>
              <a:gd name="T54" fmla="*/ 2147483647 w 54"/>
              <a:gd name="T55" fmla="*/ 2147483647 h 39"/>
              <a:gd name="T56" fmla="*/ 2147483647 w 54"/>
              <a:gd name="T57" fmla="*/ 2147483647 h 39"/>
              <a:gd name="T58" fmla="*/ 2147483647 w 54"/>
              <a:gd name="T59" fmla="*/ 2147483647 h 39"/>
              <a:gd name="T60" fmla="*/ 2147483647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7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446338" y="5659239"/>
            <a:ext cx="28575" cy="58738"/>
          </a:xfrm>
          <a:custGeom>
            <a:avLst/>
            <a:gdLst>
              <a:gd name="T0" fmla="*/ 0 w 60"/>
              <a:gd name="T1" fmla="*/ 2147483647 h 15"/>
              <a:gd name="T2" fmla="*/ 2147483647 w 60"/>
              <a:gd name="T3" fmla="*/ 2147483647 h 15"/>
              <a:gd name="T4" fmla="*/ 2147483647 w 60"/>
              <a:gd name="T5" fmla="*/ 2147483647 h 15"/>
              <a:gd name="T6" fmla="*/ 2147483647 w 60"/>
              <a:gd name="T7" fmla="*/ 2147483647 h 15"/>
              <a:gd name="T8" fmla="*/ 2147483647 w 60"/>
              <a:gd name="T9" fmla="*/ 2147483647 h 15"/>
              <a:gd name="T10" fmla="*/ 2147483647 w 60"/>
              <a:gd name="T11" fmla="*/ 2147483647 h 15"/>
              <a:gd name="T12" fmla="*/ 2147483647 w 60"/>
              <a:gd name="T13" fmla="*/ 2147483647 h 15"/>
              <a:gd name="T14" fmla="*/ 2147483647 w 60"/>
              <a:gd name="T15" fmla="*/ 2147483647 h 15"/>
              <a:gd name="T16" fmla="*/ 2147483647 w 60"/>
              <a:gd name="T17" fmla="*/ 2147483647 h 15"/>
              <a:gd name="T18" fmla="*/ 2147483647 w 60"/>
              <a:gd name="T19" fmla="*/ 2147483647 h 15"/>
              <a:gd name="T20" fmla="*/ 2147483647 w 60"/>
              <a:gd name="T21" fmla="*/ 0 h 15"/>
              <a:gd name="T22" fmla="*/ 2147483647 w 60"/>
              <a:gd name="T23" fmla="*/ 0 h 15"/>
              <a:gd name="T24" fmla="*/ 2147483647 w 60"/>
              <a:gd name="T25" fmla="*/ 0 h 15"/>
              <a:gd name="T26" fmla="*/ 2147483647 w 60"/>
              <a:gd name="T27" fmla="*/ 0 h 15"/>
              <a:gd name="T28" fmla="*/ 2147483647 w 60"/>
              <a:gd name="T29" fmla="*/ 2147483647 h 15"/>
              <a:gd name="T30" fmla="*/ 2147483647 w 60"/>
              <a:gd name="T31" fmla="*/ 2147483647 h 15"/>
              <a:gd name="T32" fmla="*/ 2147483647 w 60"/>
              <a:gd name="T33" fmla="*/ 2147483647 h 15"/>
              <a:gd name="T34" fmla="*/ 2147483647 w 60"/>
              <a:gd name="T35" fmla="*/ 2147483647 h 15"/>
              <a:gd name="T36" fmla="*/ 0 w 60"/>
              <a:gd name="T37" fmla="*/ 2147483647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8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22525" y="5646539"/>
            <a:ext cx="33338" cy="57150"/>
          </a:xfrm>
          <a:custGeom>
            <a:avLst/>
            <a:gdLst>
              <a:gd name="T0" fmla="*/ 2147483647 w 79"/>
              <a:gd name="T1" fmla="*/ 0 h 32"/>
              <a:gd name="T2" fmla="*/ 2147483647 w 79"/>
              <a:gd name="T3" fmla="*/ 2147483647 h 32"/>
              <a:gd name="T4" fmla="*/ 2147483647 w 79"/>
              <a:gd name="T5" fmla="*/ 2147483647 h 32"/>
              <a:gd name="T6" fmla="*/ 2147483647 w 79"/>
              <a:gd name="T7" fmla="*/ 2147483647 h 32"/>
              <a:gd name="T8" fmla="*/ 2147483647 w 79"/>
              <a:gd name="T9" fmla="*/ 2147483647 h 32"/>
              <a:gd name="T10" fmla="*/ 2147483647 w 79"/>
              <a:gd name="T11" fmla="*/ 2147483647 h 32"/>
              <a:gd name="T12" fmla="*/ 2147483647 w 79"/>
              <a:gd name="T13" fmla="*/ 2147483647 h 32"/>
              <a:gd name="T14" fmla="*/ 2147483647 w 79"/>
              <a:gd name="T15" fmla="*/ 2147483647 h 32"/>
              <a:gd name="T16" fmla="*/ 0 w 79"/>
              <a:gd name="T17" fmla="*/ 2147483647 h 32"/>
              <a:gd name="T18" fmla="*/ 2147483647 w 79"/>
              <a:gd name="T19" fmla="*/ 2147483647 h 32"/>
              <a:gd name="T20" fmla="*/ 2147483647 w 79"/>
              <a:gd name="T21" fmla="*/ 2147483647 h 32"/>
              <a:gd name="T22" fmla="*/ 2147483647 w 79"/>
              <a:gd name="T23" fmla="*/ 2147483647 h 32"/>
              <a:gd name="T24" fmla="*/ 2147483647 w 79"/>
              <a:gd name="T25" fmla="*/ 2147483647 h 32"/>
              <a:gd name="T26" fmla="*/ 2147483647 w 79"/>
              <a:gd name="T27" fmla="*/ 2147483647 h 32"/>
              <a:gd name="T28" fmla="*/ 2147483647 w 79"/>
              <a:gd name="T29" fmla="*/ 2147483647 h 32"/>
              <a:gd name="T30" fmla="*/ 2147483647 w 79"/>
              <a:gd name="T31" fmla="*/ 2147483647 h 32"/>
              <a:gd name="T32" fmla="*/ 2147483647 w 79"/>
              <a:gd name="T33" fmla="*/ 2147483647 h 32"/>
              <a:gd name="T34" fmla="*/ 2147483647 w 79"/>
              <a:gd name="T35" fmla="*/ 2147483647 h 32"/>
              <a:gd name="T36" fmla="*/ 2147483647 w 79"/>
              <a:gd name="T37" fmla="*/ 2147483647 h 32"/>
              <a:gd name="T38" fmla="*/ 2147483647 w 79"/>
              <a:gd name="T39" fmla="*/ 2147483647 h 32"/>
              <a:gd name="T40" fmla="*/ 2147483647 w 79"/>
              <a:gd name="T41" fmla="*/ 2147483647 h 32"/>
              <a:gd name="T42" fmla="*/ 2147483647 w 79"/>
              <a:gd name="T43" fmla="*/ 2147483647 h 32"/>
              <a:gd name="T44" fmla="*/ 2147483647 w 79"/>
              <a:gd name="T45" fmla="*/ 2147483647 h 32"/>
              <a:gd name="T46" fmla="*/ 2147483647 w 79"/>
              <a:gd name="T47" fmla="*/ 2147483647 h 32"/>
              <a:gd name="T48" fmla="*/ 2147483647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79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416175" y="5627489"/>
            <a:ext cx="30163" cy="57150"/>
          </a:xfrm>
          <a:custGeom>
            <a:avLst/>
            <a:gdLst>
              <a:gd name="T0" fmla="*/ 2147483647 w 66"/>
              <a:gd name="T1" fmla="*/ 0 h 19"/>
              <a:gd name="T2" fmla="*/ 2147483647 w 66"/>
              <a:gd name="T3" fmla="*/ 2147483647 h 19"/>
              <a:gd name="T4" fmla="*/ 2147483647 w 66"/>
              <a:gd name="T5" fmla="*/ 2147483647 h 19"/>
              <a:gd name="T6" fmla="*/ 2147483647 w 66"/>
              <a:gd name="T7" fmla="*/ 2147483647 h 19"/>
              <a:gd name="T8" fmla="*/ 2147483647 w 66"/>
              <a:gd name="T9" fmla="*/ 2147483647 h 19"/>
              <a:gd name="T10" fmla="*/ 2147483647 w 66"/>
              <a:gd name="T11" fmla="*/ 2147483647 h 19"/>
              <a:gd name="T12" fmla="*/ 2147483647 w 66"/>
              <a:gd name="T13" fmla="*/ 2147483647 h 19"/>
              <a:gd name="T14" fmla="*/ 0 w 66"/>
              <a:gd name="T15" fmla="*/ 2147483647 h 19"/>
              <a:gd name="T16" fmla="*/ 0 w 66"/>
              <a:gd name="T17" fmla="*/ 2147483647 h 19"/>
              <a:gd name="T18" fmla="*/ 2147483647 w 66"/>
              <a:gd name="T19" fmla="*/ 2147483647 h 19"/>
              <a:gd name="T20" fmla="*/ 2147483647 w 66"/>
              <a:gd name="T21" fmla="*/ 2147483647 h 19"/>
              <a:gd name="T22" fmla="*/ 2147483647 w 66"/>
              <a:gd name="T23" fmla="*/ 2147483647 h 19"/>
              <a:gd name="T24" fmla="*/ 2147483647 w 66"/>
              <a:gd name="T25" fmla="*/ 2147483647 h 19"/>
              <a:gd name="T26" fmla="*/ 2147483647 w 66"/>
              <a:gd name="T27" fmla="*/ 2147483647 h 19"/>
              <a:gd name="T28" fmla="*/ 2147483647 w 66"/>
              <a:gd name="T29" fmla="*/ 2147483647 h 19"/>
              <a:gd name="T30" fmla="*/ 2147483647 w 66"/>
              <a:gd name="T31" fmla="*/ 2147483647 h 19"/>
              <a:gd name="T32" fmla="*/ 2147483647 w 66"/>
              <a:gd name="T33" fmla="*/ 2147483647 h 19"/>
              <a:gd name="T34" fmla="*/ 2147483647 w 66"/>
              <a:gd name="T35" fmla="*/ 2147483647 h 19"/>
              <a:gd name="T36" fmla="*/ 2147483647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80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316163" y="5317927"/>
            <a:ext cx="25400" cy="60325"/>
          </a:xfrm>
          <a:custGeom>
            <a:avLst/>
            <a:gdLst>
              <a:gd name="T0" fmla="*/ 2147483647 w 53"/>
              <a:gd name="T1" fmla="*/ 0 h 80"/>
              <a:gd name="T2" fmla="*/ 2147483647 w 53"/>
              <a:gd name="T3" fmla="*/ 2147483647 h 80"/>
              <a:gd name="T4" fmla="*/ 2147483647 w 53"/>
              <a:gd name="T5" fmla="*/ 2147483647 h 80"/>
              <a:gd name="T6" fmla="*/ 2147483647 w 53"/>
              <a:gd name="T7" fmla="*/ 2147483647 h 80"/>
              <a:gd name="T8" fmla="*/ 2147483647 w 53"/>
              <a:gd name="T9" fmla="*/ 2147483647 h 80"/>
              <a:gd name="T10" fmla="*/ 0 w 53"/>
              <a:gd name="T11" fmla="*/ 2147483647 h 80"/>
              <a:gd name="T12" fmla="*/ 0 w 53"/>
              <a:gd name="T13" fmla="*/ 2147483647 h 80"/>
              <a:gd name="T14" fmla="*/ 0 w 53"/>
              <a:gd name="T15" fmla="*/ 2147483647 h 80"/>
              <a:gd name="T16" fmla="*/ 2147483647 w 53"/>
              <a:gd name="T17" fmla="*/ 2147483647 h 80"/>
              <a:gd name="T18" fmla="*/ 2147483647 w 53"/>
              <a:gd name="T19" fmla="*/ 2147483647 h 80"/>
              <a:gd name="T20" fmla="*/ 2147483647 w 53"/>
              <a:gd name="T21" fmla="*/ 2147483647 h 80"/>
              <a:gd name="T22" fmla="*/ 2147483647 w 53"/>
              <a:gd name="T23" fmla="*/ 2147483647 h 80"/>
              <a:gd name="T24" fmla="*/ 2147483647 w 53"/>
              <a:gd name="T25" fmla="*/ 2147483647 h 80"/>
              <a:gd name="T26" fmla="*/ 2147483647 w 53"/>
              <a:gd name="T27" fmla="*/ 2147483647 h 80"/>
              <a:gd name="T28" fmla="*/ 2147483647 w 53"/>
              <a:gd name="T29" fmla="*/ 2147483647 h 80"/>
              <a:gd name="T30" fmla="*/ 2147483647 w 53"/>
              <a:gd name="T31" fmla="*/ 2147483647 h 80"/>
              <a:gd name="T32" fmla="*/ 2147483647 w 53"/>
              <a:gd name="T33" fmla="*/ 2147483647 h 80"/>
              <a:gd name="T34" fmla="*/ 2147483647 w 53"/>
              <a:gd name="T35" fmla="*/ 2147483647 h 80"/>
              <a:gd name="T36" fmla="*/ 2147483647 w 53"/>
              <a:gd name="T37" fmla="*/ 2147483647 h 80"/>
              <a:gd name="T38" fmla="*/ 2147483647 w 53"/>
              <a:gd name="T39" fmla="*/ 2147483647 h 80"/>
              <a:gd name="T40" fmla="*/ 2147483647 w 53"/>
              <a:gd name="T41" fmla="*/ 2147483647 h 80"/>
              <a:gd name="T42" fmla="*/ 2147483647 w 53"/>
              <a:gd name="T43" fmla="*/ 2147483647 h 80"/>
              <a:gd name="T44" fmla="*/ 2147483647 w 53"/>
              <a:gd name="T45" fmla="*/ 2147483647 h 80"/>
              <a:gd name="T46" fmla="*/ 2147483647 w 53"/>
              <a:gd name="T47" fmla="*/ 2147483647 h 80"/>
              <a:gd name="T48" fmla="*/ 2147483647 w 53"/>
              <a:gd name="T49" fmla="*/ 2147483647 h 80"/>
              <a:gd name="T50" fmla="*/ 2147483647 w 53"/>
              <a:gd name="T51" fmla="*/ 2147483647 h 80"/>
              <a:gd name="T52" fmla="*/ 2147483647 w 53"/>
              <a:gd name="T53" fmla="*/ 2147483647 h 80"/>
              <a:gd name="T54" fmla="*/ 2147483647 w 53"/>
              <a:gd name="T55" fmla="*/ 2147483647 h 80"/>
              <a:gd name="T56" fmla="*/ 2147483647 w 53"/>
              <a:gd name="T57" fmla="*/ 2147483647 h 80"/>
              <a:gd name="T58" fmla="*/ 2147483647 w 53"/>
              <a:gd name="T59" fmla="*/ 2147483647 h 80"/>
              <a:gd name="T60" fmla="*/ 2147483647 w 53"/>
              <a:gd name="T61" fmla="*/ 2147483647 h 80"/>
              <a:gd name="T62" fmla="*/ 2147483647 w 53"/>
              <a:gd name="T63" fmla="*/ 2147483647 h 80"/>
              <a:gd name="T64" fmla="*/ 2147483647 w 53"/>
              <a:gd name="T65" fmla="*/ 2147483647 h 80"/>
              <a:gd name="T66" fmla="*/ 2147483647 w 53"/>
              <a:gd name="T67" fmla="*/ 2147483647 h 80"/>
              <a:gd name="T68" fmla="*/ 2147483647 w 53"/>
              <a:gd name="T69" fmla="*/ 2147483647 h 80"/>
              <a:gd name="T70" fmla="*/ 2147483647 w 53"/>
              <a:gd name="T71" fmla="*/ 2147483647 h 80"/>
              <a:gd name="T72" fmla="*/ 2147483647 w 53"/>
              <a:gd name="T73" fmla="*/ 2147483647 h 80"/>
              <a:gd name="T74" fmla="*/ 2147483647 w 53"/>
              <a:gd name="T75" fmla="*/ 2147483647 h 80"/>
              <a:gd name="T76" fmla="*/ 2147483647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81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346325" y="5413177"/>
            <a:ext cx="17463" cy="53975"/>
          </a:xfrm>
          <a:custGeom>
            <a:avLst/>
            <a:gdLst>
              <a:gd name="T0" fmla="*/ 0 w 41"/>
              <a:gd name="T1" fmla="*/ 2147483647 h 43"/>
              <a:gd name="T2" fmla="*/ 2147483647 w 41"/>
              <a:gd name="T3" fmla="*/ 2147483647 h 43"/>
              <a:gd name="T4" fmla="*/ 2147483647 w 41"/>
              <a:gd name="T5" fmla="*/ 2147483647 h 43"/>
              <a:gd name="T6" fmla="*/ 2147483647 w 41"/>
              <a:gd name="T7" fmla="*/ 2147483647 h 43"/>
              <a:gd name="T8" fmla="*/ 2147483647 w 41"/>
              <a:gd name="T9" fmla="*/ 0 h 43"/>
              <a:gd name="T10" fmla="*/ 2147483647 w 41"/>
              <a:gd name="T11" fmla="*/ 2147483647 h 43"/>
              <a:gd name="T12" fmla="*/ 2147483647 w 41"/>
              <a:gd name="T13" fmla="*/ 2147483647 h 43"/>
              <a:gd name="T14" fmla="*/ 2147483647 w 41"/>
              <a:gd name="T15" fmla="*/ 2147483647 h 43"/>
              <a:gd name="T16" fmla="*/ 2147483647 w 41"/>
              <a:gd name="T17" fmla="*/ 2147483647 h 43"/>
              <a:gd name="T18" fmla="*/ 2147483647 w 41"/>
              <a:gd name="T19" fmla="*/ 2147483647 h 43"/>
              <a:gd name="T20" fmla="*/ 2147483647 w 41"/>
              <a:gd name="T21" fmla="*/ 2147483647 h 43"/>
              <a:gd name="T22" fmla="*/ 2147483647 w 41"/>
              <a:gd name="T23" fmla="*/ 2147483647 h 43"/>
              <a:gd name="T24" fmla="*/ 0 w 41"/>
              <a:gd name="T25" fmla="*/ 2147483647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82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351088" y="5435402"/>
            <a:ext cx="7937" cy="58737"/>
          </a:xfrm>
          <a:custGeom>
            <a:avLst/>
            <a:gdLst>
              <a:gd name="T0" fmla="*/ 2147483647 w 20"/>
              <a:gd name="T1" fmla="*/ 0 h 24"/>
              <a:gd name="T2" fmla="*/ 0 w 20"/>
              <a:gd name="T3" fmla="*/ 0 h 24"/>
              <a:gd name="T4" fmla="*/ 2147483647 w 20"/>
              <a:gd name="T5" fmla="*/ 2147483647 h 24"/>
              <a:gd name="T6" fmla="*/ 2147483647 w 20"/>
              <a:gd name="T7" fmla="*/ 2147483647 h 24"/>
              <a:gd name="T8" fmla="*/ 2147483647 w 20"/>
              <a:gd name="T9" fmla="*/ 2147483647 h 24"/>
              <a:gd name="T10" fmla="*/ 2147483647 w 20"/>
              <a:gd name="T11" fmla="*/ 2147483647 h 24"/>
              <a:gd name="T12" fmla="*/ 2147483647 w 20"/>
              <a:gd name="T13" fmla="*/ 2147483647 h 24"/>
              <a:gd name="T14" fmla="*/ 2147483647 w 20"/>
              <a:gd name="T15" fmla="*/ 2147483647 h 24"/>
              <a:gd name="T16" fmla="*/ 2147483647 w 20"/>
              <a:gd name="T17" fmla="*/ 2147483647 h 24"/>
              <a:gd name="T18" fmla="*/ 2147483647 w 20"/>
              <a:gd name="T19" fmla="*/ 2147483647 h 24"/>
              <a:gd name="T20" fmla="*/ 214748364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83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365375" y="5497314"/>
            <a:ext cx="17463" cy="60325"/>
          </a:xfrm>
          <a:custGeom>
            <a:avLst/>
            <a:gdLst>
              <a:gd name="T0" fmla="*/ 0 w 39"/>
              <a:gd name="T1" fmla="*/ 2147483647 h 43"/>
              <a:gd name="T2" fmla="*/ 2147483647 w 39"/>
              <a:gd name="T3" fmla="*/ 2147483647 h 43"/>
              <a:gd name="T4" fmla="*/ 2147483647 w 39"/>
              <a:gd name="T5" fmla="*/ 2147483647 h 43"/>
              <a:gd name="T6" fmla="*/ 2147483647 w 39"/>
              <a:gd name="T7" fmla="*/ 2147483647 h 43"/>
              <a:gd name="T8" fmla="*/ 2147483647 w 39"/>
              <a:gd name="T9" fmla="*/ 2147483647 h 43"/>
              <a:gd name="T10" fmla="*/ 2147483647 w 39"/>
              <a:gd name="T11" fmla="*/ 2147483647 h 43"/>
              <a:gd name="T12" fmla="*/ 2147483647 w 39"/>
              <a:gd name="T13" fmla="*/ 2147483647 h 43"/>
              <a:gd name="T14" fmla="*/ 2147483647 w 39"/>
              <a:gd name="T15" fmla="*/ 2147483647 h 43"/>
              <a:gd name="T16" fmla="*/ 2147483647 w 39"/>
              <a:gd name="T17" fmla="*/ 2147483647 h 43"/>
              <a:gd name="T18" fmla="*/ 2147483647 w 39"/>
              <a:gd name="T19" fmla="*/ 2147483647 h 43"/>
              <a:gd name="T20" fmla="*/ 2147483647 w 39"/>
              <a:gd name="T21" fmla="*/ 2147483647 h 43"/>
              <a:gd name="T22" fmla="*/ 2147483647 w 39"/>
              <a:gd name="T23" fmla="*/ 2147483647 h 43"/>
              <a:gd name="T24" fmla="*/ 2147483647 w 39"/>
              <a:gd name="T25" fmla="*/ 0 h 43"/>
              <a:gd name="T26" fmla="*/ 2147483647 w 39"/>
              <a:gd name="T27" fmla="*/ 2147483647 h 43"/>
              <a:gd name="T28" fmla="*/ 2147483647 w 39"/>
              <a:gd name="T29" fmla="*/ 2147483647 h 43"/>
              <a:gd name="T30" fmla="*/ 0 w 39"/>
              <a:gd name="T31" fmla="*/ 2147483647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84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352675" y="5510014"/>
            <a:ext cx="26988" cy="58738"/>
          </a:xfrm>
          <a:custGeom>
            <a:avLst/>
            <a:gdLst>
              <a:gd name="T0" fmla="*/ 2147483647 w 55"/>
              <a:gd name="T1" fmla="*/ 2147483647 h 62"/>
              <a:gd name="T2" fmla="*/ 2147483647 w 55"/>
              <a:gd name="T3" fmla="*/ 0 h 62"/>
              <a:gd name="T4" fmla="*/ 2147483647 w 55"/>
              <a:gd name="T5" fmla="*/ 2147483647 h 62"/>
              <a:gd name="T6" fmla="*/ 2147483647 w 55"/>
              <a:gd name="T7" fmla="*/ 2147483647 h 62"/>
              <a:gd name="T8" fmla="*/ 0 w 55"/>
              <a:gd name="T9" fmla="*/ 2147483647 h 62"/>
              <a:gd name="T10" fmla="*/ 0 w 55"/>
              <a:gd name="T11" fmla="*/ 2147483647 h 62"/>
              <a:gd name="T12" fmla="*/ 2147483647 w 55"/>
              <a:gd name="T13" fmla="*/ 2147483647 h 62"/>
              <a:gd name="T14" fmla="*/ 2147483647 w 55"/>
              <a:gd name="T15" fmla="*/ 2147483647 h 62"/>
              <a:gd name="T16" fmla="*/ 2147483647 w 55"/>
              <a:gd name="T17" fmla="*/ 2147483647 h 62"/>
              <a:gd name="T18" fmla="*/ 2147483647 w 55"/>
              <a:gd name="T19" fmla="*/ 2147483647 h 62"/>
              <a:gd name="T20" fmla="*/ 2147483647 w 55"/>
              <a:gd name="T21" fmla="*/ 2147483647 h 62"/>
              <a:gd name="T22" fmla="*/ 2147483647 w 55"/>
              <a:gd name="T23" fmla="*/ 2147483647 h 62"/>
              <a:gd name="T24" fmla="*/ 2147483647 w 55"/>
              <a:gd name="T25" fmla="*/ 2147483647 h 62"/>
              <a:gd name="T26" fmla="*/ 2147483647 w 55"/>
              <a:gd name="T27" fmla="*/ 2147483647 h 62"/>
              <a:gd name="T28" fmla="*/ 2147483647 w 55"/>
              <a:gd name="T29" fmla="*/ 2147483647 h 62"/>
              <a:gd name="T30" fmla="*/ 2147483647 w 55"/>
              <a:gd name="T31" fmla="*/ 2147483647 h 62"/>
              <a:gd name="T32" fmla="*/ 2147483647 w 55"/>
              <a:gd name="T33" fmla="*/ 2147483647 h 62"/>
              <a:gd name="T34" fmla="*/ 2147483647 w 55"/>
              <a:gd name="T35" fmla="*/ 2147483647 h 62"/>
              <a:gd name="T36" fmla="*/ 2147483647 w 55"/>
              <a:gd name="T37" fmla="*/ 2147483647 h 62"/>
              <a:gd name="T38" fmla="*/ 2147483647 w 55"/>
              <a:gd name="T39" fmla="*/ 2147483647 h 62"/>
              <a:gd name="T40" fmla="*/ 2147483647 w 55"/>
              <a:gd name="T41" fmla="*/ 2147483647 h 62"/>
              <a:gd name="T42" fmla="*/ 2147483647 w 55"/>
              <a:gd name="T43" fmla="*/ 2147483647 h 62"/>
              <a:gd name="T44" fmla="*/ 2147483647 w 55"/>
              <a:gd name="T45" fmla="*/ 2147483647 h 62"/>
              <a:gd name="T46" fmla="*/ 2147483647 w 55"/>
              <a:gd name="T47" fmla="*/ 2147483647 h 62"/>
              <a:gd name="T48" fmla="*/ 2147483647 w 55"/>
              <a:gd name="T49" fmla="*/ 2147483647 h 62"/>
              <a:gd name="T50" fmla="*/ 2147483647 w 55"/>
              <a:gd name="T51" fmla="*/ 2147483647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85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382838" y="5543352"/>
            <a:ext cx="11112" cy="58737"/>
          </a:xfrm>
          <a:custGeom>
            <a:avLst/>
            <a:gdLst>
              <a:gd name="T0" fmla="*/ 2147483647 w 35"/>
              <a:gd name="T1" fmla="*/ 2147483647 h 43"/>
              <a:gd name="T2" fmla="*/ 2147483647 w 35"/>
              <a:gd name="T3" fmla="*/ 0 h 43"/>
              <a:gd name="T4" fmla="*/ 2147483647 w 35"/>
              <a:gd name="T5" fmla="*/ 2147483647 h 43"/>
              <a:gd name="T6" fmla="*/ 0 w 35"/>
              <a:gd name="T7" fmla="*/ 2147483647 h 43"/>
              <a:gd name="T8" fmla="*/ 2147483647 w 35"/>
              <a:gd name="T9" fmla="*/ 2147483647 h 43"/>
              <a:gd name="T10" fmla="*/ 2147483647 w 35"/>
              <a:gd name="T11" fmla="*/ 2147483647 h 43"/>
              <a:gd name="T12" fmla="*/ 2147483647 w 35"/>
              <a:gd name="T13" fmla="*/ 2147483647 h 43"/>
              <a:gd name="T14" fmla="*/ 2147483647 w 35"/>
              <a:gd name="T15" fmla="*/ 2147483647 h 43"/>
              <a:gd name="T16" fmla="*/ 2147483647 w 35"/>
              <a:gd name="T17" fmla="*/ 2147483647 h 43"/>
              <a:gd name="T18" fmla="*/ 2147483647 w 35"/>
              <a:gd name="T19" fmla="*/ 2147483647 h 43"/>
              <a:gd name="T20" fmla="*/ 2147483647 w 35"/>
              <a:gd name="T21" fmla="*/ 2147483647 h 43"/>
              <a:gd name="T22" fmla="*/ 2147483647 w 35"/>
              <a:gd name="T23" fmla="*/ 2147483647 h 43"/>
              <a:gd name="T24" fmla="*/ 2147483647 w 35"/>
              <a:gd name="T25" fmla="*/ 2147483647 h 43"/>
              <a:gd name="T26" fmla="*/ 2147483647 w 35"/>
              <a:gd name="T27" fmla="*/ 2147483647 h 43"/>
              <a:gd name="T28" fmla="*/ 2147483647 w 35"/>
              <a:gd name="T29" fmla="*/ 2147483647 h 43"/>
              <a:gd name="T30" fmla="*/ 2147483647 w 35"/>
              <a:gd name="T31" fmla="*/ 2147483647 h 43"/>
              <a:gd name="T32" fmla="*/ 2147483647 w 35"/>
              <a:gd name="T33" fmla="*/ 2147483647 h 43"/>
              <a:gd name="T34" fmla="*/ 2147483647 w 35"/>
              <a:gd name="T35" fmla="*/ 2147483647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86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379663" y="5576689"/>
            <a:ext cx="20637" cy="55563"/>
          </a:xfrm>
          <a:custGeom>
            <a:avLst/>
            <a:gdLst>
              <a:gd name="T0" fmla="*/ 2147483647 w 53"/>
              <a:gd name="T1" fmla="*/ 0 h 21"/>
              <a:gd name="T2" fmla="*/ 2147483647 w 53"/>
              <a:gd name="T3" fmla="*/ 2147483647 h 21"/>
              <a:gd name="T4" fmla="*/ 2147483647 w 53"/>
              <a:gd name="T5" fmla="*/ 2147483647 h 21"/>
              <a:gd name="T6" fmla="*/ 2147483647 w 53"/>
              <a:gd name="T7" fmla="*/ 2147483647 h 21"/>
              <a:gd name="T8" fmla="*/ 2147483647 w 53"/>
              <a:gd name="T9" fmla="*/ 2147483647 h 21"/>
              <a:gd name="T10" fmla="*/ 2147483647 w 53"/>
              <a:gd name="T11" fmla="*/ 2147483647 h 21"/>
              <a:gd name="T12" fmla="*/ 2147483647 w 53"/>
              <a:gd name="T13" fmla="*/ 2147483647 h 21"/>
              <a:gd name="T14" fmla="*/ 2147483647 w 53"/>
              <a:gd name="T15" fmla="*/ 2147483647 h 21"/>
              <a:gd name="T16" fmla="*/ 0 w 53"/>
              <a:gd name="T17" fmla="*/ 2147483647 h 21"/>
              <a:gd name="T18" fmla="*/ 2147483647 w 53"/>
              <a:gd name="T19" fmla="*/ 2147483647 h 21"/>
              <a:gd name="T20" fmla="*/ 2147483647 w 53"/>
              <a:gd name="T21" fmla="*/ 2147483647 h 21"/>
              <a:gd name="T22" fmla="*/ 2147483647 w 53"/>
              <a:gd name="T23" fmla="*/ 2147483647 h 21"/>
              <a:gd name="T24" fmla="*/ 2147483647 w 53"/>
              <a:gd name="T25" fmla="*/ 2147483647 h 21"/>
              <a:gd name="T26" fmla="*/ 2147483647 w 53"/>
              <a:gd name="T27" fmla="*/ 2147483647 h 21"/>
              <a:gd name="T28" fmla="*/ 2147483647 w 53"/>
              <a:gd name="T29" fmla="*/ 2147483647 h 21"/>
              <a:gd name="T30" fmla="*/ 214748364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87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03475" y="5590977"/>
            <a:ext cx="17463" cy="57150"/>
          </a:xfrm>
          <a:custGeom>
            <a:avLst/>
            <a:gdLst>
              <a:gd name="T0" fmla="*/ 2147483647 w 43"/>
              <a:gd name="T1" fmla="*/ 0 h 38"/>
              <a:gd name="T2" fmla="*/ 2147483647 w 43"/>
              <a:gd name="T3" fmla="*/ 0 h 38"/>
              <a:gd name="T4" fmla="*/ 2147483647 w 43"/>
              <a:gd name="T5" fmla="*/ 0 h 38"/>
              <a:gd name="T6" fmla="*/ 2147483647 w 43"/>
              <a:gd name="T7" fmla="*/ 0 h 38"/>
              <a:gd name="T8" fmla="*/ 0 w 43"/>
              <a:gd name="T9" fmla="*/ 2147483647 h 38"/>
              <a:gd name="T10" fmla="*/ 0 w 43"/>
              <a:gd name="T11" fmla="*/ 2147483647 h 38"/>
              <a:gd name="T12" fmla="*/ 0 w 43"/>
              <a:gd name="T13" fmla="*/ 2147483647 h 38"/>
              <a:gd name="T14" fmla="*/ 2147483647 w 43"/>
              <a:gd name="T15" fmla="*/ 2147483647 h 38"/>
              <a:gd name="T16" fmla="*/ 2147483647 w 43"/>
              <a:gd name="T17" fmla="*/ 2147483647 h 38"/>
              <a:gd name="T18" fmla="*/ 2147483647 w 43"/>
              <a:gd name="T19" fmla="*/ 2147483647 h 38"/>
              <a:gd name="T20" fmla="*/ 2147483647 w 43"/>
              <a:gd name="T21" fmla="*/ 2147483647 h 38"/>
              <a:gd name="T22" fmla="*/ 2147483647 w 43"/>
              <a:gd name="T23" fmla="*/ 2147483647 h 38"/>
              <a:gd name="T24" fmla="*/ 2147483647 w 43"/>
              <a:gd name="T25" fmla="*/ 2147483647 h 38"/>
              <a:gd name="T26" fmla="*/ 2147483647 w 43"/>
              <a:gd name="T27" fmla="*/ 2147483647 h 38"/>
              <a:gd name="T28" fmla="*/ 2147483647 w 43"/>
              <a:gd name="T29" fmla="*/ 2147483647 h 38"/>
              <a:gd name="T30" fmla="*/ 2147483647 w 43"/>
              <a:gd name="T31" fmla="*/ 2147483647 h 38"/>
              <a:gd name="T32" fmla="*/ 2147483647 w 43"/>
              <a:gd name="T33" fmla="*/ 2147483647 h 38"/>
              <a:gd name="T34" fmla="*/ 2147483647 w 43"/>
              <a:gd name="T35" fmla="*/ 2147483647 h 38"/>
              <a:gd name="T36" fmla="*/ 2147483647 w 43"/>
              <a:gd name="T37" fmla="*/ 2147483647 h 38"/>
              <a:gd name="T38" fmla="*/ 2147483647 w 43"/>
              <a:gd name="T39" fmla="*/ 2147483647 h 38"/>
              <a:gd name="T40" fmla="*/ 2147483647 w 43"/>
              <a:gd name="T41" fmla="*/ 2147483647 h 38"/>
              <a:gd name="T42" fmla="*/ 2147483647 w 43"/>
              <a:gd name="T43" fmla="*/ 2147483647 h 38"/>
              <a:gd name="T44" fmla="*/ 2147483647 w 43"/>
              <a:gd name="T45" fmla="*/ 2147483647 h 38"/>
              <a:gd name="T46" fmla="*/ 2147483647 w 43"/>
              <a:gd name="T47" fmla="*/ 2147483647 h 38"/>
              <a:gd name="T48" fmla="*/ 2147483647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88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405063" y="5619552"/>
            <a:ext cx="6350" cy="57150"/>
          </a:xfrm>
          <a:custGeom>
            <a:avLst/>
            <a:gdLst>
              <a:gd name="T0" fmla="*/ 0 w 20"/>
              <a:gd name="T1" fmla="*/ 0 h 5"/>
              <a:gd name="T2" fmla="*/ 2147483647 w 20"/>
              <a:gd name="T3" fmla="*/ 2147483647 h 5"/>
              <a:gd name="T4" fmla="*/ 2147483647 w 20"/>
              <a:gd name="T5" fmla="*/ 2147483647 h 5"/>
              <a:gd name="T6" fmla="*/ 2147483647 w 20"/>
              <a:gd name="T7" fmla="*/ 2147483647 h 5"/>
              <a:gd name="T8" fmla="*/ 2147483647 w 20"/>
              <a:gd name="T9" fmla="*/ 2147483647 h 5"/>
              <a:gd name="T10" fmla="*/ 2147483647 w 20"/>
              <a:gd name="T11" fmla="*/ 2147483647 h 5"/>
              <a:gd name="T12" fmla="*/ 2147483647 w 20"/>
              <a:gd name="T13" fmla="*/ 2147483647 h 5"/>
              <a:gd name="T14" fmla="*/ 2147483647 w 20"/>
              <a:gd name="T15" fmla="*/ 2147483647 h 5"/>
              <a:gd name="T16" fmla="*/ 2147483647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89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479675" y="5689402"/>
            <a:ext cx="34925" cy="57150"/>
          </a:xfrm>
          <a:custGeom>
            <a:avLst/>
            <a:gdLst>
              <a:gd name="T0" fmla="*/ 2147483647 w 73"/>
              <a:gd name="T1" fmla="*/ 0 h 22"/>
              <a:gd name="T2" fmla="*/ 2147483647 w 73"/>
              <a:gd name="T3" fmla="*/ 2147483647 h 22"/>
              <a:gd name="T4" fmla="*/ 2147483647 w 73"/>
              <a:gd name="T5" fmla="*/ 2147483647 h 22"/>
              <a:gd name="T6" fmla="*/ 2147483647 w 73"/>
              <a:gd name="T7" fmla="*/ 2147483647 h 22"/>
              <a:gd name="T8" fmla="*/ 2147483647 w 73"/>
              <a:gd name="T9" fmla="*/ 2147483647 h 22"/>
              <a:gd name="T10" fmla="*/ 2147483647 w 73"/>
              <a:gd name="T11" fmla="*/ 2147483647 h 22"/>
              <a:gd name="T12" fmla="*/ 0 w 73"/>
              <a:gd name="T13" fmla="*/ 2147483647 h 22"/>
              <a:gd name="T14" fmla="*/ 2147483647 w 73"/>
              <a:gd name="T15" fmla="*/ 2147483647 h 22"/>
              <a:gd name="T16" fmla="*/ 2147483647 w 73"/>
              <a:gd name="T17" fmla="*/ 2147483647 h 22"/>
              <a:gd name="T18" fmla="*/ 2147483647 w 73"/>
              <a:gd name="T19" fmla="*/ 2147483647 h 22"/>
              <a:gd name="T20" fmla="*/ 2147483647 w 73"/>
              <a:gd name="T21" fmla="*/ 2147483647 h 22"/>
              <a:gd name="T22" fmla="*/ 2147483647 w 73"/>
              <a:gd name="T23" fmla="*/ 2147483647 h 22"/>
              <a:gd name="T24" fmla="*/ 2147483647 w 73"/>
              <a:gd name="T25" fmla="*/ 2147483647 h 22"/>
              <a:gd name="T26" fmla="*/ 2147483647 w 73"/>
              <a:gd name="T27" fmla="*/ 2147483647 h 22"/>
              <a:gd name="T28" fmla="*/ 2147483647 w 73"/>
              <a:gd name="T29" fmla="*/ 2147483647 h 22"/>
              <a:gd name="T30" fmla="*/ 2147483647 w 73"/>
              <a:gd name="T31" fmla="*/ 2147483647 h 22"/>
              <a:gd name="T32" fmla="*/ 2147483647 w 73"/>
              <a:gd name="T33" fmla="*/ 2147483647 h 22"/>
              <a:gd name="T34" fmla="*/ 2147483647 w 73"/>
              <a:gd name="T35" fmla="*/ 2147483647 h 22"/>
              <a:gd name="T36" fmla="*/ 214748364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90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17775" y="5630664"/>
            <a:ext cx="123825" cy="100013"/>
          </a:xfrm>
          <a:custGeom>
            <a:avLst/>
            <a:gdLst>
              <a:gd name="T0" fmla="*/ 2147483647 w 281"/>
              <a:gd name="T1" fmla="*/ 2147483647 h 193"/>
              <a:gd name="T2" fmla="*/ 2147483647 w 281"/>
              <a:gd name="T3" fmla="*/ 2147483647 h 193"/>
              <a:gd name="T4" fmla="*/ 2147483647 w 281"/>
              <a:gd name="T5" fmla="*/ 2147483647 h 193"/>
              <a:gd name="T6" fmla="*/ 2147483647 w 281"/>
              <a:gd name="T7" fmla="*/ 2147483647 h 193"/>
              <a:gd name="T8" fmla="*/ 2147483647 w 281"/>
              <a:gd name="T9" fmla="*/ 2147483647 h 193"/>
              <a:gd name="T10" fmla="*/ 2147483647 w 281"/>
              <a:gd name="T11" fmla="*/ 2147483647 h 193"/>
              <a:gd name="T12" fmla="*/ 2147483647 w 281"/>
              <a:gd name="T13" fmla="*/ 2147483647 h 193"/>
              <a:gd name="T14" fmla="*/ 2147483647 w 281"/>
              <a:gd name="T15" fmla="*/ 2147483647 h 193"/>
              <a:gd name="T16" fmla="*/ 2147483647 w 281"/>
              <a:gd name="T17" fmla="*/ 2147483647 h 193"/>
              <a:gd name="T18" fmla="*/ 2147483647 w 281"/>
              <a:gd name="T19" fmla="*/ 0 h 193"/>
              <a:gd name="T20" fmla="*/ 2147483647 w 281"/>
              <a:gd name="T21" fmla="*/ 2147483647 h 193"/>
              <a:gd name="T22" fmla="*/ 2147483647 w 281"/>
              <a:gd name="T23" fmla="*/ 2147483647 h 193"/>
              <a:gd name="T24" fmla="*/ 2147483647 w 281"/>
              <a:gd name="T25" fmla="*/ 2147483647 h 193"/>
              <a:gd name="T26" fmla="*/ 0 w 281"/>
              <a:gd name="T27" fmla="*/ 2147483647 h 193"/>
              <a:gd name="T28" fmla="*/ 2147483647 w 281"/>
              <a:gd name="T29" fmla="*/ 2147483647 h 193"/>
              <a:gd name="T30" fmla="*/ 2147483647 w 281"/>
              <a:gd name="T31" fmla="*/ 2147483647 h 193"/>
              <a:gd name="T32" fmla="*/ 2147483647 w 281"/>
              <a:gd name="T33" fmla="*/ 2147483647 h 193"/>
              <a:gd name="T34" fmla="*/ 2147483647 w 281"/>
              <a:gd name="T35" fmla="*/ 2147483647 h 193"/>
              <a:gd name="T36" fmla="*/ 2147483647 w 281"/>
              <a:gd name="T37" fmla="*/ 2147483647 h 193"/>
              <a:gd name="T38" fmla="*/ 2147483647 w 281"/>
              <a:gd name="T39" fmla="*/ 2147483647 h 193"/>
              <a:gd name="T40" fmla="*/ 2147483647 w 281"/>
              <a:gd name="T41" fmla="*/ 2147483647 h 193"/>
              <a:gd name="T42" fmla="*/ 2147483647 w 281"/>
              <a:gd name="T43" fmla="*/ 2147483647 h 193"/>
              <a:gd name="T44" fmla="*/ 2147483647 w 281"/>
              <a:gd name="T45" fmla="*/ 2147483647 h 193"/>
              <a:gd name="T46" fmla="*/ 2147483647 w 281"/>
              <a:gd name="T47" fmla="*/ 2147483647 h 193"/>
              <a:gd name="T48" fmla="*/ 2147483647 w 281"/>
              <a:gd name="T49" fmla="*/ 2147483647 h 193"/>
              <a:gd name="T50" fmla="*/ 2147483647 w 281"/>
              <a:gd name="T51" fmla="*/ 2147483647 h 193"/>
              <a:gd name="T52" fmla="*/ 2147483647 w 281"/>
              <a:gd name="T53" fmla="*/ 2147483647 h 193"/>
              <a:gd name="T54" fmla="*/ 2147483647 w 281"/>
              <a:gd name="T55" fmla="*/ 2147483647 h 193"/>
              <a:gd name="T56" fmla="*/ 2147483647 w 281"/>
              <a:gd name="T57" fmla="*/ 2147483647 h 193"/>
              <a:gd name="T58" fmla="*/ 2147483647 w 281"/>
              <a:gd name="T59" fmla="*/ 2147483647 h 193"/>
              <a:gd name="T60" fmla="*/ 2147483647 w 281"/>
              <a:gd name="T61" fmla="*/ 2147483647 h 193"/>
              <a:gd name="T62" fmla="*/ 2147483647 w 281"/>
              <a:gd name="T63" fmla="*/ 2147483647 h 193"/>
              <a:gd name="T64" fmla="*/ 2147483647 w 281"/>
              <a:gd name="T65" fmla="*/ 2147483647 h 193"/>
              <a:gd name="T66" fmla="*/ 2147483647 w 281"/>
              <a:gd name="T67" fmla="*/ 2147483647 h 193"/>
              <a:gd name="T68" fmla="*/ 2147483647 w 281"/>
              <a:gd name="T69" fmla="*/ 2147483647 h 193"/>
              <a:gd name="T70" fmla="*/ 2147483647 w 281"/>
              <a:gd name="T71" fmla="*/ 2147483647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91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070100" y="3397052"/>
            <a:ext cx="52388" cy="58737"/>
          </a:xfrm>
          <a:custGeom>
            <a:avLst/>
            <a:gdLst>
              <a:gd name="T0" fmla="*/ 0 w 120"/>
              <a:gd name="T1" fmla="*/ 2147483647 h 56"/>
              <a:gd name="T2" fmla="*/ 2147483647 w 120"/>
              <a:gd name="T3" fmla="*/ 2147483647 h 56"/>
              <a:gd name="T4" fmla="*/ 2147483647 w 120"/>
              <a:gd name="T5" fmla="*/ 2147483647 h 56"/>
              <a:gd name="T6" fmla="*/ 2147483647 w 120"/>
              <a:gd name="T7" fmla="*/ 2147483647 h 56"/>
              <a:gd name="T8" fmla="*/ 2147483647 w 120"/>
              <a:gd name="T9" fmla="*/ 2147483647 h 56"/>
              <a:gd name="T10" fmla="*/ 2147483647 w 120"/>
              <a:gd name="T11" fmla="*/ 2147483647 h 56"/>
              <a:gd name="T12" fmla="*/ 2147483647 w 120"/>
              <a:gd name="T13" fmla="*/ 2147483647 h 56"/>
              <a:gd name="T14" fmla="*/ 2147483647 w 120"/>
              <a:gd name="T15" fmla="*/ 2147483647 h 56"/>
              <a:gd name="T16" fmla="*/ 2147483647 w 120"/>
              <a:gd name="T17" fmla="*/ 2147483647 h 56"/>
              <a:gd name="T18" fmla="*/ 2147483647 w 120"/>
              <a:gd name="T19" fmla="*/ 2147483647 h 56"/>
              <a:gd name="T20" fmla="*/ 2147483647 w 120"/>
              <a:gd name="T21" fmla="*/ 2147483647 h 56"/>
              <a:gd name="T22" fmla="*/ 2147483647 w 120"/>
              <a:gd name="T23" fmla="*/ 2147483647 h 56"/>
              <a:gd name="T24" fmla="*/ 2147483647 w 120"/>
              <a:gd name="T25" fmla="*/ 2147483647 h 56"/>
              <a:gd name="T26" fmla="*/ 2147483647 w 120"/>
              <a:gd name="T27" fmla="*/ 2147483647 h 56"/>
              <a:gd name="T28" fmla="*/ 2147483647 w 120"/>
              <a:gd name="T29" fmla="*/ 2147483647 h 56"/>
              <a:gd name="T30" fmla="*/ 2147483647 w 120"/>
              <a:gd name="T31" fmla="*/ 2147483647 h 56"/>
              <a:gd name="T32" fmla="*/ 2147483647 w 120"/>
              <a:gd name="T33" fmla="*/ 2147483647 h 56"/>
              <a:gd name="T34" fmla="*/ 2147483647 w 120"/>
              <a:gd name="T35" fmla="*/ 2147483647 h 56"/>
              <a:gd name="T36" fmla="*/ 2147483647 w 120"/>
              <a:gd name="T37" fmla="*/ 2147483647 h 56"/>
              <a:gd name="T38" fmla="*/ 2147483647 w 120"/>
              <a:gd name="T39" fmla="*/ 2147483647 h 56"/>
              <a:gd name="T40" fmla="*/ 2147483647 w 120"/>
              <a:gd name="T41" fmla="*/ 2147483647 h 56"/>
              <a:gd name="T42" fmla="*/ 2147483647 w 120"/>
              <a:gd name="T43" fmla="*/ 0 h 56"/>
              <a:gd name="T44" fmla="*/ 2147483647 w 120"/>
              <a:gd name="T45" fmla="*/ 2147483647 h 56"/>
              <a:gd name="T46" fmla="*/ 2147483647 w 120"/>
              <a:gd name="T47" fmla="*/ 2147483647 h 56"/>
              <a:gd name="T48" fmla="*/ 2147483647 w 120"/>
              <a:gd name="T49" fmla="*/ 2147483647 h 56"/>
              <a:gd name="T50" fmla="*/ 2147483647 w 120"/>
              <a:gd name="T51" fmla="*/ 2147483647 h 56"/>
              <a:gd name="T52" fmla="*/ 2147483647 w 120"/>
              <a:gd name="T53" fmla="*/ 2147483647 h 56"/>
              <a:gd name="T54" fmla="*/ 2147483647 w 120"/>
              <a:gd name="T55" fmla="*/ 2147483647 h 56"/>
              <a:gd name="T56" fmla="*/ 2147483647 w 120"/>
              <a:gd name="T57" fmla="*/ 2147483647 h 56"/>
              <a:gd name="T58" fmla="*/ 0 w 120"/>
              <a:gd name="T59" fmla="*/ 2147483647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92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927225" y="3258939"/>
            <a:ext cx="250825" cy="109538"/>
          </a:xfrm>
          <a:custGeom>
            <a:avLst/>
            <a:gdLst>
              <a:gd name="T0" fmla="*/ 24250495 w 574"/>
              <a:gd name="T1" fmla="*/ 288343 h 204"/>
              <a:gd name="T2" fmla="*/ 18140241 w 574"/>
              <a:gd name="T3" fmla="*/ 1730056 h 204"/>
              <a:gd name="T4" fmla="*/ 12602864 w 574"/>
              <a:gd name="T5" fmla="*/ 4612946 h 204"/>
              <a:gd name="T6" fmla="*/ 8210804 w 574"/>
              <a:gd name="T7" fmla="*/ 7496373 h 204"/>
              <a:gd name="T8" fmla="*/ 5728336 w 574"/>
              <a:gd name="T9" fmla="*/ 10090920 h 204"/>
              <a:gd name="T10" fmla="*/ 3055346 w 574"/>
              <a:gd name="T11" fmla="*/ 14704403 h 204"/>
              <a:gd name="T12" fmla="*/ 763836 w 574"/>
              <a:gd name="T13" fmla="*/ 20470719 h 204"/>
              <a:gd name="T14" fmla="*/ 0 w 574"/>
              <a:gd name="T15" fmla="*/ 23641952 h 204"/>
              <a:gd name="T16" fmla="*/ 190959 w 574"/>
              <a:gd name="T17" fmla="*/ 24795322 h 204"/>
              <a:gd name="T18" fmla="*/ 2482468 w 574"/>
              <a:gd name="T19" fmla="*/ 24795322 h 204"/>
              <a:gd name="T20" fmla="*/ 5537377 w 574"/>
              <a:gd name="T21" fmla="*/ 23930294 h 204"/>
              <a:gd name="T22" fmla="*/ 9929436 w 574"/>
              <a:gd name="T23" fmla="*/ 21623553 h 204"/>
              <a:gd name="T24" fmla="*/ 15275854 w 574"/>
              <a:gd name="T25" fmla="*/ 16722264 h 204"/>
              <a:gd name="T26" fmla="*/ 19476955 w 574"/>
              <a:gd name="T27" fmla="*/ 13262689 h 204"/>
              <a:gd name="T28" fmla="*/ 22722822 w 574"/>
              <a:gd name="T29" fmla="*/ 11532633 h 204"/>
              <a:gd name="T30" fmla="*/ 33416095 w 574"/>
              <a:gd name="T31" fmla="*/ 10667605 h 204"/>
              <a:gd name="T32" fmla="*/ 33607054 w 574"/>
              <a:gd name="T33" fmla="*/ 13839375 h 204"/>
              <a:gd name="T34" fmla="*/ 34370891 w 574"/>
              <a:gd name="T35" fmla="*/ 15857236 h 204"/>
              <a:gd name="T36" fmla="*/ 35134727 w 574"/>
              <a:gd name="T37" fmla="*/ 17010607 h 204"/>
              <a:gd name="T38" fmla="*/ 36280482 w 574"/>
              <a:gd name="T39" fmla="*/ 17587292 h 204"/>
              <a:gd name="T40" fmla="*/ 43727450 w 574"/>
              <a:gd name="T41" fmla="*/ 17587292 h 204"/>
              <a:gd name="T42" fmla="*/ 51365377 w 574"/>
              <a:gd name="T43" fmla="*/ 22488581 h 204"/>
              <a:gd name="T44" fmla="*/ 57666590 w 574"/>
              <a:gd name="T45" fmla="*/ 27389870 h 204"/>
              <a:gd name="T46" fmla="*/ 64158763 w 574"/>
              <a:gd name="T47" fmla="*/ 32003352 h 204"/>
              <a:gd name="T48" fmla="*/ 71606168 w 574"/>
              <a:gd name="T49" fmla="*/ 35462928 h 204"/>
              <a:gd name="T50" fmla="*/ 71796690 w 574"/>
              <a:gd name="T51" fmla="*/ 38634160 h 204"/>
              <a:gd name="T52" fmla="*/ 72942444 w 574"/>
              <a:gd name="T53" fmla="*/ 40940901 h 204"/>
              <a:gd name="T54" fmla="*/ 75615872 w 574"/>
              <a:gd name="T55" fmla="*/ 43824328 h 204"/>
              <a:gd name="T56" fmla="*/ 81726126 w 574"/>
              <a:gd name="T57" fmla="*/ 47860589 h 204"/>
              <a:gd name="T58" fmla="*/ 76761627 w 574"/>
              <a:gd name="T59" fmla="*/ 55068619 h 204"/>
              <a:gd name="T60" fmla="*/ 77716422 w 574"/>
              <a:gd name="T61" fmla="*/ 56798138 h 204"/>
              <a:gd name="T62" fmla="*/ 79053136 w 574"/>
              <a:gd name="T63" fmla="*/ 57951508 h 204"/>
              <a:gd name="T64" fmla="*/ 81917085 w 574"/>
              <a:gd name="T65" fmla="*/ 58816536 h 204"/>
              <a:gd name="T66" fmla="*/ 88027777 w 574"/>
              <a:gd name="T67" fmla="*/ 58816536 h 204"/>
              <a:gd name="T68" fmla="*/ 105976621 w 574"/>
              <a:gd name="T69" fmla="*/ 54491933 h 204"/>
              <a:gd name="T70" fmla="*/ 106740458 w 574"/>
              <a:gd name="T71" fmla="*/ 52761877 h 204"/>
              <a:gd name="T72" fmla="*/ 107886212 w 574"/>
              <a:gd name="T73" fmla="*/ 51031821 h 204"/>
              <a:gd name="T74" fmla="*/ 109222926 w 574"/>
              <a:gd name="T75" fmla="*/ 49878987 h 204"/>
              <a:gd name="T76" fmla="*/ 109604844 w 574"/>
              <a:gd name="T77" fmla="*/ 46418875 h 204"/>
              <a:gd name="T78" fmla="*/ 107122376 w 574"/>
              <a:gd name="T79" fmla="*/ 44112671 h 204"/>
              <a:gd name="T80" fmla="*/ 101584999 w 574"/>
              <a:gd name="T81" fmla="*/ 42670957 h 204"/>
              <a:gd name="T82" fmla="*/ 96238581 w 574"/>
              <a:gd name="T83" fmla="*/ 39787531 h 204"/>
              <a:gd name="T84" fmla="*/ 90700767 w 574"/>
              <a:gd name="T85" fmla="*/ 35751270 h 204"/>
              <a:gd name="T86" fmla="*/ 82680922 w 574"/>
              <a:gd name="T87" fmla="*/ 28831583 h 204"/>
              <a:gd name="T88" fmla="*/ 73133404 w 574"/>
              <a:gd name="T89" fmla="*/ 19605691 h 204"/>
              <a:gd name="T90" fmla="*/ 68359863 w 574"/>
              <a:gd name="T91" fmla="*/ 15568894 h 204"/>
              <a:gd name="T92" fmla="*/ 66450272 w 574"/>
              <a:gd name="T93" fmla="*/ 14992208 h 204"/>
              <a:gd name="T94" fmla="*/ 63013445 w 574"/>
              <a:gd name="T95" fmla="*/ 14992208 h 204"/>
              <a:gd name="T96" fmla="*/ 59576181 w 574"/>
              <a:gd name="T97" fmla="*/ 14704403 h 204"/>
              <a:gd name="T98" fmla="*/ 57666590 w 574"/>
              <a:gd name="T99" fmla="*/ 14127717 h 204"/>
              <a:gd name="T100" fmla="*/ 56138917 w 574"/>
              <a:gd name="T101" fmla="*/ 12397661 h 204"/>
              <a:gd name="T102" fmla="*/ 55375081 w 574"/>
              <a:gd name="T103" fmla="*/ 9225892 h 204"/>
              <a:gd name="T104" fmla="*/ 27114882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93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232025" y="3362127"/>
            <a:ext cx="88900" cy="69850"/>
          </a:xfrm>
          <a:custGeom>
            <a:avLst/>
            <a:gdLst>
              <a:gd name="T0" fmla="*/ 7562083 w 207"/>
              <a:gd name="T1" fmla="*/ 37821880 h 129"/>
              <a:gd name="T2" fmla="*/ 9221979 w 207"/>
              <a:gd name="T3" fmla="*/ 35476219 h 129"/>
              <a:gd name="T4" fmla="*/ 11066547 w 207"/>
              <a:gd name="T5" fmla="*/ 33716974 h 129"/>
              <a:gd name="T6" fmla="*/ 12911114 w 207"/>
              <a:gd name="T7" fmla="*/ 32251207 h 129"/>
              <a:gd name="T8" fmla="*/ 14939924 w 207"/>
              <a:gd name="T9" fmla="*/ 30785440 h 129"/>
              <a:gd name="T10" fmla="*/ 19366457 w 207"/>
              <a:gd name="T11" fmla="*/ 29026195 h 129"/>
              <a:gd name="T12" fmla="*/ 23792990 w 207"/>
              <a:gd name="T13" fmla="*/ 26974012 h 129"/>
              <a:gd name="T14" fmla="*/ 28035281 w 207"/>
              <a:gd name="T15" fmla="*/ 25507704 h 129"/>
              <a:gd name="T16" fmla="*/ 31908658 w 207"/>
              <a:gd name="T17" fmla="*/ 23748459 h 129"/>
              <a:gd name="T18" fmla="*/ 33568554 w 207"/>
              <a:gd name="T19" fmla="*/ 22575628 h 129"/>
              <a:gd name="T20" fmla="*/ 35228880 w 207"/>
              <a:gd name="T21" fmla="*/ 21403340 h 129"/>
              <a:gd name="T22" fmla="*/ 36888776 w 207"/>
              <a:gd name="T23" fmla="*/ 19644094 h 129"/>
              <a:gd name="T24" fmla="*/ 38179758 w 207"/>
              <a:gd name="T25" fmla="*/ 17884849 h 129"/>
              <a:gd name="T26" fmla="*/ 36519862 w 207"/>
              <a:gd name="T27" fmla="*/ 15832667 h 129"/>
              <a:gd name="T28" fmla="*/ 34675295 w 207"/>
              <a:gd name="T29" fmla="*/ 13779943 h 129"/>
              <a:gd name="T30" fmla="*/ 33015399 w 207"/>
              <a:gd name="T31" fmla="*/ 12314176 h 129"/>
              <a:gd name="T32" fmla="*/ 31170831 w 207"/>
              <a:gd name="T33" fmla="*/ 10554931 h 129"/>
              <a:gd name="T34" fmla="*/ 27666367 w 207"/>
              <a:gd name="T35" fmla="*/ 8502748 h 129"/>
              <a:gd name="T36" fmla="*/ 23792990 w 207"/>
              <a:gd name="T37" fmla="*/ 6743503 h 129"/>
              <a:gd name="T38" fmla="*/ 19735371 w 207"/>
              <a:gd name="T39" fmla="*/ 5277736 h 129"/>
              <a:gd name="T40" fmla="*/ 15677751 w 207"/>
              <a:gd name="T41" fmla="*/ 3811428 h 129"/>
              <a:gd name="T42" fmla="*/ 11620132 w 207"/>
              <a:gd name="T43" fmla="*/ 2052182 h 129"/>
              <a:gd name="T44" fmla="*/ 7562083 w 207"/>
              <a:gd name="T45" fmla="*/ 0 h 129"/>
              <a:gd name="T46" fmla="*/ 0 w 207"/>
              <a:gd name="T47" fmla="*/ 0 h 129"/>
              <a:gd name="T48" fmla="*/ 184242 w 207"/>
              <a:gd name="T49" fmla="*/ 1759245 h 129"/>
              <a:gd name="T50" fmla="*/ 368914 w 207"/>
              <a:gd name="T51" fmla="*/ 3811428 h 129"/>
              <a:gd name="T52" fmla="*/ 737827 w 207"/>
              <a:gd name="T53" fmla="*/ 5570673 h 129"/>
              <a:gd name="T54" fmla="*/ 1106741 w 207"/>
              <a:gd name="T55" fmla="*/ 7329918 h 129"/>
              <a:gd name="T56" fmla="*/ 1844568 w 207"/>
              <a:gd name="T57" fmla="*/ 10261994 h 129"/>
              <a:gd name="T58" fmla="*/ 2397723 w 207"/>
              <a:gd name="T59" fmla="*/ 13487006 h 129"/>
              <a:gd name="T60" fmla="*/ 3135550 w 207"/>
              <a:gd name="T61" fmla="*/ 15832667 h 129"/>
              <a:gd name="T62" fmla="*/ 3319792 w 207"/>
              <a:gd name="T63" fmla="*/ 18177786 h 129"/>
              <a:gd name="T64" fmla="*/ 3135550 w 207"/>
              <a:gd name="T65" fmla="*/ 19057679 h 129"/>
              <a:gd name="T66" fmla="*/ 2582395 w 207"/>
              <a:gd name="T67" fmla="*/ 19937031 h 129"/>
              <a:gd name="T68" fmla="*/ 2028810 w 207"/>
              <a:gd name="T69" fmla="*/ 20816924 h 129"/>
              <a:gd name="T70" fmla="*/ 1290983 w 207"/>
              <a:gd name="T71" fmla="*/ 21403340 h 129"/>
              <a:gd name="T72" fmla="*/ 0 w 207"/>
              <a:gd name="T73" fmla="*/ 30491962 h 129"/>
              <a:gd name="T74" fmla="*/ 737827 w 207"/>
              <a:gd name="T75" fmla="*/ 31078377 h 129"/>
              <a:gd name="T76" fmla="*/ 2397723 w 207"/>
              <a:gd name="T77" fmla="*/ 32251207 h 129"/>
              <a:gd name="T78" fmla="*/ 3504464 w 207"/>
              <a:gd name="T79" fmla="*/ 33130559 h 129"/>
              <a:gd name="T80" fmla="*/ 4611204 w 207"/>
              <a:gd name="T81" fmla="*/ 34303389 h 129"/>
              <a:gd name="T82" fmla="*/ 6086429 w 207"/>
              <a:gd name="T83" fmla="*/ 35769698 h 129"/>
              <a:gd name="T84" fmla="*/ 7562083 w 207"/>
              <a:gd name="T85" fmla="*/ 37821880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94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800225" y="3422452"/>
            <a:ext cx="33338" cy="84137"/>
          </a:xfrm>
          <a:custGeom>
            <a:avLst/>
            <a:gdLst>
              <a:gd name="T0" fmla="*/ 2147483647 w 72"/>
              <a:gd name="T1" fmla="*/ 0 h 154"/>
              <a:gd name="T2" fmla="*/ 2147483647 w 72"/>
              <a:gd name="T3" fmla="*/ 2147483647 h 154"/>
              <a:gd name="T4" fmla="*/ 2147483647 w 72"/>
              <a:gd name="T5" fmla="*/ 2147483647 h 154"/>
              <a:gd name="T6" fmla="*/ 2147483647 w 72"/>
              <a:gd name="T7" fmla="*/ 2147483647 h 154"/>
              <a:gd name="T8" fmla="*/ 2147483647 w 72"/>
              <a:gd name="T9" fmla="*/ 2147483647 h 154"/>
              <a:gd name="T10" fmla="*/ 2147483647 w 72"/>
              <a:gd name="T11" fmla="*/ 2147483647 h 154"/>
              <a:gd name="T12" fmla="*/ 2147483647 w 72"/>
              <a:gd name="T13" fmla="*/ 2147483647 h 154"/>
              <a:gd name="T14" fmla="*/ 2147483647 w 72"/>
              <a:gd name="T15" fmla="*/ 2147483647 h 154"/>
              <a:gd name="T16" fmla="*/ 2147483647 w 72"/>
              <a:gd name="T17" fmla="*/ 2147483647 h 154"/>
              <a:gd name="T18" fmla="*/ 2147483647 w 72"/>
              <a:gd name="T19" fmla="*/ 2147483647 h 154"/>
              <a:gd name="T20" fmla="*/ 2147483647 w 72"/>
              <a:gd name="T21" fmla="*/ 2147483647 h 154"/>
              <a:gd name="T22" fmla="*/ 2147483647 w 72"/>
              <a:gd name="T23" fmla="*/ 2147483647 h 154"/>
              <a:gd name="T24" fmla="*/ 2147483647 w 72"/>
              <a:gd name="T25" fmla="*/ 2147483647 h 154"/>
              <a:gd name="T26" fmla="*/ 2147483647 w 72"/>
              <a:gd name="T27" fmla="*/ 2147483647 h 154"/>
              <a:gd name="T28" fmla="*/ 2147483647 w 72"/>
              <a:gd name="T29" fmla="*/ 2147483647 h 154"/>
              <a:gd name="T30" fmla="*/ 2147483647 w 72"/>
              <a:gd name="T31" fmla="*/ 2147483647 h 154"/>
              <a:gd name="T32" fmla="*/ 2147483647 w 72"/>
              <a:gd name="T33" fmla="*/ 2147483647 h 154"/>
              <a:gd name="T34" fmla="*/ 2147483647 w 72"/>
              <a:gd name="T35" fmla="*/ 2147483647 h 154"/>
              <a:gd name="T36" fmla="*/ 2147483647 w 72"/>
              <a:gd name="T37" fmla="*/ 2147483647 h 154"/>
              <a:gd name="T38" fmla="*/ 2147483647 w 72"/>
              <a:gd name="T39" fmla="*/ 2147483647 h 154"/>
              <a:gd name="T40" fmla="*/ 2147483647 w 72"/>
              <a:gd name="T41" fmla="*/ 2147483647 h 154"/>
              <a:gd name="T42" fmla="*/ 0 w 72"/>
              <a:gd name="T43" fmla="*/ 2147483647 h 154"/>
              <a:gd name="T44" fmla="*/ 2147483647 w 72"/>
              <a:gd name="T45" fmla="*/ 2147483647 h 154"/>
              <a:gd name="T46" fmla="*/ 2147483647 w 72"/>
              <a:gd name="T47" fmla="*/ 2147483647 h 154"/>
              <a:gd name="T48" fmla="*/ 2147483647 w 72"/>
              <a:gd name="T49" fmla="*/ 2147483647 h 154"/>
              <a:gd name="T50" fmla="*/ 2147483647 w 72"/>
              <a:gd name="T51" fmla="*/ 2147483647 h 154"/>
              <a:gd name="T52" fmla="*/ 2147483647 w 72"/>
              <a:gd name="T53" fmla="*/ 2147483647 h 154"/>
              <a:gd name="T54" fmla="*/ 2147483647 w 72"/>
              <a:gd name="T55" fmla="*/ 2147483647 h 154"/>
              <a:gd name="T56" fmla="*/ 2147483647 w 72"/>
              <a:gd name="T57" fmla="*/ 0 h 154"/>
              <a:gd name="T58" fmla="*/ 2147483647 w 72"/>
              <a:gd name="T59" fmla="*/ 0 h 154"/>
              <a:gd name="T60" fmla="*/ 2147483647 w 72"/>
              <a:gd name="T61" fmla="*/ 0 h 154"/>
              <a:gd name="T62" fmla="*/ 2147483647 w 72"/>
              <a:gd name="T63" fmla="*/ 0 h 154"/>
              <a:gd name="T64" fmla="*/ 2147483647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95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720850" y="3422452"/>
            <a:ext cx="93663" cy="146050"/>
          </a:xfrm>
          <a:custGeom>
            <a:avLst/>
            <a:gdLst>
              <a:gd name="T0" fmla="*/ 1532309 w 214"/>
              <a:gd name="T1" fmla="*/ 60121941 h 271"/>
              <a:gd name="T2" fmla="*/ 2298683 w 214"/>
              <a:gd name="T3" fmla="*/ 52570455 h 271"/>
              <a:gd name="T4" fmla="*/ 4597365 w 214"/>
              <a:gd name="T5" fmla="*/ 42986126 h 271"/>
              <a:gd name="T6" fmla="*/ 6704783 w 214"/>
              <a:gd name="T7" fmla="*/ 34272707 h 271"/>
              <a:gd name="T8" fmla="*/ 8428795 w 214"/>
              <a:gd name="T9" fmla="*/ 32529808 h 271"/>
              <a:gd name="T10" fmla="*/ 12451489 w 214"/>
              <a:gd name="T11" fmla="*/ 32239325 h 271"/>
              <a:gd name="T12" fmla="*/ 17048854 w 214"/>
              <a:gd name="T13" fmla="*/ 32239325 h 271"/>
              <a:gd name="T14" fmla="*/ 20305613 w 214"/>
              <a:gd name="T15" fmla="*/ 31948842 h 271"/>
              <a:gd name="T16" fmla="*/ 22987264 w 214"/>
              <a:gd name="T17" fmla="*/ 30496965 h 271"/>
              <a:gd name="T18" fmla="*/ 24902978 w 214"/>
              <a:gd name="T19" fmla="*/ 27301649 h 271"/>
              <a:gd name="T20" fmla="*/ 21646657 w 214"/>
              <a:gd name="T21" fmla="*/ 21202580 h 271"/>
              <a:gd name="T22" fmla="*/ 16474184 w 214"/>
              <a:gd name="T23" fmla="*/ 16845870 h 271"/>
              <a:gd name="T24" fmla="*/ 14750172 w 214"/>
              <a:gd name="T25" fmla="*/ 14232061 h 271"/>
              <a:gd name="T26" fmla="*/ 14175501 w 214"/>
              <a:gd name="T27" fmla="*/ 11908195 h 271"/>
              <a:gd name="T28" fmla="*/ 14367204 w 214"/>
              <a:gd name="T29" fmla="*/ 9875351 h 271"/>
              <a:gd name="T30" fmla="*/ 15708248 w 214"/>
              <a:gd name="T31" fmla="*/ 8132452 h 271"/>
              <a:gd name="T32" fmla="*/ 19347537 w 214"/>
              <a:gd name="T33" fmla="*/ 5518642 h 271"/>
              <a:gd name="T34" fmla="*/ 28734408 w 214"/>
              <a:gd name="T35" fmla="*/ 871450 h 271"/>
              <a:gd name="T36" fmla="*/ 34481114 w 214"/>
              <a:gd name="T37" fmla="*/ 0 h 271"/>
              <a:gd name="T38" fmla="*/ 37929138 w 214"/>
              <a:gd name="T39" fmla="*/ 0 h 271"/>
              <a:gd name="T40" fmla="*/ 39653150 w 214"/>
              <a:gd name="T41" fmla="*/ 14232061 h 271"/>
              <a:gd name="T42" fmla="*/ 38120841 w 214"/>
              <a:gd name="T43" fmla="*/ 22364513 h 271"/>
              <a:gd name="T44" fmla="*/ 37354468 w 214"/>
              <a:gd name="T45" fmla="*/ 30496965 h 271"/>
              <a:gd name="T46" fmla="*/ 35822158 w 214"/>
              <a:gd name="T47" fmla="*/ 42986126 h 271"/>
              <a:gd name="T48" fmla="*/ 40802491 w 214"/>
              <a:gd name="T49" fmla="*/ 44728486 h 271"/>
              <a:gd name="T50" fmla="*/ 40994194 w 214"/>
              <a:gd name="T51" fmla="*/ 48213746 h 271"/>
              <a:gd name="T52" fmla="*/ 40227821 w 214"/>
              <a:gd name="T53" fmla="*/ 50537611 h 271"/>
              <a:gd name="T54" fmla="*/ 39653150 w 214"/>
              <a:gd name="T55" fmla="*/ 51409061 h 271"/>
              <a:gd name="T56" fmla="*/ 38312544 w 214"/>
              <a:gd name="T57" fmla="*/ 51699544 h 271"/>
              <a:gd name="T58" fmla="*/ 36779797 w 214"/>
              <a:gd name="T59" fmla="*/ 56927164 h 271"/>
              <a:gd name="T60" fmla="*/ 34672817 w 214"/>
              <a:gd name="T61" fmla="*/ 62155323 h 271"/>
              <a:gd name="T62" fmla="*/ 29692046 w 214"/>
              <a:gd name="T63" fmla="*/ 70578258 h 271"/>
              <a:gd name="T64" fmla="*/ 22987264 w 214"/>
              <a:gd name="T65" fmla="*/ 78710710 h 271"/>
              <a:gd name="T66" fmla="*/ 16665887 w 214"/>
              <a:gd name="T67" fmla="*/ 75806417 h 271"/>
              <a:gd name="T68" fmla="*/ 10535774 w 214"/>
              <a:gd name="T69" fmla="*/ 72030674 h 271"/>
              <a:gd name="T70" fmla="*/ 0 w 214"/>
              <a:gd name="T71" fmla="*/ 64188706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96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768475" y="3533577"/>
            <a:ext cx="71438" cy="57150"/>
          </a:xfrm>
          <a:custGeom>
            <a:avLst/>
            <a:gdLst>
              <a:gd name="T0" fmla="*/ 2147483647 w 153"/>
              <a:gd name="T1" fmla="*/ 0 h 80"/>
              <a:gd name="T2" fmla="*/ 2147483647 w 153"/>
              <a:gd name="T3" fmla="*/ 2147483647 h 80"/>
              <a:gd name="T4" fmla="*/ 2147483647 w 153"/>
              <a:gd name="T5" fmla="*/ 2147483647 h 80"/>
              <a:gd name="T6" fmla="*/ 2147483647 w 153"/>
              <a:gd name="T7" fmla="*/ 2147483647 h 80"/>
              <a:gd name="T8" fmla="*/ 2147483647 w 153"/>
              <a:gd name="T9" fmla="*/ 2147483647 h 80"/>
              <a:gd name="T10" fmla="*/ 2147483647 w 153"/>
              <a:gd name="T11" fmla="*/ 2147483647 h 80"/>
              <a:gd name="T12" fmla="*/ 2147483647 w 153"/>
              <a:gd name="T13" fmla="*/ 2147483647 h 80"/>
              <a:gd name="T14" fmla="*/ 2147483647 w 153"/>
              <a:gd name="T15" fmla="*/ 2147483647 h 80"/>
              <a:gd name="T16" fmla="*/ 2147483647 w 153"/>
              <a:gd name="T17" fmla="*/ 2147483647 h 80"/>
              <a:gd name="T18" fmla="*/ 2147483647 w 153"/>
              <a:gd name="T19" fmla="*/ 2147483647 h 80"/>
              <a:gd name="T20" fmla="*/ 2147483647 w 153"/>
              <a:gd name="T21" fmla="*/ 2147483647 h 80"/>
              <a:gd name="T22" fmla="*/ 2147483647 w 153"/>
              <a:gd name="T23" fmla="*/ 2147483647 h 80"/>
              <a:gd name="T24" fmla="*/ 2147483647 w 153"/>
              <a:gd name="T25" fmla="*/ 2147483647 h 80"/>
              <a:gd name="T26" fmla="*/ 2147483647 w 153"/>
              <a:gd name="T27" fmla="*/ 2147483647 h 80"/>
              <a:gd name="T28" fmla="*/ 2147483647 w 153"/>
              <a:gd name="T29" fmla="*/ 2147483647 h 80"/>
              <a:gd name="T30" fmla="*/ 2147483647 w 153"/>
              <a:gd name="T31" fmla="*/ 2147483647 h 80"/>
              <a:gd name="T32" fmla="*/ 2147483647 w 153"/>
              <a:gd name="T33" fmla="*/ 2147483647 h 80"/>
              <a:gd name="T34" fmla="*/ 2147483647 w 153"/>
              <a:gd name="T35" fmla="*/ 2147483647 h 80"/>
              <a:gd name="T36" fmla="*/ 2147483647 w 153"/>
              <a:gd name="T37" fmla="*/ 2147483647 h 80"/>
              <a:gd name="T38" fmla="*/ 2147483647 w 153"/>
              <a:gd name="T39" fmla="*/ 2147483647 h 80"/>
              <a:gd name="T40" fmla="*/ 2147483647 w 153"/>
              <a:gd name="T41" fmla="*/ 2147483647 h 80"/>
              <a:gd name="T42" fmla="*/ 2147483647 w 153"/>
              <a:gd name="T43" fmla="*/ 2147483647 h 80"/>
              <a:gd name="T44" fmla="*/ 2147483647 w 153"/>
              <a:gd name="T45" fmla="*/ 2147483647 h 80"/>
              <a:gd name="T46" fmla="*/ 2147483647 w 153"/>
              <a:gd name="T47" fmla="*/ 2147483647 h 80"/>
              <a:gd name="T48" fmla="*/ 2147483647 w 153"/>
              <a:gd name="T49" fmla="*/ 2147483647 h 80"/>
              <a:gd name="T50" fmla="*/ 0 w 153"/>
              <a:gd name="T51" fmla="*/ 2147483647 h 80"/>
              <a:gd name="T52" fmla="*/ 2147483647 w 153"/>
              <a:gd name="T53" fmla="*/ 2147483647 h 80"/>
              <a:gd name="T54" fmla="*/ 2147483647 w 153"/>
              <a:gd name="T55" fmla="*/ 2147483647 h 80"/>
              <a:gd name="T56" fmla="*/ 2147483647 w 153"/>
              <a:gd name="T57" fmla="*/ 2147483647 h 80"/>
              <a:gd name="T58" fmla="*/ 2147483647 w 153"/>
              <a:gd name="T59" fmla="*/ 2147483647 h 80"/>
              <a:gd name="T60" fmla="*/ 2147483647 w 153"/>
              <a:gd name="T61" fmla="*/ 2147483647 h 80"/>
              <a:gd name="T62" fmla="*/ 2147483647 w 153"/>
              <a:gd name="T63" fmla="*/ 2147483647 h 80"/>
              <a:gd name="T64" fmla="*/ 2147483647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97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00225" y="3495477"/>
            <a:ext cx="142875" cy="87312"/>
          </a:xfrm>
          <a:custGeom>
            <a:avLst/>
            <a:gdLst>
              <a:gd name="T0" fmla="*/ 0 w 332"/>
              <a:gd name="T1" fmla="*/ 20552418 h 169"/>
              <a:gd name="T2" fmla="*/ 8148609 w 332"/>
              <a:gd name="T3" fmla="*/ 26958742 h 169"/>
              <a:gd name="T4" fmla="*/ 12223128 w 332"/>
              <a:gd name="T5" fmla="*/ 28826909 h 169"/>
              <a:gd name="T6" fmla="*/ 14630486 w 332"/>
              <a:gd name="T7" fmla="*/ 29094012 h 169"/>
              <a:gd name="T8" fmla="*/ 17223323 w 332"/>
              <a:gd name="T9" fmla="*/ 28559807 h 169"/>
              <a:gd name="T10" fmla="*/ 16667746 w 332"/>
              <a:gd name="T11" fmla="*/ 38435879 h 169"/>
              <a:gd name="T12" fmla="*/ 17593851 w 332"/>
              <a:gd name="T13" fmla="*/ 41104836 h 169"/>
              <a:gd name="T14" fmla="*/ 18334477 w 332"/>
              <a:gd name="T15" fmla="*/ 43507208 h 169"/>
              <a:gd name="T16" fmla="*/ 19816160 w 332"/>
              <a:gd name="T17" fmla="*/ 44841687 h 169"/>
              <a:gd name="T18" fmla="*/ 21668371 w 332"/>
              <a:gd name="T19" fmla="*/ 45108789 h 169"/>
              <a:gd name="T20" fmla="*/ 22779525 w 332"/>
              <a:gd name="T21" fmla="*/ 44307998 h 169"/>
              <a:gd name="T22" fmla="*/ 24446257 w 332"/>
              <a:gd name="T23" fmla="*/ 41905627 h 169"/>
              <a:gd name="T24" fmla="*/ 27039094 w 332"/>
              <a:gd name="T25" fmla="*/ 36300610 h 169"/>
              <a:gd name="T26" fmla="*/ 32224337 w 332"/>
              <a:gd name="T27" fmla="*/ 30695076 h 169"/>
              <a:gd name="T28" fmla="*/ 39632320 w 332"/>
              <a:gd name="T29" fmla="*/ 25623747 h 169"/>
              <a:gd name="T30" fmla="*/ 47410831 w 332"/>
              <a:gd name="T31" fmla="*/ 21353209 h 169"/>
              <a:gd name="T32" fmla="*/ 56300066 w 332"/>
              <a:gd name="T33" fmla="*/ 17349773 h 169"/>
              <a:gd name="T34" fmla="*/ 61485740 w 332"/>
              <a:gd name="T35" fmla="*/ 12277927 h 169"/>
              <a:gd name="T36" fmla="*/ 61485740 w 332"/>
              <a:gd name="T37" fmla="*/ 5872119 h 169"/>
              <a:gd name="T38" fmla="*/ 59263431 w 332"/>
              <a:gd name="T39" fmla="*/ 533688 h 169"/>
              <a:gd name="T40" fmla="*/ 52411026 w 332"/>
              <a:gd name="T41" fmla="*/ 267102 h 169"/>
              <a:gd name="T42" fmla="*/ 43336311 w 332"/>
              <a:gd name="T43" fmla="*/ 0 h 169"/>
              <a:gd name="T44" fmla="*/ 33335492 w 332"/>
              <a:gd name="T45" fmla="*/ 267102 h 169"/>
              <a:gd name="T46" fmla="*/ 24260777 w 332"/>
              <a:gd name="T47" fmla="*/ 1067893 h 169"/>
              <a:gd name="T48" fmla="*/ 16667746 w 332"/>
              <a:gd name="T49" fmla="*/ 2668957 h 169"/>
              <a:gd name="T50" fmla="*/ 10926495 w 332"/>
              <a:gd name="T51" fmla="*/ 5071329 h 169"/>
              <a:gd name="T52" fmla="*/ 7778511 w 332"/>
              <a:gd name="T53" fmla="*/ 5872119 h 169"/>
              <a:gd name="T54" fmla="*/ 6481877 w 332"/>
              <a:gd name="T55" fmla="*/ 6139222 h 169"/>
              <a:gd name="T56" fmla="*/ 6296828 w 332"/>
              <a:gd name="T57" fmla="*/ 6940012 h 169"/>
              <a:gd name="T58" fmla="*/ 6111349 w 332"/>
              <a:gd name="T59" fmla="*/ 10142658 h 169"/>
              <a:gd name="T60" fmla="*/ 5370723 w 332"/>
              <a:gd name="T61" fmla="*/ 11744239 h 169"/>
              <a:gd name="T62" fmla="*/ 4259569 w 332"/>
              <a:gd name="T63" fmla="*/ 12277927 h 169"/>
              <a:gd name="T64" fmla="*/ 3518942 w 332"/>
              <a:gd name="T65" fmla="*/ 14680299 h 169"/>
              <a:gd name="T66" fmla="*/ 2037260 w 332"/>
              <a:gd name="T67" fmla="*/ 19217940 h 169"/>
              <a:gd name="T68" fmla="*/ 1296203 w 332"/>
              <a:gd name="T69" fmla="*/ 22153999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98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817688" y="3525639"/>
            <a:ext cx="125412" cy="122238"/>
          </a:xfrm>
          <a:custGeom>
            <a:avLst/>
            <a:gdLst>
              <a:gd name="T0" fmla="*/ 2147483647 w 286"/>
              <a:gd name="T1" fmla="*/ 2147483647 h 235"/>
              <a:gd name="T2" fmla="*/ 2147483647 w 286"/>
              <a:gd name="T3" fmla="*/ 2147483647 h 235"/>
              <a:gd name="T4" fmla="*/ 2147483647 w 286"/>
              <a:gd name="T5" fmla="*/ 2147483647 h 235"/>
              <a:gd name="T6" fmla="*/ 2147483647 w 286"/>
              <a:gd name="T7" fmla="*/ 2147483647 h 235"/>
              <a:gd name="T8" fmla="*/ 2147483647 w 286"/>
              <a:gd name="T9" fmla="*/ 2147483647 h 235"/>
              <a:gd name="T10" fmla="*/ 2147483647 w 286"/>
              <a:gd name="T11" fmla="*/ 2147483647 h 235"/>
              <a:gd name="T12" fmla="*/ 2147483647 w 286"/>
              <a:gd name="T13" fmla="*/ 2147483647 h 235"/>
              <a:gd name="T14" fmla="*/ 2147483647 w 286"/>
              <a:gd name="T15" fmla="*/ 2147483647 h 235"/>
              <a:gd name="T16" fmla="*/ 2147483647 w 286"/>
              <a:gd name="T17" fmla="*/ 2147483647 h 235"/>
              <a:gd name="T18" fmla="*/ 2147483647 w 286"/>
              <a:gd name="T19" fmla="*/ 2147483647 h 235"/>
              <a:gd name="T20" fmla="*/ 2147483647 w 286"/>
              <a:gd name="T21" fmla="*/ 2147483647 h 235"/>
              <a:gd name="T22" fmla="*/ 2147483647 w 286"/>
              <a:gd name="T23" fmla="*/ 2147483647 h 235"/>
              <a:gd name="T24" fmla="*/ 2147483647 w 286"/>
              <a:gd name="T25" fmla="*/ 2147483647 h 235"/>
              <a:gd name="T26" fmla="*/ 2147483647 w 286"/>
              <a:gd name="T27" fmla="*/ 2147483647 h 235"/>
              <a:gd name="T28" fmla="*/ 2147483647 w 286"/>
              <a:gd name="T29" fmla="*/ 2147483647 h 235"/>
              <a:gd name="T30" fmla="*/ 2147483647 w 286"/>
              <a:gd name="T31" fmla="*/ 2147483647 h 235"/>
              <a:gd name="T32" fmla="*/ 2147483647 w 286"/>
              <a:gd name="T33" fmla="*/ 2147483647 h 235"/>
              <a:gd name="T34" fmla="*/ 2147483647 w 286"/>
              <a:gd name="T35" fmla="*/ 2147483647 h 235"/>
              <a:gd name="T36" fmla="*/ 2147483647 w 286"/>
              <a:gd name="T37" fmla="*/ 2147483647 h 235"/>
              <a:gd name="T38" fmla="*/ 2147483647 w 286"/>
              <a:gd name="T39" fmla="*/ 2147483647 h 235"/>
              <a:gd name="T40" fmla="*/ 2147483647 w 286"/>
              <a:gd name="T41" fmla="*/ 2147483647 h 235"/>
              <a:gd name="T42" fmla="*/ 2147483647 w 286"/>
              <a:gd name="T43" fmla="*/ 2147483647 h 235"/>
              <a:gd name="T44" fmla="*/ 2147483647 w 286"/>
              <a:gd name="T45" fmla="*/ 2147483647 h 235"/>
              <a:gd name="T46" fmla="*/ 2147483647 w 286"/>
              <a:gd name="T47" fmla="*/ 2147483647 h 235"/>
              <a:gd name="T48" fmla="*/ 2147483647 w 286"/>
              <a:gd name="T49" fmla="*/ 2147483647 h 235"/>
              <a:gd name="T50" fmla="*/ 2147483647 w 286"/>
              <a:gd name="T51" fmla="*/ 2147483647 h 235"/>
              <a:gd name="T52" fmla="*/ 2147483647 w 286"/>
              <a:gd name="T53" fmla="*/ 2147483647 h 235"/>
              <a:gd name="T54" fmla="*/ 2147483647 w 286"/>
              <a:gd name="T55" fmla="*/ 2147483647 h 235"/>
              <a:gd name="T56" fmla="*/ 0 w 286"/>
              <a:gd name="T57" fmla="*/ 2147483647 h 235"/>
              <a:gd name="T58" fmla="*/ 2147483647 w 286"/>
              <a:gd name="T59" fmla="*/ 2147483647 h 235"/>
              <a:gd name="T60" fmla="*/ 2147483647 w 286"/>
              <a:gd name="T61" fmla="*/ 2147483647 h 235"/>
              <a:gd name="T62" fmla="*/ 2147483647 w 286"/>
              <a:gd name="T63" fmla="*/ 2147483647 h 235"/>
              <a:gd name="T64" fmla="*/ 2147483647 w 286"/>
              <a:gd name="T65" fmla="*/ 2147483647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99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868488" y="3638352"/>
            <a:ext cx="84137" cy="100012"/>
          </a:xfrm>
          <a:custGeom>
            <a:avLst/>
            <a:gdLst>
              <a:gd name="T0" fmla="*/ 31668346 w 205"/>
              <a:gd name="T1" fmla="*/ 50723364 h 191"/>
              <a:gd name="T2" fmla="*/ 29478321 w 205"/>
              <a:gd name="T3" fmla="*/ 50723364 h 191"/>
              <a:gd name="T4" fmla="*/ 26614790 w 205"/>
              <a:gd name="T5" fmla="*/ 50723364 h 191"/>
              <a:gd name="T6" fmla="*/ 24256492 w 205"/>
              <a:gd name="T7" fmla="*/ 49352518 h 191"/>
              <a:gd name="T8" fmla="*/ 22909069 w 205"/>
              <a:gd name="T9" fmla="*/ 47433440 h 191"/>
              <a:gd name="T10" fmla="*/ 21729919 w 205"/>
              <a:gd name="T11" fmla="*/ 44691750 h 191"/>
              <a:gd name="T12" fmla="*/ 20213812 w 205"/>
              <a:gd name="T13" fmla="*/ 40304836 h 191"/>
              <a:gd name="T14" fmla="*/ 18529430 w 205"/>
              <a:gd name="T15" fmla="*/ 35917922 h 191"/>
              <a:gd name="T16" fmla="*/ 16676364 w 205"/>
              <a:gd name="T17" fmla="*/ 33175708 h 191"/>
              <a:gd name="T18" fmla="*/ 15665489 w 205"/>
              <a:gd name="T19" fmla="*/ 34547077 h 191"/>
              <a:gd name="T20" fmla="*/ 15160256 w 205"/>
              <a:gd name="T21" fmla="*/ 37014389 h 191"/>
              <a:gd name="T22" fmla="*/ 14149791 w 205"/>
              <a:gd name="T23" fmla="*/ 35643544 h 191"/>
              <a:gd name="T24" fmla="*/ 12128451 w 205"/>
              <a:gd name="T25" fmla="*/ 30982251 h 191"/>
              <a:gd name="T26" fmla="*/ 9433194 w 205"/>
              <a:gd name="T27" fmla="*/ 23853647 h 191"/>
              <a:gd name="T28" fmla="*/ 6906211 w 205"/>
              <a:gd name="T29" fmla="*/ 18370267 h 191"/>
              <a:gd name="T30" fmla="*/ 5221830 w 205"/>
              <a:gd name="T31" fmla="*/ 15902432 h 191"/>
              <a:gd name="T32" fmla="*/ 4379639 w 205"/>
              <a:gd name="T33" fmla="*/ 16450665 h 191"/>
              <a:gd name="T34" fmla="*/ 4884871 w 205"/>
              <a:gd name="T35" fmla="*/ 18918500 h 191"/>
              <a:gd name="T36" fmla="*/ 5727062 w 205"/>
              <a:gd name="T37" fmla="*/ 21386336 h 191"/>
              <a:gd name="T38" fmla="*/ 6906211 w 205"/>
              <a:gd name="T39" fmla="*/ 23031036 h 191"/>
              <a:gd name="T40" fmla="*/ 7748812 w 205"/>
              <a:gd name="T41" fmla="*/ 28788795 h 191"/>
              <a:gd name="T42" fmla="*/ 2190025 w 205"/>
              <a:gd name="T43" fmla="*/ 26869716 h 191"/>
              <a:gd name="T44" fmla="*/ 673917 w 205"/>
              <a:gd name="T45" fmla="*/ 23031036 h 191"/>
              <a:gd name="T46" fmla="*/ 0 w 205"/>
              <a:gd name="T47" fmla="*/ 16450665 h 191"/>
              <a:gd name="T48" fmla="*/ 0 w 205"/>
              <a:gd name="T49" fmla="*/ 10419051 h 191"/>
              <a:gd name="T50" fmla="*/ 505232 w 205"/>
              <a:gd name="T51" fmla="*/ 7676837 h 191"/>
              <a:gd name="T52" fmla="*/ 1347423 w 205"/>
              <a:gd name="T53" fmla="*/ 6032137 h 191"/>
              <a:gd name="T54" fmla="*/ 2358299 w 205"/>
              <a:gd name="T55" fmla="*/ 3564302 h 191"/>
              <a:gd name="T56" fmla="*/ 3368763 w 205"/>
              <a:gd name="T57" fmla="*/ 1096467 h 191"/>
              <a:gd name="T58" fmla="*/ 4716597 w 205"/>
              <a:gd name="T59" fmla="*/ 0 h 191"/>
              <a:gd name="T60" fmla="*/ 21224276 w 205"/>
              <a:gd name="T61" fmla="*/ 1645224 h 191"/>
              <a:gd name="T62" fmla="*/ 21392961 w 205"/>
              <a:gd name="T63" fmla="*/ 5757759 h 191"/>
              <a:gd name="T64" fmla="*/ 21898193 w 205"/>
              <a:gd name="T65" fmla="*/ 10144673 h 191"/>
              <a:gd name="T66" fmla="*/ 24088218 w 205"/>
              <a:gd name="T67" fmla="*/ 19192879 h 191"/>
              <a:gd name="T68" fmla="*/ 27793940 w 205"/>
              <a:gd name="T69" fmla="*/ 27966706 h 191"/>
              <a:gd name="T70" fmla="*/ 29815280 w 205"/>
              <a:gd name="T71" fmla="*/ 32079242 h 191"/>
              <a:gd name="T72" fmla="*/ 32341852 w 205"/>
              <a:gd name="T73" fmla="*/ 35643544 h 191"/>
              <a:gd name="T74" fmla="*/ 31836620 w 205"/>
              <a:gd name="T75" fmla="*/ 39207846 h 191"/>
              <a:gd name="T76" fmla="*/ 31836620 w 205"/>
              <a:gd name="T77" fmla="*/ 42772148 h 191"/>
              <a:gd name="T78" fmla="*/ 32341852 w 205"/>
              <a:gd name="T79" fmla="*/ 52368587 h 191"/>
              <a:gd name="T80" fmla="*/ 34531877 w 205"/>
              <a:gd name="T81" fmla="*/ 50723364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00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949450" y="3692327"/>
            <a:ext cx="142875" cy="79375"/>
          </a:xfrm>
          <a:custGeom>
            <a:avLst/>
            <a:gdLst>
              <a:gd name="T0" fmla="*/ 565854 w 329"/>
              <a:gd name="T1" fmla="*/ 15408028 h 154"/>
              <a:gd name="T2" fmla="*/ 0 w 329"/>
              <a:gd name="T3" fmla="*/ 11157857 h 154"/>
              <a:gd name="T4" fmla="*/ 377381 w 329"/>
              <a:gd name="T5" fmla="*/ 8235414 h 154"/>
              <a:gd name="T6" fmla="*/ 3206219 w 329"/>
              <a:gd name="T7" fmla="*/ 8766814 h 154"/>
              <a:gd name="T8" fmla="*/ 6789385 w 329"/>
              <a:gd name="T9" fmla="*/ 10891899 h 154"/>
              <a:gd name="T10" fmla="*/ 9240842 w 329"/>
              <a:gd name="T11" fmla="*/ 11423300 h 154"/>
              <a:gd name="T12" fmla="*/ 12635535 w 329"/>
              <a:gd name="T13" fmla="*/ 11423300 h 154"/>
              <a:gd name="T14" fmla="*/ 16218701 w 329"/>
              <a:gd name="T15" fmla="*/ 10360499 h 154"/>
              <a:gd name="T16" fmla="*/ 20745103 w 329"/>
              <a:gd name="T17" fmla="*/ 7969972 h 154"/>
              <a:gd name="T18" fmla="*/ 26402779 w 329"/>
              <a:gd name="T19" fmla="*/ 3453328 h 154"/>
              <a:gd name="T20" fmla="*/ 30551799 w 329"/>
              <a:gd name="T21" fmla="*/ 1062800 h 154"/>
              <a:gd name="T22" fmla="*/ 33757584 w 329"/>
              <a:gd name="T23" fmla="*/ 0 h 154"/>
              <a:gd name="T24" fmla="*/ 38283986 w 329"/>
              <a:gd name="T25" fmla="*/ 0 h 154"/>
              <a:gd name="T26" fmla="*/ 42244533 w 329"/>
              <a:gd name="T27" fmla="*/ 1594200 h 154"/>
              <a:gd name="T28" fmla="*/ 45827699 w 329"/>
              <a:gd name="T29" fmla="*/ 3984728 h 154"/>
              <a:gd name="T30" fmla="*/ 48845011 w 329"/>
              <a:gd name="T31" fmla="*/ 7438571 h 154"/>
              <a:gd name="T32" fmla="*/ 52805558 w 329"/>
              <a:gd name="T33" fmla="*/ 12220142 h 154"/>
              <a:gd name="T34" fmla="*/ 56954578 w 329"/>
              <a:gd name="T35" fmla="*/ 16205386 h 154"/>
              <a:gd name="T36" fmla="*/ 60160363 w 329"/>
              <a:gd name="T37" fmla="*/ 17799071 h 154"/>
              <a:gd name="T38" fmla="*/ 59029089 w 329"/>
              <a:gd name="T39" fmla="*/ 21784314 h 154"/>
              <a:gd name="T40" fmla="*/ 55257015 w 329"/>
              <a:gd name="T41" fmla="*/ 28160085 h 154"/>
              <a:gd name="T42" fmla="*/ 52239703 w 329"/>
              <a:gd name="T43" fmla="*/ 36660942 h 154"/>
              <a:gd name="T44" fmla="*/ 49976720 w 329"/>
              <a:gd name="T45" fmla="*/ 40646185 h 154"/>
              <a:gd name="T46" fmla="*/ 47713302 w 329"/>
              <a:gd name="T47" fmla="*/ 38786542 h 154"/>
              <a:gd name="T48" fmla="*/ 45261845 w 329"/>
              <a:gd name="T49" fmla="*/ 36129541 h 154"/>
              <a:gd name="T50" fmla="*/ 43375808 w 329"/>
              <a:gd name="T51" fmla="*/ 33473056 h 154"/>
              <a:gd name="T52" fmla="*/ 43375808 w 329"/>
              <a:gd name="T53" fmla="*/ 30285170 h 154"/>
              <a:gd name="T54" fmla="*/ 44319043 w 329"/>
              <a:gd name="T55" fmla="*/ 26565885 h 154"/>
              <a:gd name="T56" fmla="*/ 46958974 w 329"/>
              <a:gd name="T57" fmla="*/ 22846599 h 154"/>
              <a:gd name="T58" fmla="*/ 43941662 w 329"/>
              <a:gd name="T59" fmla="*/ 18065028 h 154"/>
              <a:gd name="T60" fmla="*/ 39038314 w 329"/>
              <a:gd name="T61" fmla="*/ 14611185 h 154"/>
              <a:gd name="T62" fmla="*/ 36775330 w 329"/>
              <a:gd name="T63" fmla="*/ 10891899 h 154"/>
              <a:gd name="T64" fmla="*/ 33757584 w 329"/>
              <a:gd name="T65" fmla="*/ 9032256 h 154"/>
              <a:gd name="T66" fmla="*/ 30740273 w 329"/>
              <a:gd name="T67" fmla="*/ 10891899 h 154"/>
              <a:gd name="T68" fmla="*/ 28288816 w 329"/>
              <a:gd name="T69" fmla="*/ 13282942 h 154"/>
              <a:gd name="T70" fmla="*/ 26402779 w 329"/>
              <a:gd name="T71" fmla="*/ 16205386 h 154"/>
              <a:gd name="T72" fmla="*/ 24894123 w 329"/>
              <a:gd name="T73" fmla="*/ 19658713 h 154"/>
              <a:gd name="T74" fmla="*/ 24139795 w 329"/>
              <a:gd name="T75" fmla="*/ 23377999 h 154"/>
              <a:gd name="T76" fmla="*/ 23196560 w 329"/>
              <a:gd name="T77" fmla="*/ 28956928 h 154"/>
              <a:gd name="T78" fmla="*/ 23008086 w 329"/>
              <a:gd name="T79" fmla="*/ 33207614 h 154"/>
              <a:gd name="T80" fmla="*/ 22253758 w 329"/>
              <a:gd name="T81" fmla="*/ 34269899 h 154"/>
              <a:gd name="T82" fmla="*/ 20367722 w 329"/>
              <a:gd name="T83" fmla="*/ 35864099 h 154"/>
              <a:gd name="T84" fmla="*/ 18104738 w 329"/>
              <a:gd name="T85" fmla="*/ 35864099 h 154"/>
              <a:gd name="T86" fmla="*/ 15652847 w 329"/>
              <a:gd name="T87" fmla="*/ 34269899 h 154"/>
              <a:gd name="T88" fmla="*/ 12447062 w 329"/>
              <a:gd name="T89" fmla="*/ 30816571 h 154"/>
              <a:gd name="T90" fmla="*/ 9052369 w 329"/>
              <a:gd name="T91" fmla="*/ 24972200 h 154"/>
              <a:gd name="T92" fmla="*/ 6223531 w 329"/>
              <a:gd name="T93" fmla="*/ 21252914 h 154"/>
              <a:gd name="T94" fmla="*/ 4149021 w 329"/>
              <a:gd name="T95" fmla="*/ 19658713 h 154"/>
              <a:gd name="T96" fmla="*/ 565854 w 329"/>
              <a:gd name="T97" fmla="*/ 19393271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01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630488" y="4946452"/>
            <a:ext cx="133350" cy="155575"/>
          </a:xfrm>
          <a:custGeom>
            <a:avLst/>
            <a:gdLst>
              <a:gd name="T0" fmla="*/ 56402692 w 306"/>
              <a:gd name="T1" fmla="*/ 51029662 h 293"/>
              <a:gd name="T2" fmla="*/ 56212690 w 306"/>
              <a:gd name="T3" fmla="*/ 52157448 h 293"/>
              <a:gd name="T4" fmla="*/ 55263116 w 306"/>
              <a:gd name="T5" fmla="*/ 54694966 h 293"/>
              <a:gd name="T6" fmla="*/ 53553970 w 306"/>
              <a:gd name="T7" fmla="*/ 56104699 h 293"/>
              <a:gd name="T8" fmla="*/ 51654822 w 306"/>
              <a:gd name="T9" fmla="*/ 56668592 h 293"/>
              <a:gd name="T10" fmla="*/ 49945676 w 306"/>
              <a:gd name="T11" fmla="*/ 58359740 h 293"/>
              <a:gd name="T12" fmla="*/ 48046528 w 306"/>
              <a:gd name="T13" fmla="*/ 64562563 h 293"/>
              <a:gd name="T14" fmla="*/ 45957814 w 306"/>
              <a:gd name="T15" fmla="*/ 71610695 h 293"/>
              <a:gd name="T16" fmla="*/ 43868664 w 306"/>
              <a:gd name="T17" fmla="*/ 75275999 h 293"/>
              <a:gd name="T18" fmla="*/ 41969516 w 306"/>
              <a:gd name="T19" fmla="*/ 76967678 h 293"/>
              <a:gd name="T20" fmla="*/ 37981653 w 306"/>
              <a:gd name="T21" fmla="*/ 79222719 h 293"/>
              <a:gd name="T22" fmla="*/ 31145069 w 306"/>
              <a:gd name="T23" fmla="*/ 81760238 h 293"/>
              <a:gd name="T24" fmla="*/ 26397199 w 306"/>
              <a:gd name="T25" fmla="*/ 82606077 h 293"/>
              <a:gd name="T26" fmla="*/ 23358475 w 306"/>
              <a:gd name="T27" fmla="*/ 82606077 h 293"/>
              <a:gd name="T28" fmla="*/ 20130185 w 306"/>
              <a:gd name="T29" fmla="*/ 81760238 h 293"/>
              <a:gd name="T30" fmla="*/ 17471465 w 306"/>
              <a:gd name="T31" fmla="*/ 80632452 h 293"/>
              <a:gd name="T32" fmla="*/ 15192749 w 306"/>
              <a:gd name="T33" fmla="*/ 78376880 h 293"/>
              <a:gd name="T34" fmla="*/ 13483602 w 306"/>
              <a:gd name="T35" fmla="*/ 75557946 h 293"/>
              <a:gd name="T36" fmla="*/ 190002 w 306"/>
              <a:gd name="T37" fmla="*/ 66536189 h 293"/>
              <a:gd name="T38" fmla="*/ 0 w 306"/>
              <a:gd name="T39" fmla="*/ 24810230 h 293"/>
              <a:gd name="T40" fmla="*/ 190002 w 306"/>
              <a:gd name="T41" fmla="*/ 13814848 h 293"/>
              <a:gd name="T42" fmla="*/ 759572 w 306"/>
              <a:gd name="T43" fmla="*/ 9867597 h 293"/>
              <a:gd name="T44" fmla="*/ 2089150 w 306"/>
              <a:gd name="T45" fmla="*/ 5920346 h 293"/>
              <a:gd name="T46" fmla="*/ 3798296 w 306"/>
              <a:gd name="T47" fmla="*/ 2255572 h 293"/>
              <a:gd name="T48" fmla="*/ 7786158 w 306"/>
              <a:gd name="T49" fmla="*/ 563893 h 293"/>
              <a:gd name="T50" fmla="*/ 10065310 w 306"/>
              <a:gd name="T51" fmla="*/ 0 h 293"/>
              <a:gd name="T52" fmla="*/ 13673169 w 306"/>
              <a:gd name="T53" fmla="*/ 1691679 h 293"/>
              <a:gd name="T54" fmla="*/ 15192749 w 306"/>
              <a:gd name="T55" fmla="*/ 1973626 h 293"/>
              <a:gd name="T56" fmla="*/ 15952321 w 306"/>
              <a:gd name="T57" fmla="*/ 1127786 h 293"/>
              <a:gd name="T58" fmla="*/ 16521891 w 306"/>
              <a:gd name="T59" fmla="*/ 1409733 h 293"/>
              <a:gd name="T60" fmla="*/ 17091897 w 306"/>
              <a:gd name="T61" fmla="*/ 3101412 h 293"/>
              <a:gd name="T62" fmla="*/ 18801043 w 306"/>
              <a:gd name="T63" fmla="*/ 5356453 h 293"/>
              <a:gd name="T64" fmla="*/ 22978907 w 306"/>
              <a:gd name="T65" fmla="*/ 8739811 h 293"/>
              <a:gd name="T66" fmla="*/ 28106345 w 306"/>
              <a:gd name="T67" fmla="*/ 11559276 h 293"/>
              <a:gd name="T68" fmla="*/ 34563361 w 306"/>
              <a:gd name="T69" fmla="*/ 16633782 h 293"/>
              <a:gd name="T70" fmla="*/ 39880801 w 306"/>
              <a:gd name="T71" fmla="*/ 22272712 h 293"/>
              <a:gd name="T72" fmla="*/ 45767812 w 306"/>
              <a:gd name="T73" fmla="*/ 28756950 h 293"/>
              <a:gd name="T74" fmla="*/ 49566108 w 306"/>
              <a:gd name="T75" fmla="*/ 32986148 h 293"/>
              <a:gd name="T76" fmla="*/ 50515682 w 306"/>
              <a:gd name="T77" fmla="*/ 34959773 h 293"/>
              <a:gd name="T78" fmla="*/ 53174402 w 306"/>
              <a:gd name="T79" fmla="*/ 38060654 h 293"/>
              <a:gd name="T80" fmla="*/ 56782696 w 306"/>
              <a:gd name="T81" fmla="*/ 42571798 h 293"/>
              <a:gd name="T82" fmla="*/ 58111838 w 306"/>
              <a:gd name="T83" fmla="*/ 45391263 h 293"/>
              <a:gd name="T84" fmla="*/ 57731834 w 306"/>
              <a:gd name="T85" fmla="*/ 46800464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02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176713" y="1563489"/>
            <a:ext cx="236537" cy="92075"/>
          </a:xfrm>
          <a:custGeom>
            <a:avLst/>
            <a:gdLst>
              <a:gd name="T0" fmla="*/ 2147483647 w 546"/>
              <a:gd name="T1" fmla="*/ 2147483647 h 173"/>
              <a:gd name="T2" fmla="*/ 2147483647 w 546"/>
              <a:gd name="T3" fmla="*/ 2147483647 h 173"/>
              <a:gd name="T4" fmla="*/ 2147483647 w 546"/>
              <a:gd name="T5" fmla="*/ 2147483647 h 173"/>
              <a:gd name="T6" fmla="*/ 2147483647 w 546"/>
              <a:gd name="T7" fmla="*/ 2147483647 h 173"/>
              <a:gd name="T8" fmla="*/ 2147483647 w 546"/>
              <a:gd name="T9" fmla="*/ 2147483647 h 173"/>
              <a:gd name="T10" fmla="*/ 2147483647 w 546"/>
              <a:gd name="T11" fmla="*/ 2147483647 h 173"/>
              <a:gd name="T12" fmla="*/ 2147483647 w 546"/>
              <a:gd name="T13" fmla="*/ 2147483647 h 173"/>
              <a:gd name="T14" fmla="*/ 2147483647 w 546"/>
              <a:gd name="T15" fmla="*/ 2147483647 h 173"/>
              <a:gd name="T16" fmla="*/ 2147483647 w 546"/>
              <a:gd name="T17" fmla="*/ 2147483647 h 173"/>
              <a:gd name="T18" fmla="*/ 2147483647 w 546"/>
              <a:gd name="T19" fmla="*/ 2147483647 h 173"/>
              <a:gd name="T20" fmla="*/ 2147483647 w 546"/>
              <a:gd name="T21" fmla="*/ 2147483647 h 173"/>
              <a:gd name="T22" fmla="*/ 2147483647 w 546"/>
              <a:gd name="T23" fmla="*/ 2147483647 h 173"/>
              <a:gd name="T24" fmla="*/ 2147483647 w 546"/>
              <a:gd name="T25" fmla="*/ 2147483647 h 173"/>
              <a:gd name="T26" fmla="*/ 2147483647 w 546"/>
              <a:gd name="T27" fmla="*/ 2147483647 h 173"/>
              <a:gd name="T28" fmla="*/ 2147483647 w 546"/>
              <a:gd name="T29" fmla="*/ 0 h 173"/>
              <a:gd name="T30" fmla="*/ 2147483647 w 546"/>
              <a:gd name="T31" fmla="*/ 2147483647 h 173"/>
              <a:gd name="T32" fmla="*/ 2147483647 w 546"/>
              <a:gd name="T33" fmla="*/ 2147483647 h 173"/>
              <a:gd name="T34" fmla="*/ 2147483647 w 546"/>
              <a:gd name="T35" fmla="*/ 2147483647 h 173"/>
              <a:gd name="T36" fmla="*/ 2147483647 w 546"/>
              <a:gd name="T37" fmla="*/ 2147483647 h 173"/>
              <a:gd name="T38" fmla="*/ 2147483647 w 546"/>
              <a:gd name="T39" fmla="*/ 2147483647 h 173"/>
              <a:gd name="T40" fmla="*/ 2147483647 w 546"/>
              <a:gd name="T41" fmla="*/ 2147483647 h 173"/>
              <a:gd name="T42" fmla="*/ 2147483647 w 546"/>
              <a:gd name="T43" fmla="*/ 2147483647 h 173"/>
              <a:gd name="T44" fmla="*/ 2147483647 w 546"/>
              <a:gd name="T45" fmla="*/ 2147483647 h 173"/>
              <a:gd name="T46" fmla="*/ 2147483647 w 546"/>
              <a:gd name="T47" fmla="*/ 2147483647 h 173"/>
              <a:gd name="T48" fmla="*/ 2147483647 w 546"/>
              <a:gd name="T49" fmla="*/ 2147483647 h 173"/>
              <a:gd name="T50" fmla="*/ 2147483647 w 546"/>
              <a:gd name="T51" fmla="*/ 2147483647 h 173"/>
              <a:gd name="T52" fmla="*/ 2147483647 w 546"/>
              <a:gd name="T53" fmla="*/ 2147483647 h 173"/>
              <a:gd name="T54" fmla="*/ 2147483647 w 546"/>
              <a:gd name="T55" fmla="*/ 2147483647 h 173"/>
              <a:gd name="T56" fmla="*/ 2147483647 w 546"/>
              <a:gd name="T57" fmla="*/ 2147483647 h 173"/>
              <a:gd name="T58" fmla="*/ 2147483647 w 546"/>
              <a:gd name="T59" fmla="*/ 2147483647 h 173"/>
              <a:gd name="T60" fmla="*/ 2147483647 w 546"/>
              <a:gd name="T61" fmla="*/ 2147483647 h 173"/>
              <a:gd name="T62" fmla="*/ 2147483647 w 546"/>
              <a:gd name="T63" fmla="*/ 2147483647 h 173"/>
              <a:gd name="T64" fmla="*/ 2147483647 w 546"/>
              <a:gd name="T65" fmla="*/ 2147483647 h 173"/>
              <a:gd name="T66" fmla="*/ 2147483647 w 546"/>
              <a:gd name="T67" fmla="*/ 2147483647 h 173"/>
              <a:gd name="T68" fmla="*/ 2147483647 w 546"/>
              <a:gd name="T69" fmla="*/ 2147483647 h 173"/>
              <a:gd name="T70" fmla="*/ 2147483647 w 546"/>
              <a:gd name="T71" fmla="*/ 2147483647 h 173"/>
              <a:gd name="T72" fmla="*/ 2147483647 w 546"/>
              <a:gd name="T73" fmla="*/ 2147483647 h 173"/>
              <a:gd name="T74" fmla="*/ 2147483647 w 546"/>
              <a:gd name="T75" fmla="*/ 2147483647 h 173"/>
              <a:gd name="T76" fmla="*/ 2147483647 w 546"/>
              <a:gd name="T77" fmla="*/ 2147483647 h 173"/>
              <a:gd name="T78" fmla="*/ 2147483647 w 546"/>
              <a:gd name="T79" fmla="*/ 2147483647 h 173"/>
              <a:gd name="T80" fmla="*/ 2147483647 w 546"/>
              <a:gd name="T81" fmla="*/ 2147483647 h 173"/>
              <a:gd name="T82" fmla="*/ 2147483647 w 546"/>
              <a:gd name="T83" fmla="*/ 2147483647 h 173"/>
              <a:gd name="T84" fmla="*/ 2147483647 w 546"/>
              <a:gd name="T85" fmla="*/ 2147483647 h 173"/>
              <a:gd name="T86" fmla="*/ 2147483647 w 546"/>
              <a:gd name="T87" fmla="*/ 2147483647 h 173"/>
              <a:gd name="T88" fmla="*/ 2147483647 w 546"/>
              <a:gd name="T89" fmla="*/ 2147483647 h 173"/>
              <a:gd name="T90" fmla="*/ 2147483647 w 546"/>
              <a:gd name="T91" fmla="*/ 2147483647 h 173"/>
              <a:gd name="T92" fmla="*/ 2147483647 w 546"/>
              <a:gd name="T93" fmla="*/ 2147483647 h 173"/>
              <a:gd name="T94" fmla="*/ 2147483647 w 546"/>
              <a:gd name="T95" fmla="*/ 2147483647 h 173"/>
              <a:gd name="T96" fmla="*/ 2147483647 w 546"/>
              <a:gd name="T97" fmla="*/ 2147483647 h 173"/>
              <a:gd name="T98" fmla="*/ 2147483647 w 546"/>
              <a:gd name="T99" fmla="*/ 2147483647 h 173"/>
              <a:gd name="T100" fmla="*/ 2147483647 w 546"/>
              <a:gd name="T101" fmla="*/ 214748364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03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103688" y="1793677"/>
            <a:ext cx="449262" cy="361950"/>
          </a:xfrm>
          <a:custGeom>
            <a:avLst/>
            <a:gdLst>
              <a:gd name="T0" fmla="*/ 45045772 w 1037"/>
              <a:gd name="T1" fmla="*/ 171155139 h 690"/>
              <a:gd name="T2" fmla="*/ 29091989 w 1037"/>
              <a:gd name="T3" fmla="*/ 187940177 h 690"/>
              <a:gd name="T4" fmla="*/ 6005901 w 1037"/>
              <a:gd name="T5" fmla="*/ 179960491 h 690"/>
              <a:gd name="T6" fmla="*/ 12575437 w 1037"/>
              <a:gd name="T7" fmla="*/ 174456753 h 690"/>
              <a:gd name="T8" fmla="*/ 3378346 w 1037"/>
              <a:gd name="T9" fmla="*/ 164000594 h 690"/>
              <a:gd name="T10" fmla="*/ 8258276 w 1037"/>
              <a:gd name="T11" fmla="*/ 163725197 h 690"/>
              <a:gd name="T12" fmla="*/ 12575437 w 1037"/>
              <a:gd name="T13" fmla="*/ 156020383 h 690"/>
              <a:gd name="T14" fmla="*/ 1501584 w 1037"/>
              <a:gd name="T15" fmla="*/ 150242298 h 690"/>
              <a:gd name="T16" fmla="*/ 13888998 w 1037"/>
              <a:gd name="T17" fmla="*/ 143913418 h 690"/>
              <a:gd name="T18" fmla="*/ 0 w 1037"/>
              <a:gd name="T19" fmla="*/ 137309142 h 690"/>
              <a:gd name="T20" fmla="*/ 3753959 w 1037"/>
              <a:gd name="T21" fmla="*/ 125477049 h 690"/>
              <a:gd name="T22" fmla="*/ 6944715 w 1037"/>
              <a:gd name="T23" fmla="*/ 126852984 h 690"/>
              <a:gd name="T24" fmla="*/ 14452200 w 1037"/>
              <a:gd name="T25" fmla="*/ 123550846 h 690"/>
              <a:gd name="T26" fmla="*/ 17267344 w 1037"/>
              <a:gd name="T27" fmla="*/ 116671697 h 690"/>
              <a:gd name="T28" fmla="*/ 24399649 w 1037"/>
              <a:gd name="T29" fmla="*/ 112543894 h 690"/>
              <a:gd name="T30" fmla="*/ 41291813 w 1037"/>
              <a:gd name="T31" fmla="*/ 105114477 h 690"/>
              <a:gd name="T32" fmla="*/ 42605807 w 1037"/>
              <a:gd name="T33" fmla="*/ 93282383 h 690"/>
              <a:gd name="T34" fmla="*/ 53116459 w 1037"/>
              <a:gd name="T35" fmla="*/ 89429977 h 690"/>
              <a:gd name="T36" fmla="*/ 52928869 w 1037"/>
              <a:gd name="T37" fmla="*/ 85302173 h 690"/>
              <a:gd name="T38" fmla="*/ 55931603 w 1037"/>
              <a:gd name="T39" fmla="*/ 78423025 h 690"/>
              <a:gd name="T40" fmla="*/ 62876318 w 1037"/>
              <a:gd name="T41" fmla="*/ 66865804 h 690"/>
              <a:gd name="T42" fmla="*/ 64377902 w 1037"/>
              <a:gd name="T43" fmla="*/ 62188256 h 690"/>
              <a:gd name="T44" fmla="*/ 73199380 w 1037"/>
              <a:gd name="T45" fmla="*/ 55033711 h 690"/>
              <a:gd name="T46" fmla="*/ 72636178 w 1037"/>
              <a:gd name="T47" fmla="*/ 43201618 h 690"/>
              <a:gd name="T48" fmla="*/ 70008623 w 1037"/>
              <a:gd name="T49" fmla="*/ 39073814 h 690"/>
              <a:gd name="T50" fmla="*/ 62688728 w 1037"/>
              <a:gd name="T51" fmla="*/ 42375952 h 690"/>
              <a:gd name="T52" fmla="*/ 73199380 w 1037"/>
              <a:gd name="T53" fmla="*/ 28342259 h 690"/>
              <a:gd name="T54" fmla="*/ 77140928 w 1037"/>
              <a:gd name="T55" fmla="*/ 26416055 h 690"/>
              <a:gd name="T56" fmla="*/ 86900788 w 1037"/>
              <a:gd name="T57" fmla="*/ 31369000 h 690"/>
              <a:gd name="T58" fmla="*/ 87463557 w 1037"/>
              <a:gd name="T59" fmla="*/ 25040121 h 690"/>
              <a:gd name="T60" fmla="*/ 104731334 w 1037"/>
              <a:gd name="T61" fmla="*/ 16785038 h 690"/>
              <a:gd name="T62" fmla="*/ 110924824 w 1037"/>
              <a:gd name="T63" fmla="*/ 17335831 h 690"/>
              <a:gd name="T64" fmla="*/ 121060296 w 1037"/>
              <a:gd name="T65" fmla="*/ 15134231 h 690"/>
              <a:gd name="T66" fmla="*/ 121060296 w 1037"/>
              <a:gd name="T67" fmla="*/ 9080748 h 690"/>
              <a:gd name="T68" fmla="*/ 131195335 w 1037"/>
              <a:gd name="T69" fmla="*/ 3577010 h 690"/>
              <a:gd name="T70" fmla="*/ 132321739 w 1037"/>
              <a:gd name="T71" fmla="*/ 7979686 h 690"/>
              <a:gd name="T72" fmla="*/ 133635300 w 1037"/>
              <a:gd name="T73" fmla="*/ 11006952 h 690"/>
              <a:gd name="T74" fmla="*/ 142269188 w 1037"/>
              <a:gd name="T75" fmla="*/ 3302138 h 690"/>
              <a:gd name="T76" fmla="*/ 153343042 w 1037"/>
              <a:gd name="T77" fmla="*/ 1650807 h 690"/>
              <a:gd name="T78" fmla="*/ 158410561 w 1037"/>
              <a:gd name="T79" fmla="*/ 2201600 h 690"/>
              <a:gd name="T80" fmla="*/ 161788907 w 1037"/>
              <a:gd name="T81" fmla="*/ 3026741 h 690"/>
              <a:gd name="T82" fmla="*/ 173425963 w 1037"/>
              <a:gd name="T83" fmla="*/ 1650807 h 690"/>
              <a:gd name="T84" fmla="*/ 194634855 w 1037"/>
              <a:gd name="T85" fmla="*/ 11832093 h 690"/>
              <a:gd name="T86" fmla="*/ 188628954 w 1037"/>
              <a:gd name="T87" fmla="*/ 21738507 h 690"/>
              <a:gd name="T88" fmla="*/ 174551934 w 1037"/>
              <a:gd name="T89" fmla="*/ 15134231 h 690"/>
              <a:gd name="T90" fmla="*/ 163853693 w 1037"/>
              <a:gd name="T91" fmla="*/ 20362573 h 690"/>
              <a:gd name="T92" fmla="*/ 159161353 w 1037"/>
              <a:gd name="T93" fmla="*/ 31919793 h 690"/>
              <a:gd name="T94" fmla="*/ 152216637 w 1037"/>
              <a:gd name="T95" fmla="*/ 30543859 h 690"/>
              <a:gd name="T96" fmla="*/ 139829223 w 1037"/>
              <a:gd name="T97" fmla="*/ 35221407 h 690"/>
              <a:gd name="T98" fmla="*/ 130256953 w 1037"/>
              <a:gd name="T99" fmla="*/ 25315517 h 690"/>
              <a:gd name="T100" fmla="*/ 116367956 w 1037"/>
              <a:gd name="T101" fmla="*/ 30818731 h 690"/>
              <a:gd name="T102" fmla="*/ 100226583 w 1037"/>
              <a:gd name="T103" fmla="*/ 36872738 h 690"/>
              <a:gd name="T104" fmla="*/ 91217515 w 1037"/>
              <a:gd name="T105" fmla="*/ 57785580 h 690"/>
              <a:gd name="T106" fmla="*/ 80706864 w 1037"/>
              <a:gd name="T107" fmla="*/ 76772218 h 690"/>
              <a:gd name="T108" fmla="*/ 74888553 w 1037"/>
              <a:gd name="T109" fmla="*/ 100161532 h 690"/>
              <a:gd name="T110" fmla="*/ 62500706 w 1037"/>
              <a:gd name="T111" fmla="*/ 116946570 h 690"/>
              <a:gd name="T112" fmla="*/ 66630277 w 1037"/>
              <a:gd name="T113" fmla="*/ 136758873 h 690"/>
              <a:gd name="T114" fmla="*/ 66442254 w 1037"/>
              <a:gd name="T115" fmla="*/ 153543911 h 690"/>
              <a:gd name="T116" fmla="*/ 62125526 w 1037"/>
              <a:gd name="T117" fmla="*/ 169228936 h 690"/>
              <a:gd name="T118" fmla="*/ 55368834 w 1037"/>
              <a:gd name="T119" fmla="*/ 177484018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04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43413" y="2635052"/>
            <a:ext cx="49212" cy="90487"/>
          </a:xfrm>
          <a:custGeom>
            <a:avLst/>
            <a:gdLst>
              <a:gd name="T0" fmla="*/ 2147483647 w 120"/>
              <a:gd name="T1" fmla="*/ 2147483647 h 173"/>
              <a:gd name="T2" fmla="*/ 2147483647 w 120"/>
              <a:gd name="T3" fmla="*/ 2147483647 h 173"/>
              <a:gd name="T4" fmla="*/ 2147483647 w 120"/>
              <a:gd name="T5" fmla="*/ 2147483647 h 173"/>
              <a:gd name="T6" fmla="*/ 2147483647 w 120"/>
              <a:gd name="T7" fmla="*/ 2147483647 h 173"/>
              <a:gd name="T8" fmla="*/ 2147483647 w 120"/>
              <a:gd name="T9" fmla="*/ 2147483647 h 173"/>
              <a:gd name="T10" fmla="*/ 2147483647 w 120"/>
              <a:gd name="T11" fmla="*/ 2147483647 h 173"/>
              <a:gd name="T12" fmla="*/ 2147483647 w 120"/>
              <a:gd name="T13" fmla="*/ 2147483647 h 173"/>
              <a:gd name="T14" fmla="*/ 2147483647 w 120"/>
              <a:gd name="T15" fmla="*/ 2147483647 h 173"/>
              <a:gd name="T16" fmla="*/ 2147483647 w 120"/>
              <a:gd name="T17" fmla="*/ 0 h 173"/>
              <a:gd name="T18" fmla="*/ 2147483647 w 120"/>
              <a:gd name="T19" fmla="*/ 0 h 173"/>
              <a:gd name="T20" fmla="*/ 2147483647 w 120"/>
              <a:gd name="T21" fmla="*/ 2147483647 h 173"/>
              <a:gd name="T22" fmla="*/ 2147483647 w 120"/>
              <a:gd name="T23" fmla="*/ 2147483647 h 173"/>
              <a:gd name="T24" fmla="*/ 2147483647 w 120"/>
              <a:gd name="T25" fmla="*/ 2147483647 h 173"/>
              <a:gd name="T26" fmla="*/ 2147483647 w 120"/>
              <a:gd name="T27" fmla="*/ 2147483647 h 173"/>
              <a:gd name="T28" fmla="*/ 2147483647 w 120"/>
              <a:gd name="T29" fmla="*/ 2147483647 h 173"/>
              <a:gd name="T30" fmla="*/ 2147483647 w 120"/>
              <a:gd name="T31" fmla="*/ 2147483647 h 173"/>
              <a:gd name="T32" fmla="*/ 2147483647 w 120"/>
              <a:gd name="T33" fmla="*/ 2147483647 h 173"/>
              <a:gd name="T34" fmla="*/ 2147483647 w 120"/>
              <a:gd name="T35" fmla="*/ 2147483647 h 173"/>
              <a:gd name="T36" fmla="*/ 2147483647 w 120"/>
              <a:gd name="T37" fmla="*/ 2147483647 h 173"/>
              <a:gd name="T38" fmla="*/ 2147483647 w 120"/>
              <a:gd name="T39" fmla="*/ 2147483647 h 173"/>
              <a:gd name="T40" fmla="*/ 2147483647 w 120"/>
              <a:gd name="T41" fmla="*/ 2147483647 h 173"/>
              <a:gd name="T42" fmla="*/ 2147483647 w 120"/>
              <a:gd name="T43" fmla="*/ 2147483647 h 173"/>
              <a:gd name="T44" fmla="*/ 0 w 120"/>
              <a:gd name="T45" fmla="*/ 2147483647 h 173"/>
              <a:gd name="T46" fmla="*/ 2147483647 w 120"/>
              <a:gd name="T47" fmla="*/ 2147483647 h 173"/>
              <a:gd name="T48" fmla="*/ 2147483647 w 120"/>
              <a:gd name="T49" fmla="*/ 2147483647 h 173"/>
              <a:gd name="T50" fmla="*/ 2147483647 w 120"/>
              <a:gd name="T51" fmla="*/ 2147483647 h 173"/>
              <a:gd name="T52" fmla="*/ 2147483647 w 120"/>
              <a:gd name="T53" fmla="*/ 2147483647 h 173"/>
              <a:gd name="T54" fmla="*/ 2147483647 w 120"/>
              <a:gd name="T55" fmla="*/ 2147483647 h 173"/>
              <a:gd name="T56" fmla="*/ 2147483647 w 120"/>
              <a:gd name="T57" fmla="*/ 2147483647 h 173"/>
              <a:gd name="T58" fmla="*/ 2147483647 w 120"/>
              <a:gd name="T59" fmla="*/ 2147483647 h 173"/>
              <a:gd name="T60" fmla="*/ 2147483647 w 120"/>
              <a:gd name="T61" fmla="*/ 2147483647 h 173"/>
              <a:gd name="T62" fmla="*/ 2147483647 w 120"/>
              <a:gd name="T63" fmla="*/ 2147483647 h 173"/>
              <a:gd name="T64" fmla="*/ 2147483647 w 120"/>
              <a:gd name="T65" fmla="*/ 2147483647 h 173"/>
              <a:gd name="T66" fmla="*/ 2147483647 w 120"/>
              <a:gd name="T67" fmla="*/ 2147483647 h 173"/>
              <a:gd name="T68" fmla="*/ 2147483647 w 120"/>
              <a:gd name="T69" fmla="*/ 2147483647 h 173"/>
              <a:gd name="T70" fmla="*/ 2147483647 w 120"/>
              <a:gd name="T71" fmla="*/ 2147483647 h 173"/>
              <a:gd name="T72" fmla="*/ 2147483647 w 120"/>
              <a:gd name="T73" fmla="*/ 2147483647 h 173"/>
              <a:gd name="T74" fmla="*/ 2147483647 w 120"/>
              <a:gd name="T75" fmla="*/ 2147483647 h 173"/>
              <a:gd name="T76" fmla="*/ 2147483647 w 120"/>
              <a:gd name="T77" fmla="*/ 2147483647 h 173"/>
              <a:gd name="T78" fmla="*/ 2147483647 w 120"/>
              <a:gd name="T79" fmla="*/ 2147483647 h 173"/>
              <a:gd name="T80" fmla="*/ 2147483647 w 120"/>
              <a:gd name="T81" fmla="*/ 2147483647 h 173"/>
              <a:gd name="T82" fmla="*/ 2147483647 w 120"/>
              <a:gd name="T83" fmla="*/ 2147483647 h 173"/>
              <a:gd name="T84" fmla="*/ 2147483647 w 120"/>
              <a:gd name="T85" fmla="*/ 2147483647 h 173"/>
              <a:gd name="T86" fmla="*/ 2147483647 w 120"/>
              <a:gd name="T87" fmla="*/ 2147483647 h 173"/>
              <a:gd name="T88" fmla="*/ 2147483647 w 120"/>
              <a:gd name="T89" fmla="*/ 2147483647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05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151313" y="2474714"/>
            <a:ext cx="84137" cy="58738"/>
          </a:xfrm>
          <a:custGeom>
            <a:avLst/>
            <a:gdLst>
              <a:gd name="T0" fmla="*/ 35395174 w 200"/>
              <a:gd name="T1" fmla="*/ 19758145 h 98"/>
              <a:gd name="T2" fmla="*/ 34510473 w 200"/>
              <a:gd name="T3" fmla="*/ 20117765 h 98"/>
              <a:gd name="T4" fmla="*/ 32917339 w 200"/>
              <a:gd name="T5" fmla="*/ 21554449 h 98"/>
              <a:gd name="T6" fmla="*/ 31324626 w 200"/>
              <a:gd name="T7" fmla="*/ 23350752 h 98"/>
              <a:gd name="T8" fmla="*/ 29378116 w 200"/>
              <a:gd name="T9" fmla="*/ 26224719 h 98"/>
              <a:gd name="T10" fmla="*/ 27431186 w 200"/>
              <a:gd name="T11" fmla="*/ 28739065 h 98"/>
              <a:gd name="T12" fmla="*/ 25661364 w 200"/>
              <a:gd name="T13" fmla="*/ 31254010 h 98"/>
              <a:gd name="T14" fmla="*/ 24245759 w 200"/>
              <a:gd name="T15" fmla="*/ 33409335 h 98"/>
              <a:gd name="T16" fmla="*/ 23537746 w 200"/>
              <a:gd name="T17" fmla="*/ 35205639 h 98"/>
              <a:gd name="T18" fmla="*/ 22475937 w 200"/>
              <a:gd name="T19" fmla="*/ 35205639 h 98"/>
              <a:gd name="T20" fmla="*/ 21591237 w 200"/>
              <a:gd name="T21" fmla="*/ 35205639 h 98"/>
              <a:gd name="T22" fmla="*/ 20529007 w 200"/>
              <a:gd name="T23" fmla="*/ 34846618 h 98"/>
              <a:gd name="T24" fmla="*/ 19644307 w 200"/>
              <a:gd name="T25" fmla="*/ 34127977 h 98"/>
              <a:gd name="T26" fmla="*/ 18759606 w 200"/>
              <a:gd name="T27" fmla="*/ 33409335 h 98"/>
              <a:gd name="T28" fmla="*/ 18228702 w 200"/>
              <a:gd name="T29" fmla="*/ 31613031 h 98"/>
              <a:gd name="T30" fmla="*/ 17874485 w 200"/>
              <a:gd name="T31" fmla="*/ 29457706 h 98"/>
              <a:gd name="T32" fmla="*/ 17697797 w 200"/>
              <a:gd name="T33" fmla="*/ 26583740 h 98"/>
              <a:gd name="T34" fmla="*/ 16104663 w 200"/>
              <a:gd name="T35" fmla="*/ 28739065 h 98"/>
              <a:gd name="T36" fmla="*/ 14511950 w 200"/>
              <a:gd name="T37" fmla="*/ 30894989 h 98"/>
              <a:gd name="T38" fmla="*/ 13803937 w 200"/>
              <a:gd name="T39" fmla="*/ 32331673 h 98"/>
              <a:gd name="T40" fmla="*/ 12742128 w 200"/>
              <a:gd name="T41" fmla="*/ 33409335 h 98"/>
              <a:gd name="T42" fmla="*/ 11857427 w 200"/>
              <a:gd name="T43" fmla="*/ 34486998 h 98"/>
              <a:gd name="T44" fmla="*/ 10618510 w 200"/>
              <a:gd name="T45" fmla="*/ 35205639 h 98"/>
              <a:gd name="T46" fmla="*/ 6902179 w 200"/>
              <a:gd name="T47" fmla="*/ 35205639 h 98"/>
              <a:gd name="T48" fmla="*/ 6017058 w 200"/>
              <a:gd name="T49" fmla="*/ 35205639 h 98"/>
              <a:gd name="T50" fmla="*/ 4955249 w 200"/>
              <a:gd name="T51" fmla="*/ 34127977 h 98"/>
              <a:gd name="T52" fmla="*/ 3893440 w 200"/>
              <a:gd name="T53" fmla="*/ 33050314 h 98"/>
              <a:gd name="T54" fmla="*/ 2654522 w 200"/>
              <a:gd name="T55" fmla="*/ 31972652 h 98"/>
              <a:gd name="T56" fmla="*/ 1592713 w 200"/>
              <a:gd name="T57" fmla="*/ 30535369 h 98"/>
              <a:gd name="T58" fmla="*/ 708013 w 200"/>
              <a:gd name="T59" fmla="*/ 29098685 h 98"/>
              <a:gd name="T60" fmla="*/ 177108 w 200"/>
              <a:gd name="T61" fmla="*/ 27661402 h 98"/>
              <a:gd name="T62" fmla="*/ 0 w 200"/>
              <a:gd name="T63" fmla="*/ 26583740 h 98"/>
              <a:gd name="T64" fmla="*/ 884701 w 200"/>
              <a:gd name="T65" fmla="*/ 25506077 h 98"/>
              <a:gd name="T66" fmla="*/ 1769822 w 200"/>
              <a:gd name="T67" fmla="*/ 24069394 h 98"/>
              <a:gd name="T68" fmla="*/ 2477835 w 200"/>
              <a:gd name="T69" fmla="*/ 21554449 h 98"/>
              <a:gd name="T70" fmla="*/ 3539644 w 200"/>
              <a:gd name="T71" fmla="*/ 19039503 h 98"/>
              <a:gd name="T72" fmla="*/ 4070548 w 200"/>
              <a:gd name="T73" fmla="*/ 16166136 h 98"/>
              <a:gd name="T74" fmla="*/ 4778140 w 200"/>
              <a:gd name="T75" fmla="*/ 13292170 h 98"/>
              <a:gd name="T76" fmla="*/ 5309465 w 200"/>
              <a:gd name="T77" fmla="*/ 10058583 h 98"/>
              <a:gd name="T78" fmla="*/ 5840370 w 200"/>
              <a:gd name="T79" fmla="*/ 6825595 h 98"/>
              <a:gd name="T80" fmla="*/ 11680319 w 200"/>
              <a:gd name="T81" fmla="*/ 5029291 h 98"/>
              <a:gd name="T82" fmla="*/ 18228702 w 200"/>
              <a:gd name="T83" fmla="*/ 3232987 h 98"/>
              <a:gd name="T84" fmla="*/ 25661364 w 200"/>
              <a:gd name="T85" fmla="*/ 1436684 h 98"/>
              <a:gd name="T86" fmla="*/ 34156257 w 200"/>
              <a:gd name="T87" fmla="*/ 0 h 98"/>
              <a:gd name="T88" fmla="*/ 29378116 w 200"/>
              <a:gd name="T89" fmla="*/ 11136245 h 98"/>
              <a:gd name="T90" fmla="*/ 29378116 w 200"/>
              <a:gd name="T91" fmla="*/ 12213908 h 98"/>
              <a:gd name="T92" fmla="*/ 29023900 w 200"/>
              <a:gd name="T93" fmla="*/ 13292170 h 98"/>
              <a:gd name="T94" fmla="*/ 28670103 w 200"/>
              <a:gd name="T95" fmla="*/ 14010212 h 98"/>
              <a:gd name="T96" fmla="*/ 28492995 w 200"/>
              <a:gd name="T97" fmla="*/ 14728853 h 98"/>
              <a:gd name="T98" fmla="*/ 27785403 w 200"/>
              <a:gd name="T99" fmla="*/ 16166136 h 98"/>
              <a:gd name="T100" fmla="*/ 27608294 w 200"/>
              <a:gd name="T101" fmla="*/ 16884178 h 98"/>
              <a:gd name="T102" fmla="*/ 27608294 w 200"/>
              <a:gd name="T103" fmla="*/ 17602820 h 98"/>
              <a:gd name="T104" fmla="*/ 27785403 w 200"/>
              <a:gd name="T105" fmla="*/ 17961841 h 98"/>
              <a:gd name="T106" fmla="*/ 28139199 w 200"/>
              <a:gd name="T107" fmla="*/ 17961841 h 98"/>
              <a:gd name="T108" fmla="*/ 28847212 w 200"/>
              <a:gd name="T109" fmla="*/ 18321461 h 98"/>
              <a:gd name="T110" fmla="*/ 31324626 w 200"/>
              <a:gd name="T111" fmla="*/ 19039503 h 98"/>
              <a:gd name="T112" fmla="*/ 35395174 w 200"/>
              <a:gd name="T113" fmla="*/ 1975814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chemeClr val="tx2">
              <a:lumMod val="50000"/>
            </a:schemeClr>
          </a:solidFill>
          <a:ln>
            <a:solidFill>
              <a:schemeClr val="accent5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06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089400" y="2293739"/>
            <a:ext cx="84138" cy="73025"/>
          </a:xfrm>
          <a:custGeom>
            <a:avLst/>
            <a:gdLst>
              <a:gd name="T0" fmla="*/ 0 w 186"/>
              <a:gd name="T1" fmla="*/ 29619866 h 142"/>
              <a:gd name="T2" fmla="*/ 409381 w 186"/>
              <a:gd name="T3" fmla="*/ 30677700 h 142"/>
              <a:gd name="T4" fmla="*/ 613846 w 186"/>
              <a:gd name="T5" fmla="*/ 28297702 h 142"/>
              <a:gd name="T6" fmla="*/ 613846 w 186"/>
              <a:gd name="T7" fmla="*/ 24595026 h 142"/>
              <a:gd name="T8" fmla="*/ 1841537 w 186"/>
              <a:gd name="T9" fmla="*/ 21685854 h 142"/>
              <a:gd name="T10" fmla="*/ 3478609 w 186"/>
              <a:gd name="T11" fmla="*/ 18248022 h 142"/>
              <a:gd name="T12" fmla="*/ 4092454 w 186"/>
              <a:gd name="T13" fmla="*/ 14810190 h 142"/>
              <a:gd name="T14" fmla="*/ 4706300 w 186"/>
              <a:gd name="T15" fmla="*/ 12165348 h 142"/>
              <a:gd name="T16" fmla="*/ 5729526 w 186"/>
              <a:gd name="T17" fmla="*/ 9785350 h 142"/>
              <a:gd name="T18" fmla="*/ 7161682 w 186"/>
              <a:gd name="T19" fmla="*/ 8462672 h 142"/>
              <a:gd name="T20" fmla="*/ 8389825 w 186"/>
              <a:gd name="T21" fmla="*/ 10049680 h 142"/>
              <a:gd name="T22" fmla="*/ 8798754 w 186"/>
              <a:gd name="T23" fmla="*/ 12958852 h 142"/>
              <a:gd name="T24" fmla="*/ 9617516 w 186"/>
              <a:gd name="T25" fmla="*/ 15338850 h 142"/>
              <a:gd name="T26" fmla="*/ 11254588 w 186"/>
              <a:gd name="T27" fmla="*/ 17190188 h 142"/>
              <a:gd name="T28" fmla="*/ 17802425 w 186"/>
              <a:gd name="T29" fmla="*/ 17718848 h 142"/>
              <a:gd name="T30" fmla="*/ 16165353 w 186"/>
              <a:gd name="T31" fmla="*/ 10843184 h 142"/>
              <a:gd name="T32" fmla="*/ 14118899 w 186"/>
              <a:gd name="T33" fmla="*/ 9520506 h 142"/>
              <a:gd name="T34" fmla="*/ 12891208 w 186"/>
              <a:gd name="T35" fmla="*/ 7934012 h 142"/>
              <a:gd name="T36" fmla="*/ 12482279 w 186"/>
              <a:gd name="T37" fmla="*/ 6082674 h 142"/>
              <a:gd name="T38" fmla="*/ 14323816 w 186"/>
              <a:gd name="T39" fmla="*/ 4495666 h 142"/>
              <a:gd name="T40" fmla="*/ 17802425 w 186"/>
              <a:gd name="T41" fmla="*/ 3702676 h 142"/>
              <a:gd name="T42" fmla="*/ 20053342 w 186"/>
              <a:gd name="T43" fmla="*/ 2644842 h 142"/>
              <a:gd name="T44" fmla="*/ 22713189 w 186"/>
              <a:gd name="T45" fmla="*/ 1587008 h 142"/>
              <a:gd name="T46" fmla="*/ 26601179 w 186"/>
              <a:gd name="T47" fmla="*/ 793504 h 142"/>
              <a:gd name="T48" fmla="*/ 30079787 w 186"/>
              <a:gd name="T49" fmla="*/ 264330 h 142"/>
              <a:gd name="T50" fmla="*/ 32535169 w 186"/>
              <a:gd name="T51" fmla="*/ 529174 h 142"/>
              <a:gd name="T52" fmla="*/ 36013778 w 186"/>
              <a:gd name="T53" fmla="*/ 264330 h 142"/>
              <a:gd name="T54" fmla="*/ 37446386 w 186"/>
              <a:gd name="T55" fmla="*/ 2644842 h 142"/>
              <a:gd name="T56" fmla="*/ 36423159 w 186"/>
              <a:gd name="T57" fmla="*/ 6876178 h 142"/>
              <a:gd name="T58" fmla="*/ 34581623 w 186"/>
              <a:gd name="T59" fmla="*/ 10578340 h 142"/>
              <a:gd name="T60" fmla="*/ 32535169 w 186"/>
              <a:gd name="T61" fmla="*/ 13487512 h 142"/>
              <a:gd name="T62" fmla="*/ 31716860 w 186"/>
              <a:gd name="T63" fmla="*/ 16661014 h 142"/>
              <a:gd name="T64" fmla="*/ 31307478 w 186"/>
              <a:gd name="T65" fmla="*/ 20099360 h 142"/>
              <a:gd name="T66" fmla="*/ 24555178 w 186"/>
              <a:gd name="T67" fmla="*/ 37553878 h 142"/>
              <a:gd name="T68" fmla="*/ 16369817 w 186"/>
              <a:gd name="T69" fmla="*/ 32264708 h 142"/>
              <a:gd name="T70" fmla="*/ 7161682 w 186"/>
              <a:gd name="T71" fmla="*/ 30942030 h 142"/>
              <a:gd name="T72" fmla="*/ 1637072 w 186"/>
              <a:gd name="T73" fmla="*/ 29884196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chemeClr val="tx2">
              <a:lumMod val="50000"/>
            </a:schemeClr>
          </a:solidFill>
          <a:ln>
            <a:solidFill>
              <a:schemeClr val="accent5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07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070350" y="2357239"/>
            <a:ext cx="84138" cy="57150"/>
          </a:xfrm>
          <a:custGeom>
            <a:avLst/>
            <a:gdLst>
              <a:gd name="T0" fmla="*/ 36870849 w 192"/>
              <a:gd name="T1" fmla="*/ 18070830 h 105"/>
              <a:gd name="T2" fmla="*/ 36294592 w 192"/>
              <a:gd name="T3" fmla="*/ 18367466 h 105"/>
              <a:gd name="T4" fmla="*/ 35334454 w 192"/>
              <a:gd name="T5" fmla="*/ 18663557 h 105"/>
              <a:gd name="T6" fmla="*/ 34566257 w 192"/>
              <a:gd name="T7" fmla="*/ 18959649 h 105"/>
              <a:gd name="T8" fmla="*/ 33990437 w 192"/>
              <a:gd name="T9" fmla="*/ 19848467 h 105"/>
              <a:gd name="T10" fmla="*/ 32262103 w 192"/>
              <a:gd name="T11" fmla="*/ 21330013 h 105"/>
              <a:gd name="T12" fmla="*/ 30725708 w 192"/>
              <a:gd name="T13" fmla="*/ 23403741 h 105"/>
              <a:gd name="T14" fmla="*/ 29573631 w 192"/>
              <a:gd name="T15" fmla="*/ 25477470 h 105"/>
              <a:gd name="T16" fmla="*/ 28229175 w 192"/>
              <a:gd name="T17" fmla="*/ 27551199 h 105"/>
              <a:gd name="T18" fmla="*/ 27460978 w 192"/>
              <a:gd name="T19" fmla="*/ 29328291 h 105"/>
              <a:gd name="T20" fmla="*/ 26692781 w 192"/>
              <a:gd name="T21" fmla="*/ 31105929 h 105"/>
              <a:gd name="T22" fmla="*/ 23044171 w 192"/>
              <a:gd name="T23" fmla="*/ 28736109 h 105"/>
              <a:gd name="T24" fmla="*/ 19587502 w 192"/>
              <a:gd name="T25" fmla="*/ 26365744 h 105"/>
              <a:gd name="T26" fmla="*/ 16515150 w 192"/>
              <a:gd name="T27" fmla="*/ 23699833 h 105"/>
              <a:gd name="T28" fmla="*/ 13250420 w 192"/>
              <a:gd name="T29" fmla="*/ 21033377 h 105"/>
              <a:gd name="T30" fmla="*/ 10178069 w 192"/>
              <a:gd name="T31" fmla="*/ 18070830 h 105"/>
              <a:gd name="T32" fmla="*/ 6913339 w 192"/>
              <a:gd name="T33" fmla="*/ 15701010 h 105"/>
              <a:gd name="T34" fmla="*/ 3648609 w 192"/>
              <a:gd name="T35" fmla="*/ 13035099 h 105"/>
              <a:gd name="T36" fmla="*/ 0 w 192"/>
              <a:gd name="T37" fmla="*/ 10961370 h 105"/>
              <a:gd name="T38" fmla="*/ 0 w 192"/>
              <a:gd name="T39" fmla="*/ 3851366 h 105"/>
              <a:gd name="T40" fmla="*/ 1344455 w 192"/>
              <a:gd name="T41" fmla="*/ 2073729 h 105"/>
              <a:gd name="T42" fmla="*/ 3072790 w 192"/>
              <a:gd name="T43" fmla="*/ 1184910 h 105"/>
              <a:gd name="T44" fmla="*/ 5568884 w 192"/>
              <a:gd name="T45" fmla="*/ 296091 h 105"/>
              <a:gd name="T46" fmla="*/ 7681536 w 192"/>
              <a:gd name="T47" fmla="*/ 0 h 105"/>
              <a:gd name="T48" fmla="*/ 11522086 w 192"/>
              <a:gd name="T49" fmla="*/ 592727 h 105"/>
              <a:gd name="T50" fmla="*/ 17859167 w 192"/>
              <a:gd name="T51" fmla="*/ 1481001 h 105"/>
              <a:gd name="T52" fmla="*/ 21315836 w 192"/>
              <a:gd name="T53" fmla="*/ 2073729 h 105"/>
              <a:gd name="T54" fmla="*/ 24580566 w 192"/>
              <a:gd name="T55" fmla="*/ 2073729 h 105"/>
              <a:gd name="T56" fmla="*/ 27460978 w 192"/>
              <a:gd name="T57" fmla="*/ 2073729 h 105"/>
              <a:gd name="T58" fmla="*/ 29381253 w 192"/>
              <a:gd name="T59" fmla="*/ 1777637 h 105"/>
              <a:gd name="T60" fmla="*/ 29765570 w 192"/>
              <a:gd name="T61" fmla="*/ 3258639 h 105"/>
              <a:gd name="T62" fmla="*/ 30533768 w 192"/>
              <a:gd name="T63" fmla="*/ 5036276 h 105"/>
              <a:gd name="T64" fmla="*/ 30917647 w 192"/>
              <a:gd name="T65" fmla="*/ 5925094 h 105"/>
              <a:gd name="T66" fmla="*/ 31493905 w 192"/>
              <a:gd name="T67" fmla="*/ 6813913 h 105"/>
              <a:gd name="T68" fmla="*/ 31685845 w 192"/>
              <a:gd name="T69" fmla="*/ 7998823 h 105"/>
              <a:gd name="T70" fmla="*/ 31877785 w 192"/>
              <a:gd name="T71" fmla="*/ 9183733 h 105"/>
              <a:gd name="T72" fmla="*/ 32645982 w 192"/>
              <a:gd name="T73" fmla="*/ 9479824 h 105"/>
              <a:gd name="T74" fmla="*/ 33990437 w 192"/>
              <a:gd name="T75" fmla="*/ 9775916 h 105"/>
              <a:gd name="T76" fmla="*/ 34566257 w 192"/>
              <a:gd name="T77" fmla="*/ 10072551 h 105"/>
              <a:gd name="T78" fmla="*/ 35142514 w 192"/>
              <a:gd name="T79" fmla="*/ 10072551 h 105"/>
              <a:gd name="T80" fmla="*/ 36102652 w 192"/>
              <a:gd name="T81" fmla="*/ 9775916 h 105"/>
              <a:gd name="T82" fmla="*/ 36870849 w 192"/>
              <a:gd name="T83" fmla="*/ 9183733 h 105"/>
              <a:gd name="T84" fmla="*/ 36870849 w 192"/>
              <a:gd name="T85" fmla="*/ 18070830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08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830763" y="2911277"/>
            <a:ext cx="33337" cy="131762"/>
          </a:xfrm>
          <a:custGeom>
            <a:avLst/>
            <a:gdLst>
              <a:gd name="T0" fmla="*/ 5730630 w 80"/>
              <a:gd name="T1" fmla="*/ 0 h 254"/>
              <a:gd name="T2" fmla="*/ 6424873 w 80"/>
              <a:gd name="T3" fmla="*/ 537942 h 254"/>
              <a:gd name="T4" fmla="*/ 6946181 w 80"/>
              <a:gd name="T5" fmla="*/ 1076402 h 254"/>
              <a:gd name="T6" fmla="*/ 7467071 w 80"/>
              <a:gd name="T7" fmla="*/ 1883574 h 254"/>
              <a:gd name="T8" fmla="*/ 7987962 w 80"/>
              <a:gd name="T9" fmla="*/ 2690746 h 254"/>
              <a:gd name="T10" fmla="*/ 9029743 w 80"/>
              <a:gd name="T11" fmla="*/ 4843550 h 254"/>
              <a:gd name="T12" fmla="*/ 9724403 w 80"/>
              <a:gd name="T13" fmla="*/ 6727643 h 254"/>
              <a:gd name="T14" fmla="*/ 10766184 w 80"/>
              <a:gd name="T15" fmla="*/ 8611217 h 254"/>
              <a:gd name="T16" fmla="*/ 11634613 w 80"/>
              <a:gd name="T17" fmla="*/ 10225561 h 254"/>
              <a:gd name="T18" fmla="*/ 12155504 w 80"/>
              <a:gd name="T19" fmla="*/ 10764022 h 254"/>
              <a:gd name="T20" fmla="*/ 12676394 w 80"/>
              <a:gd name="T21" fmla="*/ 11301963 h 254"/>
              <a:gd name="T22" fmla="*/ 13197285 w 80"/>
              <a:gd name="T23" fmla="*/ 11571194 h 254"/>
              <a:gd name="T24" fmla="*/ 13891945 w 80"/>
              <a:gd name="T25" fmla="*/ 11840424 h 254"/>
              <a:gd name="T26" fmla="*/ 13891945 w 80"/>
              <a:gd name="T27" fmla="*/ 14262458 h 254"/>
              <a:gd name="T28" fmla="*/ 13891945 w 80"/>
              <a:gd name="T29" fmla="*/ 16683974 h 254"/>
              <a:gd name="T30" fmla="*/ 9203512 w 80"/>
              <a:gd name="T31" fmla="*/ 68351278 h 254"/>
              <a:gd name="T32" fmla="*/ 0 w 80"/>
              <a:gd name="T33" fmla="*/ 25026480 h 254"/>
              <a:gd name="T34" fmla="*/ 694660 w 80"/>
              <a:gd name="T35" fmla="*/ 23680848 h 254"/>
              <a:gd name="T36" fmla="*/ 1910210 w 80"/>
              <a:gd name="T37" fmla="*/ 19106009 h 254"/>
              <a:gd name="T38" fmla="*/ 2951991 w 80"/>
              <a:gd name="T39" fmla="*/ 15338861 h 254"/>
              <a:gd name="T40" fmla="*/ 3820420 w 80"/>
              <a:gd name="T41" fmla="*/ 11033252 h 254"/>
              <a:gd name="T42" fmla="*/ 4862201 w 80"/>
              <a:gd name="T43" fmla="*/ 6189183 h 254"/>
              <a:gd name="T44" fmla="*/ 5730630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chemeClr val="tx2">
              <a:lumMod val="50000"/>
            </a:schemeClr>
          </a:solidFill>
          <a:ln>
            <a:solidFill>
              <a:schemeClr val="accent5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09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779963" y="2963664"/>
            <a:ext cx="69850" cy="130175"/>
          </a:xfrm>
          <a:custGeom>
            <a:avLst/>
            <a:gdLst>
              <a:gd name="T0" fmla="*/ 2147483647 w 167"/>
              <a:gd name="T1" fmla="*/ 0 h 259"/>
              <a:gd name="T2" fmla="*/ 2147483647 w 167"/>
              <a:gd name="T3" fmla="*/ 2147483647 h 259"/>
              <a:gd name="T4" fmla="*/ 2147483647 w 167"/>
              <a:gd name="T5" fmla="*/ 2147483647 h 259"/>
              <a:gd name="T6" fmla="*/ 2147483647 w 167"/>
              <a:gd name="T7" fmla="*/ 2147483647 h 259"/>
              <a:gd name="T8" fmla="*/ 2147483647 w 167"/>
              <a:gd name="T9" fmla="*/ 2147483647 h 259"/>
              <a:gd name="T10" fmla="*/ 2147483647 w 167"/>
              <a:gd name="T11" fmla="*/ 2147483647 h 259"/>
              <a:gd name="T12" fmla="*/ 2147483647 w 167"/>
              <a:gd name="T13" fmla="*/ 2147483647 h 259"/>
              <a:gd name="T14" fmla="*/ 2147483647 w 167"/>
              <a:gd name="T15" fmla="*/ 2147483647 h 259"/>
              <a:gd name="T16" fmla="*/ 2147483647 w 167"/>
              <a:gd name="T17" fmla="*/ 2147483647 h 259"/>
              <a:gd name="T18" fmla="*/ 2147483647 w 167"/>
              <a:gd name="T19" fmla="*/ 2147483647 h 259"/>
              <a:gd name="T20" fmla="*/ 2147483647 w 167"/>
              <a:gd name="T21" fmla="*/ 2147483647 h 259"/>
              <a:gd name="T22" fmla="*/ 2147483647 w 167"/>
              <a:gd name="T23" fmla="*/ 2147483647 h 259"/>
              <a:gd name="T24" fmla="*/ 2147483647 w 167"/>
              <a:gd name="T25" fmla="*/ 2147483647 h 259"/>
              <a:gd name="T26" fmla="*/ 2147483647 w 167"/>
              <a:gd name="T27" fmla="*/ 2147483647 h 259"/>
              <a:gd name="T28" fmla="*/ 2147483647 w 167"/>
              <a:gd name="T29" fmla="*/ 2147483647 h 259"/>
              <a:gd name="T30" fmla="*/ 2147483647 w 167"/>
              <a:gd name="T31" fmla="*/ 2147483647 h 259"/>
              <a:gd name="T32" fmla="*/ 2147483647 w 167"/>
              <a:gd name="T33" fmla="*/ 2147483647 h 259"/>
              <a:gd name="T34" fmla="*/ 2147483647 w 167"/>
              <a:gd name="T35" fmla="*/ 2147483647 h 259"/>
              <a:gd name="T36" fmla="*/ 2147483647 w 167"/>
              <a:gd name="T37" fmla="*/ 2147483647 h 259"/>
              <a:gd name="T38" fmla="*/ 2147483647 w 167"/>
              <a:gd name="T39" fmla="*/ 2147483647 h 259"/>
              <a:gd name="T40" fmla="*/ 2147483647 w 167"/>
              <a:gd name="T41" fmla="*/ 2147483647 h 259"/>
              <a:gd name="T42" fmla="*/ 2147483647 w 167"/>
              <a:gd name="T43" fmla="*/ 2147483647 h 259"/>
              <a:gd name="T44" fmla="*/ 2147483647 w 167"/>
              <a:gd name="T45" fmla="*/ 2147483647 h 259"/>
              <a:gd name="T46" fmla="*/ 2147483647 w 167"/>
              <a:gd name="T47" fmla="*/ 2147483647 h 259"/>
              <a:gd name="T48" fmla="*/ 2147483647 w 167"/>
              <a:gd name="T49" fmla="*/ 2147483647 h 259"/>
              <a:gd name="T50" fmla="*/ 2147483647 w 167"/>
              <a:gd name="T51" fmla="*/ 2147483647 h 259"/>
              <a:gd name="T52" fmla="*/ 2147483647 w 167"/>
              <a:gd name="T53" fmla="*/ 2147483647 h 259"/>
              <a:gd name="T54" fmla="*/ 2147483647 w 167"/>
              <a:gd name="T55" fmla="*/ 2147483647 h 259"/>
              <a:gd name="T56" fmla="*/ 2147483647 w 167"/>
              <a:gd name="T57" fmla="*/ 2147483647 h 259"/>
              <a:gd name="T58" fmla="*/ 2147483647 w 167"/>
              <a:gd name="T59" fmla="*/ 2147483647 h 259"/>
              <a:gd name="T60" fmla="*/ 2147483647 w 167"/>
              <a:gd name="T61" fmla="*/ 2147483647 h 259"/>
              <a:gd name="T62" fmla="*/ 2147483647 w 167"/>
              <a:gd name="T63" fmla="*/ 2147483647 h 259"/>
              <a:gd name="T64" fmla="*/ 2147483647 w 167"/>
              <a:gd name="T65" fmla="*/ 2147483647 h 259"/>
              <a:gd name="T66" fmla="*/ 0 w 167"/>
              <a:gd name="T67" fmla="*/ 2147483647 h 259"/>
              <a:gd name="T68" fmla="*/ 0 w 167"/>
              <a:gd name="T69" fmla="*/ 2147483647 h 259"/>
              <a:gd name="T70" fmla="*/ 0 w 167"/>
              <a:gd name="T71" fmla="*/ 2147483647 h 259"/>
              <a:gd name="T72" fmla="*/ 2147483647 w 167"/>
              <a:gd name="T73" fmla="*/ 2147483647 h 259"/>
              <a:gd name="T74" fmla="*/ 2147483647 w 167"/>
              <a:gd name="T75" fmla="*/ 2147483647 h 259"/>
              <a:gd name="T76" fmla="*/ 2147483647 w 167"/>
              <a:gd name="T77" fmla="*/ 2147483647 h 259"/>
              <a:gd name="T78" fmla="*/ 2147483647 w 167"/>
              <a:gd name="T79" fmla="*/ 2147483647 h 259"/>
              <a:gd name="T80" fmla="*/ 2147483647 w 167"/>
              <a:gd name="T81" fmla="*/ 2147483647 h 259"/>
              <a:gd name="T82" fmla="*/ 2147483647 w 167"/>
              <a:gd name="T83" fmla="*/ 2147483647 h 259"/>
              <a:gd name="T84" fmla="*/ 2147483647 w 167"/>
              <a:gd name="T85" fmla="*/ 2147483647 h 259"/>
              <a:gd name="T86" fmla="*/ 2147483647 w 167"/>
              <a:gd name="T87" fmla="*/ 2147483647 h 259"/>
              <a:gd name="T88" fmla="*/ 2147483647 w 167"/>
              <a:gd name="T89" fmla="*/ 2147483647 h 259"/>
              <a:gd name="T90" fmla="*/ 2147483647 w 167"/>
              <a:gd name="T91" fmla="*/ 2147483647 h 259"/>
              <a:gd name="T92" fmla="*/ 2147483647 w 167"/>
              <a:gd name="T93" fmla="*/ 2147483647 h 259"/>
              <a:gd name="T94" fmla="*/ 2147483647 w 167"/>
              <a:gd name="T95" fmla="*/ 2147483647 h 259"/>
              <a:gd name="T96" fmla="*/ 2147483647 w 167"/>
              <a:gd name="T97" fmla="*/ 2147483647 h 259"/>
              <a:gd name="T98" fmla="*/ 2147483647 w 167"/>
              <a:gd name="T99" fmla="*/ 2147483647 h 259"/>
              <a:gd name="T100" fmla="*/ 2147483647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10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781425" y="2217539"/>
            <a:ext cx="96838" cy="144463"/>
          </a:xfrm>
          <a:custGeom>
            <a:avLst/>
            <a:gdLst>
              <a:gd name="T0" fmla="*/ 34268601 w 225"/>
              <a:gd name="T1" fmla="*/ 18761140 h 273"/>
              <a:gd name="T2" fmla="*/ 32046061 w 225"/>
              <a:gd name="T3" fmla="*/ 21841430 h 273"/>
              <a:gd name="T4" fmla="*/ 29452525 w 225"/>
              <a:gd name="T5" fmla="*/ 22961679 h 273"/>
              <a:gd name="T6" fmla="*/ 30193658 w 225"/>
              <a:gd name="T7" fmla="*/ 26041969 h 273"/>
              <a:gd name="T8" fmla="*/ 32231130 w 225"/>
              <a:gd name="T9" fmla="*/ 28281940 h 273"/>
              <a:gd name="T10" fmla="*/ 36121004 w 225"/>
              <a:gd name="T11" fmla="*/ 29402189 h 273"/>
              <a:gd name="T12" fmla="*/ 41678214 w 225"/>
              <a:gd name="T13" fmla="*/ 29682119 h 273"/>
              <a:gd name="T14" fmla="*/ 41678214 w 225"/>
              <a:gd name="T15" fmla="*/ 42563139 h 273"/>
              <a:gd name="T16" fmla="*/ 41493146 w 225"/>
              <a:gd name="T17" fmla="*/ 49283579 h 273"/>
              <a:gd name="T18" fmla="*/ 39825811 w 225"/>
              <a:gd name="T19" fmla="*/ 52363869 h 273"/>
              <a:gd name="T20" fmla="*/ 36491571 w 225"/>
              <a:gd name="T21" fmla="*/ 57404199 h 273"/>
              <a:gd name="T22" fmla="*/ 35565369 w 225"/>
              <a:gd name="T23" fmla="*/ 59924099 h 273"/>
              <a:gd name="T24" fmla="*/ 33157331 w 225"/>
              <a:gd name="T25" fmla="*/ 61044349 h 273"/>
              <a:gd name="T26" fmla="*/ 30378726 w 225"/>
              <a:gd name="T27" fmla="*/ 63004389 h 273"/>
              <a:gd name="T28" fmla="*/ 29452525 w 225"/>
              <a:gd name="T29" fmla="*/ 66084679 h 273"/>
              <a:gd name="T30" fmla="*/ 25933216 w 225"/>
              <a:gd name="T31" fmla="*/ 67764789 h 273"/>
              <a:gd name="T32" fmla="*/ 23710246 w 225"/>
              <a:gd name="T33" fmla="*/ 70564619 h 273"/>
              <a:gd name="T34" fmla="*/ 18709102 w 225"/>
              <a:gd name="T35" fmla="*/ 71404939 h 273"/>
              <a:gd name="T36" fmla="*/ 11113990 w 225"/>
              <a:gd name="T37" fmla="*/ 73085049 h 273"/>
              <a:gd name="T38" fmla="*/ 3519308 w 225"/>
              <a:gd name="T39" fmla="*/ 73085049 h 273"/>
              <a:gd name="T40" fmla="*/ 0 w 225"/>
              <a:gd name="T41" fmla="*/ 60764419 h 273"/>
              <a:gd name="T42" fmla="*/ 3889875 w 225"/>
              <a:gd name="T43" fmla="*/ 59364239 h 273"/>
              <a:gd name="T44" fmla="*/ 4816077 w 225"/>
              <a:gd name="T45" fmla="*/ 57404199 h 273"/>
              <a:gd name="T46" fmla="*/ 11113990 w 225"/>
              <a:gd name="T47" fmla="*/ 56563879 h 273"/>
              <a:gd name="T48" fmla="*/ 13336960 w 225"/>
              <a:gd name="T49" fmla="*/ 54043979 h 273"/>
              <a:gd name="T50" fmla="*/ 8891450 w 225"/>
              <a:gd name="T51" fmla="*/ 55443629 h 273"/>
              <a:gd name="T52" fmla="*/ 7409613 w 225"/>
              <a:gd name="T53" fmla="*/ 55163699 h 273"/>
              <a:gd name="T54" fmla="*/ 7224115 w 225"/>
              <a:gd name="T55" fmla="*/ 52643799 h 273"/>
              <a:gd name="T56" fmla="*/ 8520883 w 225"/>
              <a:gd name="T57" fmla="*/ 48443259 h 273"/>
              <a:gd name="T58" fmla="*/ 7224115 w 225"/>
              <a:gd name="T59" fmla="*/ 44803109 h 273"/>
              <a:gd name="T60" fmla="*/ 2593106 w 225"/>
              <a:gd name="T61" fmla="*/ 42002750 h 273"/>
              <a:gd name="T62" fmla="*/ 1111270 w 225"/>
              <a:gd name="T63" fmla="*/ 36402559 h 273"/>
              <a:gd name="T64" fmla="*/ 4075373 w 225"/>
              <a:gd name="T65" fmla="*/ 32202020 h 273"/>
              <a:gd name="T66" fmla="*/ 6483412 w 225"/>
              <a:gd name="T67" fmla="*/ 28561870 h 273"/>
              <a:gd name="T68" fmla="*/ 12596257 w 225"/>
              <a:gd name="T69" fmla="*/ 26321899 h 273"/>
              <a:gd name="T70" fmla="*/ 16671200 w 225"/>
              <a:gd name="T71" fmla="*/ 26321899 h 273"/>
              <a:gd name="T72" fmla="*/ 18523603 w 225"/>
              <a:gd name="T73" fmla="*/ 24641789 h 273"/>
              <a:gd name="T74" fmla="*/ 20005440 w 225"/>
              <a:gd name="T75" fmla="*/ 14561130 h 273"/>
              <a:gd name="T76" fmla="*/ 22228410 w 225"/>
              <a:gd name="T77" fmla="*/ 8680480 h 273"/>
              <a:gd name="T78" fmla="*/ 24080813 w 225"/>
              <a:gd name="T79" fmla="*/ 5600190 h 273"/>
              <a:gd name="T80" fmla="*/ 26118285 w 225"/>
              <a:gd name="T81" fmla="*/ 1960040 h 273"/>
              <a:gd name="T82" fmla="*/ 28711821 w 225"/>
              <a:gd name="T83" fmla="*/ 279930 h 273"/>
              <a:gd name="T84" fmla="*/ 33157331 w 225"/>
              <a:gd name="T85" fmla="*/ 840320 h 273"/>
              <a:gd name="T86" fmla="*/ 36121004 w 225"/>
              <a:gd name="T87" fmla="*/ 10640520 h 273"/>
              <a:gd name="T88" fmla="*/ 36306503 w 225"/>
              <a:gd name="T89" fmla="*/ 13160950 h 273"/>
              <a:gd name="T90" fmla="*/ 35194803 w 225"/>
              <a:gd name="T91" fmla="*/ 15680850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chemeClr val="tx2">
              <a:lumMod val="50000"/>
            </a:schemeClr>
          </a:solidFill>
          <a:ln>
            <a:solidFill>
              <a:schemeClr val="accent5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11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594100" y="3128764"/>
            <a:ext cx="306388" cy="390525"/>
          </a:xfrm>
          <a:custGeom>
            <a:avLst/>
            <a:gdLst>
              <a:gd name="T0" fmla="*/ 2147483647 w 232"/>
              <a:gd name="T1" fmla="*/ 2147483647 h 248"/>
              <a:gd name="T2" fmla="*/ 2147483647 w 232"/>
              <a:gd name="T3" fmla="*/ 2147483647 h 248"/>
              <a:gd name="T4" fmla="*/ 2147483647 w 232"/>
              <a:gd name="T5" fmla="*/ 2147483647 h 248"/>
              <a:gd name="T6" fmla="*/ 2147483647 w 232"/>
              <a:gd name="T7" fmla="*/ 2147483647 h 248"/>
              <a:gd name="T8" fmla="*/ 2147483647 w 232"/>
              <a:gd name="T9" fmla="*/ 2147483647 h 248"/>
              <a:gd name="T10" fmla="*/ 2147483647 w 232"/>
              <a:gd name="T11" fmla="*/ 2147483647 h 248"/>
              <a:gd name="T12" fmla="*/ 2147483647 w 232"/>
              <a:gd name="T13" fmla="*/ 2147483647 h 248"/>
              <a:gd name="T14" fmla="*/ 2147483647 w 232"/>
              <a:gd name="T15" fmla="*/ 2147483647 h 248"/>
              <a:gd name="T16" fmla="*/ 2147483647 w 232"/>
              <a:gd name="T17" fmla="*/ 2147483647 h 248"/>
              <a:gd name="T18" fmla="*/ 2147483647 w 232"/>
              <a:gd name="T19" fmla="*/ 2147483647 h 248"/>
              <a:gd name="T20" fmla="*/ 2147483647 w 232"/>
              <a:gd name="T21" fmla="*/ 2147483647 h 248"/>
              <a:gd name="T22" fmla="*/ 2147483647 w 232"/>
              <a:gd name="T23" fmla="*/ 2147483647 h 248"/>
              <a:gd name="T24" fmla="*/ 2147483647 w 232"/>
              <a:gd name="T25" fmla="*/ 2147483647 h 248"/>
              <a:gd name="T26" fmla="*/ 2147483647 w 232"/>
              <a:gd name="T27" fmla="*/ 2147483647 h 248"/>
              <a:gd name="T28" fmla="*/ 2147483647 w 232"/>
              <a:gd name="T29" fmla="*/ 2147483647 h 248"/>
              <a:gd name="T30" fmla="*/ 2147483647 w 232"/>
              <a:gd name="T31" fmla="*/ 2147483647 h 248"/>
              <a:gd name="T32" fmla="*/ 2147483647 w 232"/>
              <a:gd name="T33" fmla="*/ 2147483647 h 248"/>
              <a:gd name="T34" fmla="*/ 2147483647 w 232"/>
              <a:gd name="T35" fmla="*/ 2147483647 h 248"/>
              <a:gd name="T36" fmla="*/ 2147483647 w 232"/>
              <a:gd name="T37" fmla="*/ 2147483647 h 248"/>
              <a:gd name="T38" fmla="*/ 2147483647 w 232"/>
              <a:gd name="T39" fmla="*/ 2147483647 h 248"/>
              <a:gd name="T40" fmla="*/ 2147483647 w 232"/>
              <a:gd name="T41" fmla="*/ 2147483647 h 248"/>
              <a:gd name="T42" fmla="*/ 2147483647 w 232"/>
              <a:gd name="T43" fmla="*/ 2147483647 h 248"/>
              <a:gd name="T44" fmla="*/ 2147483647 w 232"/>
              <a:gd name="T45" fmla="*/ 2147483647 h 248"/>
              <a:gd name="T46" fmla="*/ 2147483647 w 232"/>
              <a:gd name="T47" fmla="*/ 2147483647 h 248"/>
              <a:gd name="T48" fmla="*/ 2147483647 w 232"/>
              <a:gd name="T49" fmla="*/ 2147483647 h 248"/>
              <a:gd name="T50" fmla="*/ 2147483647 w 232"/>
              <a:gd name="T51" fmla="*/ 2147483647 h 248"/>
              <a:gd name="T52" fmla="*/ 2147483647 w 232"/>
              <a:gd name="T53" fmla="*/ 2147483647 h 248"/>
              <a:gd name="T54" fmla="*/ 2147483647 w 232"/>
              <a:gd name="T55" fmla="*/ 2147483647 h 248"/>
              <a:gd name="T56" fmla="*/ 2147483647 w 232"/>
              <a:gd name="T57" fmla="*/ 2147483647 h 248"/>
              <a:gd name="T58" fmla="*/ 2147483647 w 232"/>
              <a:gd name="T59" fmla="*/ 2147483647 h 248"/>
              <a:gd name="T60" fmla="*/ 2147483647 w 232"/>
              <a:gd name="T61" fmla="*/ 2147483647 h 248"/>
              <a:gd name="T62" fmla="*/ 2147483647 w 232"/>
              <a:gd name="T63" fmla="*/ 2147483647 h 248"/>
              <a:gd name="T64" fmla="*/ 2147483647 w 232"/>
              <a:gd name="T65" fmla="*/ 2147483647 h 248"/>
              <a:gd name="T66" fmla="*/ 2147483647 w 232"/>
              <a:gd name="T67" fmla="*/ 2147483647 h 248"/>
              <a:gd name="T68" fmla="*/ 2147483647 w 232"/>
              <a:gd name="T69" fmla="*/ 2147483647 h 248"/>
              <a:gd name="T70" fmla="*/ 2147483647 w 232"/>
              <a:gd name="T71" fmla="*/ 2147483647 h 248"/>
              <a:gd name="T72" fmla="*/ 2147483647 w 232"/>
              <a:gd name="T73" fmla="*/ 2147483647 h 248"/>
              <a:gd name="T74" fmla="*/ 2147483647 w 232"/>
              <a:gd name="T75" fmla="*/ 2147483647 h 248"/>
              <a:gd name="T76" fmla="*/ 2147483647 w 232"/>
              <a:gd name="T77" fmla="*/ 2147483647 h 248"/>
              <a:gd name="T78" fmla="*/ 2147483647 w 232"/>
              <a:gd name="T79" fmla="*/ 2147483647 h 248"/>
              <a:gd name="T80" fmla="*/ 2147483647 w 232"/>
              <a:gd name="T81" fmla="*/ 2147483647 h 248"/>
              <a:gd name="T82" fmla="*/ 2147483647 w 232"/>
              <a:gd name="T83" fmla="*/ 2147483647 h 248"/>
              <a:gd name="T84" fmla="*/ 2147483647 w 232"/>
              <a:gd name="T85" fmla="*/ 2147483647 h 248"/>
              <a:gd name="T86" fmla="*/ 2147483647 w 232"/>
              <a:gd name="T87" fmla="*/ 2147483647 h 248"/>
              <a:gd name="T88" fmla="*/ 2147483647 w 232"/>
              <a:gd name="T89" fmla="*/ 2147483647 h 248"/>
              <a:gd name="T90" fmla="*/ 2147483647 w 232"/>
              <a:gd name="T91" fmla="*/ 2147483647 h 248"/>
              <a:gd name="T92" fmla="*/ 2147483647 w 232"/>
              <a:gd name="T93" fmla="*/ 2147483647 h 248"/>
              <a:gd name="T94" fmla="*/ 2147483647 w 232"/>
              <a:gd name="T95" fmla="*/ 2147483647 h 248"/>
              <a:gd name="T96" fmla="*/ 2147483647 w 232"/>
              <a:gd name="T97" fmla="*/ 2147483647 h 248"/>
              <a:gd name="T98" fmla="*/ 2147483647 w 232"/>
              <a:gd name="T99" fmla="*/ 2147483647 h 248"/>
              <a:gd name="T100" fmla="*/ 2147483647 w 232"/>
              <a:gd name="T101" fmla="*/ 2147483647 h 248"/>
              <a:gd name="T102" fmla="*/ 2147483647 w 232"/>
              <a:gd name="T103" fmla="*/ 2147483647 h 248"/>
              <a:gd name="T104" fmla="*/ 2147483647 w 232"/>
              <a:gd name="T105" fmla="*/ 2147483647 h 248"/>
              <a:gd name="T106" fmla="*/ 2147483647 w 232"/>
              <a:gd name="T107" fmla="*/ 2147483647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12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709988" y="3189089"/>
            <a:ext cx="414337" cy="468313"/>
          </a:xfrm>
          <a:custGeom>
            <a:avLst/>
            <a:gdLst>
              <a:gd name="T0" fmla="*/ 2147483647 w 948"/>
              <a:gd name="T1" fmla="*/ 2147483647 h 893"/>
              <a:gd name="T2" fmla="*/ 2147483647 w 948"/>
              <a:gd name="T3" fmla="*/ 2147483647 h 893"/>
              <a:gd name="T4" fmla="*/ 2147483647 w 948"/>
              <a:gd name="T5" fmla="*/ 2147483647 h 893"/>
              <a:gd name="T6" fmla="*/ 2147483647 w 948"/>
              <a:gd name="T7" fmla="*/ 2147483647 h 893"/>
              <a:gd name="T8" fmla="*/ 2147483647 w 948"/>
              <a:gd name="T9" fmla="*/ 2147483647 h 893"/>
              <a:gd name="T10" fmla="*/ 2147483647 w 948"/>
              <a:gd name="T11" fmla="*/ 2147483647 h 893"/>
              <a:gd name="T12" fmla="*/ 2147483647 w 948"/>
              <a:gd name="T13" fmla="*/ 2147483647 h 893"/>
              <a:gd name="T14" fmla="*/ 2147483647 w 948"/>
              <a:gd name="T15" fmla="*/ 2147483647 h 893"/>
              <a:gd name="T16" fmla="*/ 2147483647 w 948"/>
              <a:gd name="T17" fmla="*/ 2147483647 h 893"/>
              <a:gd name="T18" fmla="*/ 2147483647 w 948"/>
              <a:gd name="T19" fmla="*/ 2147483647 h 893"/>
              <a:gd name="T20" fmla="*/ 2147483647 w 948"/>
              <a:gd name="T21" fmla="*/ 2147483647 h 893"/>
              <a:gd name="T22" fmla="*/ 2147483647 w 948"/>
              <a:gd name="T23" fmla="*/ 2147483647 h 893"/>
              <a:gd name="T24" fmla="*/ 2147483647 w 948"/>
              <a:gd name="T25" fmla="*/ 2147483647 h 893"/>
              <a:gd name="T26" fmla="*/ 2147483647 w 948"/>
              <a:gd name="T27" fmla="*/ 2147483647 h 893"/>
              <a:gd name="T28" fmla="*/ 2147483647 w 948"/>
              <a:gd name="T29" fmla="*/ 2147483647 h 893"/>
              <a:gd name="T30" fmla="*/ 2147483647 w 948"/>
              <a:gd name="T31" fmla="*/ 2147483647 h 893"/>
              <a:gd name="T32" fmla="*/ 2147483647 w 948"/>
              <a:gd name="T33" fmla="*/ 2147483647 h 893"/>
              <a:gd name="T34" fmla="*/ 2147483647 w 948"/>
              <a:gd name="T35" fmla="*/ 2147483647 h 893"/>
              <a:gd name="T36" fmla="*/ 2147483647 w 948"/>
              <a:gd name="T37" fmla="*/ 2147483647 h 893"/>
              <a:gd name="T38" fmla="*/ 2147483647 w 948"/>
              <a:gd name="T39" fmla="*/ 2147483647 h 893"/>
              <a:gd name="T40" fmla="*/ 2147483647 w 948"/>
              <a:gd name="T41" fmla="*/ 2147483647 h 893"/>
              <a:gd name="T42" fmla="*/ 2147483647 w 948"/>
              <a:gd name="T43" fmla="*/ 2147483647 h 893"/>
              <a:gd name="T44" fmla="*/ 2147483647 w 948"/>
              <a:gd name="T45" fmla="*/ 2147483647 h 893"/>
              <a:gd name="T46" fmla="*/ 2147483647 w 948"/>
              <a:gd name="T47" fmla="*/ 2147483647 h 893"/>
              <a:gd name="T48" fmla="*/ 2147483647 w 948"/>
              <a:gd name="T49" fmla="*/ 2147483647 h 893"/>
              <a:gd name="T50" fmla="*/ 2147483647 w 948"/>
              <a:gd name="T51" fmla="*/ 2147483647 h 893"/>
              <a:gd name="T52" fmla="*/ 2147483647 w 948"/>
              <a:gd name="T53" fmla="*/ 2147483647 h 893"/>
              <a:gd name="T54" fmla="*/ 2147483647 w 948"/>
              <a:gd name="T55" fmla="*/ 2147483647 h 893"/>
              <a:gd name="T56" fmla="*/ 2147483647 w 948"/>
              <a:gd name="T57" fmla="*/ 2147483647 h 893"/>
              <a:gd name="T58" fmla="*/ 2147483647 w 948"/>
              <a:gd name="T59" fmla="*/ 2147483647 h 893"/>
              <a:gd name="T60" fmla="*/ 2147483647 w 948"/>
              <a:gd name="T61" fmla="*/ 2147483647 h 893"/>
              <a:gd name="T62" fmla="*/ 2147483647 w 948"/>
              <a:gd name="T63" fmla="*/ 2147483647 h 893"/>
              <a:gd name="T64" fmla="*/ 2147483647 w 948"/>
              <a:gd name="T65" fmla="*/ 2147483647 h 893"/>
              <a:gd name="T66" fmla="*/ 2147483647 w 948"/>
              <a:gd name="T67" fmla="*/ 2147483647 h 893"/>
              <a:gd name="T68" fmla="*/ 2147483647 w 948"/>
              <a:gd name="T69" fmla="*/ 2147483647 h 893"/>
              <a:gd name="T70" fmla="*/ 2147483647 w 948"/>
              <a:gd name="T71" fmla="*/ 2147483647 h 893"/>
              <a:gd name="T72" fmla="*/ 2147483647 w 948"/>
              <a:gd name="T73" fmla="*/ 2147483647 h 893"/>
              <a:gd name="T74" fmla="*/ 2147483647 w 948"/>
              <a:gd name="T75" fmla="*/ 2147483647 h 893"/>
              <a:gd name="T76" fmla="*/ 2147483647 w 948"/>
              <a:gd name="T77" fmla="*/ 2147483647 h 893"/>
              <a:gd name="T78" fmla="*/ 2147483647 w 948"/>
              <a:gd name="T79" fmla="*/ 2147483647 h 893"/>
              <a:gd name="T80" fmla="*/ 2147483647 w 948"/>
              <a:gd name="T81" fmla="*/ 2147483647 h 893"/>
              <a:gd name="T82" fmla="*/ 2147483647 w 948"/>
              <a:gd name="T83" fmla="*/ 2147483647 h 893"/>
              <a:gd name="T84" fmla="*/ 2147483647 w 948"/>
              <a:gd name="T85" fmla="*/ 2147483647 h 893"/>
              <a:gd name="T86" fmla="*/ 2147483647 w 948"/>
              <a:gd name="T87" fmla="*/ 2147483647 h 893"/>
              <a:gd name="T88" fmla="*/ 2147483647 w 948"/>
              <a:gd name="T89" fmla="*/ 2147483647 h 893"/>
              <a:gd name="T90" fmla="*/ 2147483647 w 948"/>
              <a:gd name="T91" fmla="*/ 2147483647 h 893"/>
              <a:gd name="T92" fmla="*/ 2147483647 w 948"/>
              <a:gd name="T93" fmla="*/ 2147483647 h 893"/>
              <a:gd name="T94" fmla="*/ 2147483647 w 948"/>
              <a:gd name="T95" fmla="*/ 2147483647 h 893"/>
              <a:gd name="T96" fmla="*/ 2147483647 w 948"/>
              <a:gd name="T97" fmla="*/ 2147483647 h 893"/>
              <a:gd name="T98" fmla="*/ 2147483647 w 948"/>
              <a:gd name="T99" fmla="*/ 2147483647 h 893"/>
              <a:gd name="T100" fmla="*/ 2147483647 w 948"/>
              <a:gd name="T101" fmla="*/ 2147483647 h 893"/>
              <a:gd name="T102" fmla="*/ 2147483647 w 948"/>
              <a:gd name="T103" fmla="*/ 2147483647 h 893"/>
              <a:gd name="T104" fmla="*/ 2147483647 w 948"/>
              <a:gd name="T105" fmla="*/ 2147483647 h 893"/>
              <a:gd name="T106" fmla="*/ 2147483647 w 948"/>
              <a:gd name="T107" fmla="*/ 2147483647 h 893"/>
              <a:gd name="T108" fmla="*/ 2147483647 w 948"/>
              <a:gd name="T109" fmla="*/ 2147483647 h 893"/>
              <a:gd name="T110" fmla="*/ 2147483647 w 948"/>
              <a:gd name="T111" fmla="*/ 2147483647 h 893"/>
              <a:gd name="T112" fmla="*/ 2147483647 w 948"/>
              <a:gd name="T113" fmla="*/ 2147483647 h 893"/>
              <a:gd name="T114" fmla="*/ 2147483647 w 948"/>
              <a:gd name="T115" fmla="*/ 2147483647 h 893"/>
              <a:gd name="T116" fmla="*/ 2147483647 w 948"/>
              <a:gd name="T117" fmla="*/ 2147483647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13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808413" y="2795389"/>
            <a:ext cx="493712" cy="579438"/>
          </a:xfrm>
          <a:custGeom>
            <a:avLst/>
            <a:gdLst>
              <a:gd name="T0" fmla="*/ 2147483647 w 373"/>
              <a:gd name="T1" fmla="*/ 2147483647 h 370"/>
              <a:gd name="T2" fmla="*/ 2147483647 w 373"/>
              <a:gd name="T3" fmla="*/ 2147483647 h 370"/>
              <a:gd name="T4" fmla="*/ 2147483647 w 373"/>
              <a:gd name="T5" fmla="*/ 2147483647 h 370"/>
              <a:gd name="T6" fmla="*/ 2147483647 w 373"/>
              <a:gd name="T7" fmla="*/ 2147483647 h 370"/>
              <a:gd name="T8" fmla="*/ 2147483647 w 373"/>
              <a:gd name="T9" fmla="*/ 2147483647 h 370"/>
              <a:gd name="T10" fmla="*/ 2147483647 w 373"/>
              <a:gd name="T11" fmla="*/ 2147483647 h 370"/>
              <a:gd name="T12" fmla="*/ 2147483647 w 373"/>
              <a:gd name="T13" fmla="*/ 2147483647 h 370"/>
              <a:gd name="T14" fmla="*/ 2147483647 w 373"/>
              <a:gd name="T15" fmla="*/ 2147483647 h 370"/>
              <a:gd name="T16" fmla="*/ 2147483647 w 373"/>
              <a:gd name="T17" fmla="*/ 2147483647 h 370"/>
              <a:gd name="T18" fmla="*/ 2147483647 w 373"/>
              <a:gd name="T19" fmla="*/ 2147483647 h 370"/>
              <a:gd name="T20" fmla="*/ 2147483647 w 373"/>
              <a:gd name="T21" fmla="*/ 2147483647 h 370"/>
              <a:gd name="T22" fmla="*/ 2147483647 w 373"/>
              <a:gd name="T23" fmla="*/ 2147483647 h 370"/>
              <a:gd name="T24" fmla="*/ 2147483647 w 373"/>
              <a:gd name="T25" fmla="*/ 2147483647 h 370"/>
              <a:gd name="T26" fmla="*/ 2147483647 w 373"/>
              <a:gd name="T27" fmla="*/ 2147483647 h 370"/>
              <a:gd name="T28" fmla="*/ 2147483647 w 373"/>
              <a:gd name="T29" fmla="*/ 2147483647 h 370"/>
              <a:gd name="T30" fmla="*/ 2147483647 w 373"/>
              <a:gd name="T31" fmla="*/ 2147483647 h 370"/>
              <a:gd name="T32" fmla="*/ 2147483647 w 373"/>
              <a:gd name="T33" fmla="*/ 2147483647 h 370"/>
              <a:gd name="T34" fmla="*/ 2147483647 w 373"/>
              <a:gd name="T35" fmla="*/ 2147483647 h 370"/>
              <a:gd name="T36" fmla="*/ 2147483647 w 373"/>
              <a:gd name="T37" fmla="*/ 2147483647 h 370"/>
              <a:gd name="T38" fmla="*/ 2147483647 w 373"/>
              <a:gd name="T39" fmla="*/ 2147483647 h 370"/>
              <a:gd name="T40" fmla="*/ 2147483647 w 373"/>
              <a:gd name="T41" fmla="*/ 2147483647 h 370"/>
              <a:gd name="T42" fmla="*/ 2147483647 w 373"/>
              <a:gd name="T43" fmla="*/ 2147483647 h 370"/>
              <a:gd name="T44" fmla="*/ 2147483647 w 373"/>
              <a:gd name="T45" fmla="*/ 2147483647 h 370"/>
              <a:gd name="T46" fmla="*/ 2147483647 w 373"/>
              <a:gd name="T47" fmla="*/ 2147483647 h 370"/>
              <a:gd name="T48" fmla="*/ 2147483647 w 373"/>
              <a:gd name="T49" fmla="*/ 2147483647 h 370"/>
              <a:gd name="T50" fmla="*/ 2147483647 w 373"/>
              <a:gd name="T51" fmla="*/ 2147483647 h 370"/>
              <a:gd name="T52" fmla="*/ 2147483647 w 373"/>
              <a:gd name="T53" fmla="*/ 2147483647 h 370"/>
              <a:gd name="T54" fmla="*/ 2147483647 w 373"/>
              <a:gd name="T55" fmla="*/ 2147483647 h 370"/>
              <a:gd name="T56" fmla="*/ 2147483647 w 373"/>
              <a:gd name="T57" fmla="*/ 2147483647 h 370"/>
              <a:gd name="T58" fmla="*/ 2147483647 w 373"/>
              <a:gd name="T59" fmla="*/ 2147483647 h 370"/>
              <a:gd name="T60" fmla="*/ 2147483647 w 373"/>
              <a:gd name="T61" fmla="*/ 2147483647 h 370"/>
              <a:gd name="T62" fmla="*/ 2147483647 w 373"/>
              <a:gd name="T63" fmla="*/ 2147483647 h 370"/>
              <a:gd name="T64" fmla="*/ 2147483647 w 373"/>
              <a:gd name="T65" fmla="*/ 2147483647 h 370"/>
              <a:gd name="T66" fmla="*/ 2147483647 w 373"/>
              <a:gd name="T67" fmla="*/ 2147483647 h 370"/>
              <a:gd name="T68" fmla="*/ 2147483647 w 373"/>
              <a:gd name="T69" fmla="*/ 2147483647 h 370"/>
              <a:gd name="T70" fmla="*/ 2147483647 w 373"/>
              <a:gd name="T71" fmla="*/ 2147483647 h 370"/>
              <a:gd name="T72" fmla="*/ 2147483647 w 373"/>
              <a:gd name="T73" fmla="*/ 2147483647 h 370"/>
              <a:gd name="T74" fmla="*/ 2147483647 w 373"/>
              <a:gd name="T75" fmla="*/ 2147483647 h 370"/>
              <a:gd name="T76" fmla="*/ 2147483647 w 373"/>
              <a:gd name="T77" fmla="*/ 2147483647 h 370"/>
              <a:gd name="T78" fmla="*/ 2147483647 w 373"/>
              <a:gd name="T79" fmla="*/ 2147483647 h 370"/>
              <a:gd name="T80" fmla="*/ 2147483647 w 373"/>
              <a:gd name="T81" fmla="*/ 2147483647 h 370"/>
              <a:gd name="T82" fmla="*/ 2147483647 w 373"/>
              <a:gd name="T83" fmla="*/ 2147483647 h 370"/>
              <a:gd name="T84" fmla="*/ 2147483647 w 373"/>
              <a:gd name="T85" fmla="*/ 2147483647 h 370"/>
              <a:gd name="T86" fmla="*/ 2147483647 w 373"/>
              <a:gd name="T87" fmla="*/ 2147483647 h 370"/>
              <a:gd name="T88" fmla="*/ 0 w 373"/>
              <a:gd name="T89" fmla="*/ 2147483647 h 370"/>
              <a:gd name="T90" fmla="*/ 2147483647 w 373"/>
              <a:gd name="T91" fmla="*/ 2147483647 h 370"/>
              <a:gd name="T92" fmla="*/ 2147483647 w 373"/>
              <a:gd name="T93" fmla="*/ 2147483647 h 370"/>
              <a:gd name="T94" fmla="*/ 2147483647 w 373"/>
              <a:gd name="T95" fmla="*/ 2147483647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14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244975" y="2930327"/>
            <a:ext cx="384175" cy="436562"/>
          </a:xfrm>
          <a:custGeom>
            <a:avLst/>
            <a:gdLst>
              <a:gd name="T0" fmla="*/ 2147483647 w 877"/>
              <a:gd name="T1" fmla="*/ 2147483647 h 826"/>
              <a:gd name="T2" fmla="*/ 2147483647 w 877"/>
              <a:gd name="T3" fmla="*/ 2147483647 h 826"/>
              <a:gd name="T4" fmla="*/ 2147483647 w 877"/>
              <a:gd name="T5" fmla="*/ 2147483647 h 826"/>
              <a:gd name="T6" fmla="*/ 2147483647 w 877"/>
              <a:gd name="T7" fmla="*/ 2147483647 h 826"/>
              <a:gd name="T8" fmla="*/ 2147483647 w 877"/>
              <a:gd name="T9" fmla="*/ 2147483647 h 826"/>
              <a:gd name="T10" fmla="*/ 2147483647 w 877"/>
              <a:gd name="T11" fmla="*/ 2147483647 h 826"/>
              <a:gd name="T12" fmla="*/ 2147483647 w 877"/>
              <a:gd name="T13" fmla="*/ 2147483647 h 826"/>
              <a:gd name="T14" fmla="*/ 2147483647 w 877"/>
              <a:gd name="T15" fmla="*/ 2147483647 h 826"/>
              <a:gd name="T16" fmla="*/ 2147483647 w 877"/>
              <a:gd name="T17" fmla="*/ 2147483647 h 826"/>
              <a:gd name="T18" fmla="*/ 2147483647 w 877"/>
              <a:gd name="T19" fmla="*/ 2147483647 h 826"/>
              <a:gd name="T20" fmla="*/ 2147483647 w 877"/>
              <a:gd name="T21" fmla="*/ 2147483647 h 826"/>
              <a:gd name="T22" fmla="*/ 2147483647 w 877"/>
              <a:gd name="T23" fmla="*/ 2147483647 h 826"/>
              <a:gd name="T24" fmla="*/ 2147483647 w 877"/>
              <a:gd name="T25" fmla="*/ 2147483647 h 826"/>
              <a:gd name="T26" fmla="*/ 2147483647 w 877"/>
              <a:gd name="T27" fmla="*/ 2147483647 h 826"/>
              <a:gd name="T28" fmla="*/ 2147483647 w 877"/>
              <a:gd name="T29" fmla="*/ 2147483647 h 826"/>
              <a:gd name="T30" fmla="*/ 2147483647 w 877"/>
              <a:gd name="T31" fmla="*/ 2147483647 h 826"/>
              <a:gd name="T32" fmla="*/ 2147483647 w 877"/>
              <a:gd name="T33" fmla="*/ 2147483647 h 826"/>
              <a:gd name="T34" fmla="*/ 2147483647 w 877"/>
              <a:gd name="T35" fmla="*/ 2147483647 h 826"/>
              <a:gd name="T36" fmla="*/ 2147483647 w 877"/>
              <a:gd name="T37" fmla="*/ 2147483647 h 826"/>
              <a:gd name="T38" fmla="*/ 2147483647 w 877"/>
              <a:gd name="T39" fmla="*/ 2147483647 h 826"/>
              <a:gd name="T40" fmla="*/ 2147483647 w 877"/>
              <a:gd name="T41" fmla="*/ 2147483647 h 826"/>
              <a:gd name="T42" fmla="*/ 2147483647 w 877"/>
              <a:gd name="T43" fmla="*/ 2147483647 h 826"/>
              <a:gd name="T44" fmla="*/ 2147483647 w 877"/>
              <a:gd name="T45" fmla="*/ 2147483647 h 826"/>
              <a:gd name="T46" fmla="*/ 2147483647 w 877"/>
              <a:gd name="T47" fmla="*/ 0 h 826"/>
              <a:gd name="T48" fmla="*/ 2147483647 w 877"/>
              <a:gd name="T49" fmla="*/ 2147483647 h 826"/>
              <a:gd name="T50" fmla="*/ 2147483647 w 877"/>
              <a:gd name="T51" fmla="*/ 2147483647 h 826"/>
              <a:gd name="T52" fmla="*/ 2147483647 w 877"/>
              <a:gd name="T53" fmla="*/ 2147483647 h 826"/>
              <a:gd name="T54" fmla="*/ 2147483647 w 877"/>
              <a:gd name="T55" fmla="*/ 2147483647 h 826"/>
              <a:gd name="T56" fmla="*/ 2147483647 w 877"/>
              <a:gd name="T57" fmla="*/ 2147483647 h 826"/>
              <a:gd name="T58" fmla="*/ 2147483647 w 877"/>
              <a:gd name="T59" fmla="*/ 2147483647 h 826"/>
              <a:gd name="T60" fmla="*/ 2147483647 w 877"/>
              <a:gd name="T61" fmla="*/ 2147483647 h 826"/>
              <a:gd name="T62" fmla="*/ 2147483647 w 877"/>
              <a:gd name="T63" fmla="*/ 2147483647 h 826"/>
              <a:gd name="T64" fmla="*/ 2147483647 w 877"/>
              <a:gd name="T65" fmla="*/ 2147483647 h 826"/>
              <a:gd name="T66" fmla="*/ 2147483647 w 877"/>
              <a:gd name="T67" fmla="*/ 2147483647 h 826"/>
              <a:gd name="T68" fmla="*/ 2147483647 w 877"/>
              <a:gd name="T69" fmla="*/ 2147483647 h 826"/>
              <a:gd name="T70" fmla="*/ 2147483647 w 877"/>
              <a:gd name="T71" fmla="*/ 2147483647 h 826"/>
              <a:gd name="T72" fmla="*/ 2147483647 w 877"/>
              <a:gd name="T73" fmla="*/ 2147483647 h 826"/>
              <a:gd name="T74" fmla="*/ 2147483647 w 877"/>
              <a:gd name="T75" fmla="*/ 2147483647 h 826"/>
              <a:gd name="T76" fmla="*/ 2147483647 w 877"/>
              <a:gd name="T77" fmla="*/ 2147483647 h 826"/>
              <a:gd name="T78" fmla="*/ 2147483647 w 877"/>
              <a:gd name="T79" fmla="*/ 2147483647 h 826"/>
              <a:gd name="T80" fmla="*/ 2147483647 w 877"/>
              <a:gd name="T81" fmla="*/ 2147483647 h 826"/>
              <a:gd name="T82" fmla="*/ 2147483647 w 877"/>
              <a:gd name="T83" fmla="*/ 2147483647 h 826"/>
              <a:gd name="T84" fmla="*/ 2147483647 w 877"/>
              <a:gd name="T85" fmla="*/ 2147483647 h 826"/>
              <a:gd name="T86" fmla="*/ 2147483647 w 877"/>
              <a:gd name="T87" fmla="*/ 2147483647 h 826"/>
              <a:gd name="T88" fmla="*/ 2147483647 w 877"/>
              <a:gd name="T89" fmla="*/ 2147483647 h 826"/>
              <a:gd name="T90" fmla="*/ 2147483647 w 877"/>
              <a:gd name="T91" fmla="*/ 2147483647 h 826"/>
              <a:gd name="T92" fmla="*/ 2147483647 w 877"/>
              <a:gd name="T93" fmla="*/ 2147483647 h 826"/>
              <a:gd name="T94" fmla="*/ 2147483647 w 877"/>
              <a:gd name="T95" fmla="*/ 2147483647 h 826"/>
              <a:gd name="T96" fmla="*/ 2147483647 w 877"/>
              <a:gd name="T97" fmla="*/ 2147483647 h 826"/>
              <a:gd name="T98" fmla="*/ 2147483647 w 877"/>
              <a:gd name="T99" fmla="*/ 2147483647 h 826"/>
              <a:gd name="T100" fmla="*/ 2147483647 w 877"/>
              <a:gd name="T101" fmla="*/ 2147483647 h 826"/>
              <a:gd name="T102" fmla="*/ 2147483647 w 877"/>
              <a:gd name="T103" fmla="*/ 2147483647 h 826"/>
              <a:gd name="T104" fmla="*/ 2147483647 w 877"/>
              <a:gd name="T105" fmla="*/ 2147483647 h 826"/>
              <a:gd name="T106" fmla="*/ 2147483647 w 877"/>
              <a:gd name="T107" fmla="*/ 2147483647 h 826"/>
              <a:gd name="T108" fmla="*/ 2147483647 w 877"/>
              <a:gd name="T109" fmla="*/ 2147483647 h 826"/>
              <a:gd name="T110" fmla="*/ 2147483647 w 877"/>
              <a:gd name="T111" fmla="*/ 2147483647 h 826"/>
              <a:gd name="T112" fmla="*/ 2147483647 w 877"/>
              <a:gd name="T113" fmla="*/ 2147483647 h 826"/>
              <a:gd name="T114" fmla="*/ 2147483647 w 877"/>
              <a:gd name="T115" fmla="*/ 2147483647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15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197350" y="2795389"/>
            <a:ext cx="93663" cy="236538"/>
          </a:xfrm>
          <a:custGeom>
            <a:avLst/>
            <a:gdLst>
              <a:gd name="T0" fmla="*/ 2147483647 w 206"/>
              <a:gd name="T1" fmla="*/ 2147483647 h 455"/>
              <a:gd name="T2" fmla="*/ 2147483647 w 206"/>
              <a:gd name="T3" fmla="*/ 2147483647 h 455"/>
              <a:gd name="T4" fmla="*/ 2147483647 w 206"/>
              <a:gd name="T5" fmla="*/ 2147483647 h 455"/>
              <a:gd name="T6" fmla="*/ 2147483647 w 206"/>
              <a:gd name="T7" fmla="*/ 2147483647 h 455"/>
              <a:gd name="T8" fmla="*/ 2147483647 w 206"/>
              <a:gd name="T9" fmla="*/ 2147483647 h 455"/>
              <a:gd name="T10" fmla="*/ 2147483647 w 206"/>
              <a:gd name="T11" fmla="*/ 2147483647 h 455"/>
              <a:gd name="T12" fmla="*/ 2147483647 w 206"/>
              <a:gd name="T13" fmla="*/ 2147483647 h 455"/>
              <a:gd name="T14" fmla="*/ 2147483647 w 206"/>
              <a:gd name="T15" fmla="*/ 2147483647 h 455"/>
              <a:gd name="T16" fmla="*/ 2147483647 w 206"/>
              <a:gd name="T17" fmla="*/ 2147483647 h 455"/>
              <a:gd name="T18" fmla="*/ 2147483647 w 206"/>
              <a:gd name="T19" fmla="*/ 2147483647 h 455"/>
              <a:gd name="T20" fmla="*/ 2147483647 w 206"/>
              <a:gd name="T21" fmla="*/ 2147483647 h 455"/>
              <a:gd name="T22" fmla="*/ 2147483647 w 206"/>
              <a:gd name="T23" fmla="*/ 2147483647 h 455"/>
              <a:gd name="T24" fmla="*/ 2147483647 w 206"/>
              <a:gd name="T25" fmla="*/ 2147483647 h 455"/>
              <a:gd name="T26" fmla="*/ 2147483647 w 206"/>
              <a:gd name="T27" fmla="*/ 2147483647 h 455"/>
              <a:gd name="T28" fmla="*/ 2147483647 w 206"/>
              <a:gd name="T29" fmla="*/ 2147483647 h 455"/>
              <a:gd name="T30" fmla="*/ 2147483647 w 206"/>
              <a:gd name="T31" fmla="*/ 2147483647 h 455"/>
              <a:gd name="T32" fmla="*/ 2147483647 w 206"/>
              <a:gd name="T33" fmla="*/ 2147483647 h 455"/>
              <a:gd name="T34" fmla="*/ 2147483647 w 206"/>
              <a:gd name="T35" fmla="*/ 2147483647 h 455"/>
              <a:gd name="T36" fmla="*/ 2147483647 w 206"/>
              <a:gd name="T37" fmla="*/ 2147483647 h 455"/>
              <a:gd name="T38" fmla="*/ 2147483647 w 206"/>
              <a:gd name="T39" fmla="*/ 2147483647 h 455"/>
              <a:gd name="T40" fmla="*/ 2147483647 w 206"/>
              <a:gd name="T41" fmla="*/ 2147483647 h 455"/>
              <a:gd name="T42" fmla="*/ 2147483647 w 206"/>
              <a:gd name="T43" fmla="*/ 2147483647 h 455"/>
              <a:gd name="T44" fmla="*/ 2147483647 w 206"/>
              <a:gd name="T45" fmla="*/ 2147483647 h 455"/>
              <a:gd name="T46" fmla="*/ 2147483647 w 206"/>
              <a:gd name="T47" fmla="*/ 2147483647 h 455"/>
              <a:gd name="T48" fmla="*/ 2147483647 w 206"/>
              <a:gd name="T49" fmla="*/ 2147483647 h 455"/>
              <a:gd name="T50" fmla="*/ 2147483647 w 206"/>
              <a:gd name="T51" fmla="*/ 2147483647 h 455"/>
              <a:gd name="T52" fmla="*/ 2147483647 w 206"/>
              <a:gd name="T53" fmla="*/ 2147483647 h 455"/>
              <a:gd name="T54" fmla="*/ 2147483647 w 206"/>
              <a:gd name="T55" fmla="*/ 2147483647 h 455"/>
              <a:gd name="T56" fmla="*/ 2147483647 w 206"/>
              <a:gd name="T57" fmla="*/ 2147483647 h 455"/>
              <a:gd name="T58" fmla="*/ 2147483647 w 206"/>
              <a:gd name="T59" fmla="*/ 2147483647 h 455"/>
              <a:gd name="T60" fmla="*/ 2147483647 w 206"/>
              <a:gd name="T61" fmla="*/ 2147483647 h 455"/>
              <a:gd name="T62" fmla="*/ 2147483647 w 206"/>
              <a:gd name="T63" fmla="*/ 2147483647 h 455"/>
              <a:gd name="T64" fmla="*/ 2147483647 w 206"/>
              <a:gd name="T65" fmla="*/ 2147483647 h 455"/>
              <a:gd name="T66" fmla="*/ 2147483647 w 206"/>
              <a:gd name="T67" fmla="*/ 2147483647 h 455"/>
              <a:gd name="T68" fmla="*/ 2147483647 w 206"/>
              <a:gd name="T69" fmla="*/ 2147483647 h 455"/>
              <a:gd name="T70" fmla="*/ 2147483647 w 206"/>
              <a:gd name="T71" fmla="*/ 2147483647 h 455"/>
              <a:gd name="T72" fmla="*/ 2147483647 w 206"/>
              <a:gd name="T73" fmla="*/ 2147483647 h 455"/>
              <a:gd name="T74" fmla="*/ 2147483647 w 206"/>
              <a:gd name="T75" fmla="*/ 0 h 455"/>
              <a:gd name="T76" fmla="*/ 2147483647 w 206"/>
              <a:gd name="T77" fmla="*/ 2147483647 h 455"/>
              <a:gd name="T78" fmla="*/ 2147483647 w 206"/>
              <a:gd name="T79" fmla="*/ 2147483647 h 455"/>
              <a:gd name="T80" fmla="*/ 2147483647 w 206"/>
              <a:gd name="T81" fmla="*/ 2147483647 h 455"/>
              <a:gd name="T82" fmla="*/ 2147483647 w 206"/>
              <a:gd name="T83" fmla="*/ 2147483647 h 455"/>
              <a:gd name="T84" fmla="*/ 2147483647 w 206"/>
              <a:gd name="T85" fmla="*/ 2147483647 h 455"/>
              <a:gd name="T86" fmla="*/ 2147483647 w 206"/>
              <a:gd name="T87" fmla="*/ 2147483647 h 455"/>
              <a:gd name="T88" fmla="*/ 2147483647 w 206"/>
              <a:gd name="T89" fmla="*/ 2147483647 h 455"/>
              <a:gd name="T90" fmla="*/ 2147483647 w 206"/>
              <a:gd name="T91" fmla="*/ 2147483647 h 455"/>
              <a:gd name="T92" fmla="*/ 0 w 206"/>
              <a:gd name="T93" fmla="*/ 2147483647 h 455"/>
              <a:gd name="T94" fmla="*/ 2147483647 w 206"/>
              <a:gd name="T95" fmla="*/ 2147483647 h 455"/>
              <a:gd name="T96" fmla="*/ 2147483647 w 206"/>
              <a:gd name="T97" fmla="*/ 2147483647 h 455"/>
              <a:gd name="T98" fmla="*/ 2147483647 w 206"/>
              <a:gd name="T99" fmla="*/ 2147483647 h 455"/>
              <a:gd name="T100" fmla="*/ 2147483647 w 206"/>
              <a:gd name="T101" fmla="*/ 2147483647 h 455"/>
              <a:gd name="T102" fmla="*/ 2147483647 w 206"/>
              <a:gd name="T103" fmla="*/ 2147483647 h 455"/>
              <a:gd name="T104" fmla="*/ 2147483647 w 206"/>
              <a:gd name="T105" fmla="*/ 2147483647 h 455"/>
              <a:gd name="T106" fmla="*/ 2147483647 w 206"/>
              <a:gd name="T107" fmla="*/ 2147483647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16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579813" y="3106539"/>
            <a:ext cx="231775" cy="215900"/>
          </a:xfrm>
          <a:custGeom>
            <a:avLst/>
            <a:gdLst>
              <a:gd name="T0" fmla="*/ 2147483647 w 518"/>
              <a:gd name="T1" fmla="*/ 2147483647 h 406"/>
              <a:gd name="T2" fmla="*/ 2147483647 w 518"/>
              <a:gd name="T3" fmla="*/ 2147483647 h 406"/>
              <a:gd name="T4" fmla="*/ 2147483647 w 518"/>
              <a:gd name="T5" fmla="*/ 2147483647 h 406"/>
              <a:gd name="T6" fmla="*/ 2147483647 w 518"/>
              <a:gd name="T7" fmla="*/ 2147483647 h 406"/>
              <a:gd name="T8" fmla="*/ 2147483647 w 518"/>
              <a:gd name="T9" fmla="*/ 2147483647 h 406"/>
              <a:gd name="T10" fmla="*/ 2147483647 w 518"/>
              <a:gd name="T11" fmla="*/ 2147483647 h 406"/>
              <a:gd name="T12" fmla="*/ 2147483647 w 518"/>
              <a:gd name="T13" fmla="*/ 2147483647 h 406"/>
              <a:gd name="T14" fmla="*/ 2147483647 w 518"/>
              <a:gd name="T15" fmla="*/ 2147483647 h 406"/>
              <a:gd name="T16" fmla="*/ 2147483647 w 518"/>
              <a:gd name="T17" fmla="*/ 2147483647 h 406"/>
              <a:gd name="T18" fmla="*/ 2147483647 w 518"/>
              <a:gd name="T19" fmla="*/ 2147483647 h 406"/>
              <a:gd name="T20" fmla="*/ 2147483647 w 518"/>
              <a:gd name="T21" fmla="*/ 2147483647 h 406"/>
              <a:gd name="T22" fmla="*/ 2147483647 w 518"/>
              <a:gd name="T23" fmla="*/ 2147483647 h 406"/>
              <a:gd name="T24" fmla="*/ 2147483647 w 518"/>
              <a:gd name="T25" fmla="*/ 2147483647 h 406"/>
              <a:gd name="T26" fmla="*/ 2147483647 w 518"/>
              <a:gd name="T27" fmla="*/ 2147483647 h 406"/>
              <a:gd name="T28" fmla="*/ 2147483647 w 518"/>
              <a:gd name="T29" fmla="*/ 2147483647 h 406"/>
              <a:gd name="T30" fmla="*/ 2147483647 w 518"/>
              <a:gd name="T31" fmla="*/ 2147483647 h 406"/>
              <a:gd name="T32" fmla="*/ 2147483647 w 518"/>
              <a:gd name="T33" fmla="*/ 2147483647 h 406"/>
              <a:gd name="T34" fmla="*/ 2147483647 w 518"/>
              <a:gd name="T35" fmla="*/ 2147483647 h 406"/>
              <a:gd name="T36" fmla="*/ 2147483647 w 518"/>
              <a:gd name="T37" fmla="*/ 2147483647 h 406"/>
              <a:gd name="T38" fmla="*/ 2147483647 w 518"/>
              <a:gd name="T39" fmla="*/ 2147483647 h 406"/>
              <a:gd name="T40" fmla="*/ 2147483647 w 518"/>
              <a:gd name="T41" fmla="*/ 2147483647 h 406"/>
              <a:gd name="T42" fmla="*/ 2147483647 w 518"/>
              <a:gd name="T43" fmla="*/ 2147483647 h 406"/>
              <a:gd name="T44" fmla="*/ 2147483647 w 518"/>
              <a:gd name="T45" fmla="*/ 2147483647 h 406"/>
              <a:gd name="T46" fmla="*/ 2147483647 w 518"/>
              <a:gd name="T47" fmla="*/ 2147483647 h 406"/>
              <a:gd name="T48" fmla="*/ 2147483647 w 518"/>
              <a:gd name="T49" fmla="*/ 2147483647 h 406"/>
              <a:gd name="T50" fmla="*/ 2147483647 w 518"/>
              <a:gd name="T51" fmla="*/ 2147483647 h 406"/>
              <a:gd name="T52" fmla="*/ 2147483647 w 518"/>
              <a:gd name="T53" fmla="*/ 2147483647 h 406"/>
              <a:gd name="T54" fmla="*/ 2147483647 w 518"/>
              <a:gd name="T55" fmla="*/ 2147483647 h 406"/>
              <a:gd name="T56" fmla="*/ 2147483647 w 518"/>
              <a:gd name="T57" fmla="*/ 2147483647 h 406"/>
              <a:gd name="T58" fmla="*/ 2147483647 w 518"/>
              <a:gd name="T59" fmla="*/ 2147483647 h 406"/>
              <a:gd name="T60" fmla="*/ 2147483647 w 518"/>
              <a:gd name="T61" fmla="*/ 2147483647 h 406"/>
              <a:gd name="T62" fmla="*/ 2147483647 w 518"/>
              <a:gd name="T63" fmla="*/ 2147483647 h 406"/>
              <a:gd name="T64" fmla="*/ 2147483647 w 518"/>
              <a:gd name="T65" fmla="*/ 2147483647 h 406"/>
              <a:gd name="T66" fmla="*/ 2147483647 w 518"/>
              <a:gd name="T67" fmla="*/ 2147483647 h 406"/>
              <a:gd name="T68" fmla="*/ 2147483647 w 518"/>
              <a:gd name="T69" fmla="*/ 2147483647 h 406"/>
              <a:gd name="T70" fmla="*/ 2147483647 w 518"/>
              <a:gd name="T71" fmla="*/ 2147483647 h 406"/>
              <a:gd name="T72" fmla="*/ 2147483647 w 518"/>
              <a:gd name="T73" fmla="*/ 2147483647 h 406"/>
              <a:gd name="T74" fmla="*/ 2147483647 w 518"/>
              <a:gd name="T75" fmla="*/ 2147483647 h 406"/>
              <a:gd name="T76" fmla="*/ 2147483647 w 518"/>
              <a:gd name="T77" fmla="*/ 0 h 406"/>
              <a:gd name="T78" fmla="*/ 2147483647 w 518"/>
              <a:gd name="T79" fmla="*/ 2147483647 h 406"/>
              <a:gd name="T80" fmla="*/ 2147483647 w 518"/>
              <a:gd name="T81" fmla="*/ 2147483647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17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548063" y="1914327"/>
            <a:ext cx="190500" cy="93662"/>
          </a:xfrm>
          <a:custGeom>
            <a:avLst/>
            <a:gdLst>
              <a:gd name="T0" fmla="*/ 6202783 w 446"/>
              <a:gd name="T1" fmla="*/ 16889679 h 178"/>
              <a:gd name="T2" fmla="*/ 7479901 w 446"/>
              <a:gd name="T3" fmla="*/ 11628821 h 178"/>
              <a:gd name="T4" fmla="*/ 12405992 w 446"/>
              <a:gd name="T5" fmla="*/ 10244413 h 178"/>
              <a:gd name="T6" fmla="*/ 14595034 w 446"/>
              <a:gd name="T7" fmla="*/ 4983555 h 178"/>
              <a:gd name="T8" fmla="*/ 13135530 w 446"/>
              <a:gd name="T9" fmla="*/ 3876449 h 178"/>
              <a:gd name="T10" fmla="*/ 10946489 w 446"/>
              <a:gd name="T11" fmla="*/ 0 h 178"/>
              <a:gd name="T12" fmla="*/ 15507383 w 446"/>
              <a:gd name="T13" fmla="*/ 2768817 h 178"/>
              <a:gd name="T14" fmla="*/ 19703509 w 446"/>
              <a:gd name="T15" fmla="*/ 10797966 h 178"/>
              <a:gd name="T16" fmla="*/ 22804900 w 446"/>
              <a:gd name="T17" fmla="*/ 17166456 h 178"/>
              <a:gd name="T18" fmla="*/ 25359138 w 446"/>
              <a:gd name="T19" fmla="*/ 18550864 h 178"/>
              <a:gd name="T20" fmla="*/ 28642914 w 446"/>
              <a:gd name="T21" fmla="*/ 17443232 h 178"/>
              <a:gd name="T22" fmla="*/ 33021851 w 446"/>
              <a:gd name="T23" fmla="*/ 12459677 h 178"/>
              <a:gd name="T24" fmla="*/ 37400361 w 446"/>
              <a:gd name="T25" fmla="*/ 6367964 h 178"/>
              <a:gd name="T26" fmla="*/ 40136983 w 446"/>
              <a:gd name="T27" fmla="*/ 8583228 h 178"/>
              <a:gd name="T28" fmla="*/ 65496121 w 446"/>
              <a:gd name="T29" fmla="*/ 3045594 h 178"/>
              <a:gd name="T30" fmla="*/ 68597512 w 446"/>
              <a:gd name="T31" fmla="*/ 6367964 h 178"/>
              <a:gd name="T32" fmla="*/ 72246057 w 446"/>
              <a:gd name="T33" fmla="*/ 6091187 h 178"/>
              <a:gd name="T34" fmla="*/ 75347876 w 446"/>
              <a:gd name="T35" fmla="*/ 10244413 h 178"/>
              <a:gd name="T36" fmla="*/ 75712645 w 446"/>
              <a:gd name="T37" fmla="*/ 11905598 h 178"/>
              <a:gd name="T38" fmla="*/ 78266882 w 446"/>
              <a:gd name="T39" fmla="*/ 14951191 h 178"/>
              <a:gd name="T40" fmla="*/ 80821120 w 446"/>
              <a:gd name="T41" fmla="*/ 18827641 h 178"/>
              <a:gd name="T42" fmla="*/ 81368274 w 446"/>
              <a:gd name="T43" fmla="*/ 22150011 h 178"/>
              <a:gd name="T44" fmla="*/ 79908770 w 446"/>
              <a:gd name="T45" fmla="*/ 26580013 h 178"/>
              <a:gd name="T46" fmla="*/ 75347876 w 446"/>
              <a:gd name="T47" fmla="*/ 30733238 h 178"/>
              <a:gd name="T48" fmla="*/ 72428869 w 446"/>
              <a:gd name="T49" fmla="*/ 33225279 h 178"/>
              <a:gd name="T50" fmla="*/ 66773240 w 446"/>
              <a:gd name="T51" fmla="*/ 34055608 h 178"/>
              <a:gd name="T52" fmla="*/ 54732017 w 446"/>
              <a:gd name="T53" fmla="*/ 40424098 h 178"/>
              <a:gd name="T54" fmla="*/ 42690794 w 446"/>
              <a:gd name="T55" fmla="*/ 47346141 h 178"/>
              <a:gd name="T56" fmla="*/ 36305627 w 446"/>
              <a:gd name="T57" fmla="*/ 49284102 h 178"/>
              <a:gd name="T58" fmla="*/ 32291886 w 446"/>
              <a:gd name="T59" fmla="*/ 48176470 h 178"/>
              <a:gd name="T60" fmla="*/ 31379536 w 446"/>
              <a:gd name="T61" fmla="*/ 45407653 h 178"/>
              <a:gd name="T62" fmla="*/ 31014767 w 446"/>
              <a:gd name="T63" fmla="*/ 44577324 h 178"/>
              <a:gd name="T64" fmla="*/ 28460529 w 446"/>
              <a:gd name="T65" fmla="*/ 44577324 h 178"/>
              <a:gd name="T66" fmla="*/ 25359138 w 446"/>
              <a:gd name="T67" fmla="*/ 44300547 h 178"/>
              <a:gd name="T68" fmla="*/ 18244006 w 446"/>
              <a:gd name="T69" fmla="*/ 40700875 h 178"/>
              <a:gd name="T70" fmla="*/ 15507383 w 446"/>
              <a:gd name="T71" fmla="*/ 37932058 h 178"/>
              <a:gd name="T72" fmla="*/ 14777845 w 446"/>
              <a:gd name="T73" fmla="*/ 34609688 h 178"/>
              <a:gd name="T74" fmla="*/ 15872152 w 446"/>
              <a:gd name="T75" fmla="*/ 30733238 h 178"/>
              <a:gd name="T76" fmla="*/ 4926091 w 446"/>
              <a:gd name="T77" fmla="*/ 28518500 h 178"/>
              <a:gd name="T78" fmla="*/ 1641888 w 446"/>
              <a:gd name="T79" fmla="*/ 29072053 h 178"/>
              <a:gd name="T80" fmla="*/ 0 w 446"/>
              <a:gd name="T81" fmla="*/ 22150011 h 178"/>
              <a:gd name="T82" fmla="*/ 10946489 w 446"/>
              <a:gd name="T83" fmla="*/ 23811196 h 178"/>
              <a:gd name="T84" fmla="*/ 15872152 w 446"/>
              <a:gd name="T85" fmla="*/ 22150011 h 178"/>
              <a:gd name="T86" fmla="*/ 4196126 w 446"/>
              <a:gd name="T87" fmla="*/ 18827641 h 178"/>
              <a:gd name="T88" fmla="*/ 2919007 w 446"/>
              <a:gd name="T89" fmla="*/ 15228494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18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340225" y="2177852"/>
            <a:ext cx="14288" cy="57150"/>
          </a:xfrm>
          <a:custGeom>
            <a:avLst/>
            <a:gdLst>
              <a:gd name="T0" fmla="*/ 0 w 28"/>
              <a:gd name="T1" fmla="*/ 2147483647 h 73"/>
              <a:gd name="T2" fmla="*/ 2147483647 w 28"/>
              <a:gd name="T3" fmla="*/ 2147483647 h 73"/>
              <a:gd name="T4" fmla="*/ 2147483647 w 28"/>
              <a:gd name="T5" fmla="*/ 2147483647 h 73"/>
              <a:gd name="T6" fmla="*/ 2147483647 w 28"/>
              <a:gd name="T7" fmla="*/ 2147483647 h 73"/>
              <a:gd name="T8" fmla="*/ 2147483647 w 28"/>
              <a:gd name="T9" fmla="*/ 2147483647 h 73"/>
              <a:gd name="T10" fmla="*/ 2147483647 w 28"/>
              <a:gd name="T11" fmla="*/ 2147483647 h 73"/>
              <a:gd name="T12" fmla="*/ 0 w 28"/>
              <a:gd name="T13" fmla="*/ 0 h 73"/>
              <a:gd name="T14" fmla="*/ 2147483647 w 28"/>
              <a:gd name="T15" fmla="*/ 0 h 73"/>
              <a:gd name="T16" fmla="*/ 2147483647 w 28"/>
              <a:gd name="T17" fmla="*/ 2147483647 h 73"/>
              <a:gd name="T18" fmla="*/ 2147483647 w 28"/>
              <a:gd name="T19" fmla="*/ 2147483647 h 73"/>
              <a:gd name="T20" fmla="*/ 2147483647 w 28"/>
              <a:gd name="T21" fmla="*/ 2147483647 h 73"/>
              <a:gd name="T22" fmla="*/ 2147483647 w 28"/>
              <a:gd name="T23" fmla="*/ 2147483647 h 73"/>
              <a:gd name="T24" fmla="*/ 0 w 28"/>
              <a:gd name="T25" fmla="*/ 2147483647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19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227513" y="1841302"/>
            <a:ext cx="234950" cy="395287"/>
          </a:xfrm>
          <a:custGeom>
            <a:avLst/>
            <a:gdLst>
              <a:gd name="T0" fmla="*/ 82030735 w 531"/>
              <a:gd name="T1" fmla="*/ 55351668 h 757"/>
              <a:gd name="T2" fmla="*/ 79485665 w 531"/>
              <a:gd name="T3" fmla="*/ 60259597 h 757"/>
              <a:gd name="T4" fmla="*/ 79094081 w 531"/>
              <a:gd name="T5" fmla="*/ 64622375 h 757"/>
              <a:gd name="T6" fmla="*/ 74786665 w 531"/>
              <a:gd name="T7" fmla="*/ 74983385 h 757"/>
              <a:gd name="T8" fmla="*/ 63627646 w 531"/>
              <a:gd name="T9" fmla="*/ 83436365 h 757"/>
              <a:gd name="T10" fmla="*/ 49335960 w 531"/>
              <a:gd name="T11" fmla="*/ 96524177 h 757"/>
              <a:gd name="T12" fmla="*/ 46399306 w 531"/>
              <a:gd name="T13" fmla="*/ 100614379 h 757"/>
              <a:gd name="T14" fmla="*/ 47965197 w 531"/>
              <a:gd name="T15" fmla="*/ 103886332 h 757"/>
              <a:gd name="T16" fmla="*/ 46986460 w 531"/>
              <a:gd name="T17" fmla="*/ 115610743 h 757"/>
              <a:gd name="T18" fmla="*/ 46790890 w 531"/>
              <a:gd name="T19" fmla="*/ 122427747 h 757"/>
              <a:gd name="T20" fmla="*/ 51293434 w 531"/>
              <a:gd name="T21" fmla="*/ 127608252 h 757"/>
              <a:gd name="T22" fmla="*/ 62648466 w 531"/>
              <a:gd name="T23" fmla="*/ 132243605 h 757"/>
              <a:gd name="T24" fmla="*/ 64997966 w 531"/>
              <a:gd name="T25" fmla="*/ 137697208 h 757"/>
              <a:gd name="T26" fmla="*/ 60690992 w 531"/>
              <a:gd name="T27" fmla="*/ 144786265 h 757"/>
              <a:gd name="T28" fmla="*/ 53251351 w 531"/>
              <a:gd name="T29" fmla="*/ 149149043 h 757"/>
              <a:gd name="T30" fmla="*/ 51881031 w 531"/>
              <a:gd name="T31" fmla="*/ 152693572 h 757"/>
              <a:gd name="T32" fmla="*/ 49335960 w 531"/>
              <a:gd name="T33" fmla="*/ 172053236 h 757"/>
              <a:gd name="T34" fmla="*/ 46790890 w 531"/>
              <a:gd name="T35" fmla="*/ 196593405 h 757"/>
              <a:gd name="T36" fmla="*/ 33869525 w 531"/>
              <a:gd name="T37" fmla="*/ 198229381 h 757"/>
              <a:gd name="T38" fmla="*/ 29758121 w 531"/>
              <a:gd name="T39" fmla="*/ 201228758 h 757"/>
              <a:gd name="T40" fmla="*/ 29953691 w 531"/>
              <a:gd name="T41" fmla="*/ 206409263 h 757"/>
              <a:gd name="T42" fmla="*/ 20752589 w 531"/>
              <a:gd name="T43" fmla="*/ 206409263 h 757"/>
              <a:gd name="T44" fmla="*/ 18598660 w 531"/>
              <a:gd name="T45" fmla="*/ 205045863 h 757"/>
              <a:gd name="T46" fmla="*/ 13900102 w 531"/>
              <a:gd name="T47" fmla="*/ 195775155 h 757"/>
              <a:gd name="T48" fmla="*/ 8026795 w 531"/>
              <a:gd name="T49" fmla="*/ 174506939 h 757"/>
              <a:gd name="T50" fmla="*/ 6656474 w 531"/>
              <a:gd name="T51" fmla="*/ 162782529 h 757"/>
              <a:gd name="T52" fmla="*/ 2741083 w 531"/>
              <a:gd name="T53" fmla="*/ 159783151 h 757"/>
              <a:gd name="T54" fmla="*/ 3719820 w 531"/>
              <a:gd name="T55" fmla="*/ 152966670 h 757"/>
              <a:gd name="T56" fmla="*/ 7048058 w 531"/>
              <a:gd name="T57" fmla="*/ 146695340 h 757"/>
              <a:gd name="T58" fmla="*/ 10376295 w 531"/>
              <a:gd name="T59" fmla="*/ 137424632 h 757"/>
              <a:gd name="T60" fmla="*/ 11942185 w 531"/>
              <a:gd name="T61" fmla="*/ 128426501 h 757"/>
              <a:gd name="T62" fmla="*/ 12529782 w 531"/>
              <a:gd name="T63" fmla="*/ 120246097 h 757"/>
              <a:gd name="T64" fmla="*/ 11355032 w 531"/>
              <a:gd name="T65" fmla="*/ 111248487 h 757"/>
              <a:gd name="T66" fmla="*/ 8418378 w 531"/>
              <a:gd name="T67" fmla="*/ 102795507 h 757"/>
              <a:gd name="T68" fmla="*/ 14487698 w 531"/>
              <a:gd name="T69" fmla="*/ 75255961 h 757"/>
              <a:gd name="T70" fmla="*/ 20164993 w 531"/>
              <a:gd name="T71" fmla="*/ 74983385 h 757"/>
              <a:gd name="T72" fmla="*/ 22122910 w 531"/>
              <a:gd name="T73" fmla="*/ 63804126 h 757"/>
              <a:gd name="T74" fmla="*/ 26821467 w 531"/>
              <a:gd name="T75" fmla="*/ 52352291 h 757"/>
              <a:gd name="T76" fmla="*/ 35239845 w 531"/>
              <a:gd name="T77" fmla="*/ 39536533 h 757"/>
              <a:gd name="T78" fmla="*/ 38763653 w 531"/>
              <a:gd name="T79" fmla="*/ 30266348 h 757"/>
              <a:gd name="T80" fmla="*/ 44636960 w 531"/>
              <a:gd name="T81" fmla="*/ 16360287 h 757"/>
              <a:gd name="T82" fmla="*/ 48748364 w 531"/>
              <a:gd name="T83" fmla="*/ 11724933 h 757"/>
              <a:gd name="T84" fmla="*/ 60494979 w 531"/>
              <a:gd name="T85" fmla="*/ 7907307 h 757"/>
              <a:gd name="T86" fmla="*/ 72046024 w 531"/>
              <a:gd name="T87" fmla="*/ 3544529 h 757"/>
              <a:gd name="T88" fmla="*/ 78506485 w 531"/>
              <a:gd name="T89" fmla="*/ 1363401 h 757"/>
              <a:gd name="T90" fmla="*/ 84379793 w 531"/>
              <a:gd name="T91" fmla="*/ 8725556 h 757"/>
              <a:gd name="T92" fmla="*/ 89469933 w 531"/>
              <a:gd name="T93" fmla="*/ 11451835 h 757"/>
              <a:gd name="T94" fmla="*/ 100433824 w 531"/>
              <a:gd name="T95" fmla="*/ 30266348 h 757"/>
              <a:gd name="T96" fmla="*/ 103370478 w 531"/>
              <a:gd name="T97" fmla="*/ 40899933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chemeClr val="tx2">
              <a:lumMod val="50000"/>
            </a:schemeClr>
          </a:solidFill>
          <a:ln>
            <a:solidFill>
              <a:schemeClr val="accent5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20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365625" y="2155627"/>
            <a:ext cx="26988" cy="57150"/>
          </a:xfrm>
          <a:custGeom>
            <a:avLst/>
            <a:gdLst>
              <a:gd name="T0" fmla="*/ 0 w 60"/>
              <a:gd name="T1" fmla="*/ 2147483647 h 51"/>
              <a:gd name="T2" fmla="*/ 2147483647 w 60"/>
              <a:gd name="T3" fmla="*/ 2147483647 h 51"/>
              <a:gd name="T4" fmla="*/ 2147483647 w 60"/>
              <a:gd name="T5" fmla="*/ 2147483647 h 51"/>
              <a:gd name="T6" fmla="*/ 2147483647 w 60"/>
              <a:gd name="T7" fmla="*/ 2147483647 h 51"/>
              <a:gd name="T8" fmla="*/ 2147483647 w 60"/>
              <a:gd name="T9" fmla="*/ 2147483647 h 51"/>
              <a:gd name="T10" fmla="*/ 2147483647 w 60"/>
              <a:gd name="T11" fmla="*/ 2147483647 h 51"/>
              <a:gd name="T12" fmla="*/ 2147483647 w 60"/>
              <a:gd name="T13" fmla="*/ 0 h 51"/>
              <a:gd name="T14" fmla="*/ 2147483647 w 60"/>
              <a:gd name="T15" fmla="*/ 2147483647 h 51"/>
              <a:gd name="T16" fmla="*/ 2147483647 w 60"/>
              <a:gd name="T17" fmla="*/ 2147483647 h 51"/>
              <a:gd name="T18" fmla="*/ 2147483647 w 60"/>
              <a:gd name="T19" fmla="*/ 2147483647 h 51"/>
              <a:gd name="T20" fmla="*/ 2147483647 w 60"/>
              <a:gd name="T21" fmla="*/ 2147483647 h 51"/>
              <a:gd name="T22" fmla="*/ 2147483647 w 60"/>
              <a:gd name="T23" fmla="*/ 2147483647 h 51"/>
              <a:gd name="T24" fmla="*/ 2147483647 w 60"/>
              <a:gd name="T25" fmla="*/ 2147483647 h 51"/>
              <a:gd name="T26" fmla="*/ 2147483647 w 60"/>
              <a:gd name="T27" fmla="*/ 2147483647 h 51"/>
              <a:gd name="T28" fmla="*/ 2147483647 w 60"/>
              <a:gd name="T29" fmla="*/ 2147483647 h 51"/>
              <a:gd name="T30" fmla="*/ 2147483647 w 60"/>
              <a:gd name="T31" fmla="*/ 2147483647 h 51"/>
              <a:gd name="T32" fmla="*/ 2147483647 w 60"/>
              <a:gd name="T33" fmla="*/ 2147483647 h 51"/>
              <a:gd name="T34" fmla="*/ 2147483647 w 60"/>
              <a:gd name="T35" fmla="*/ 2147483647 h 51"/>
              <a:gd name="T36" fmla="*/ 2147483647 w 60"/>
              <a:gd name="T37" fmla="*/ 2147483647 h 51"/>
              <a:gd name="T38" fmla="*/ 2147483647 w 60"/>
              <a:gd name="T39" fmla="*/ 2147483647 h 51"/>
              <a:gd name="T40" fmla="*/ 2147483647 w 60"/>
              <a:gd name="T41" fmla="*/ 2147483647 h 51"/>
              <a:gd name="T42" fmla="*/ 2147483647 w 60"/>
              <a:gd name="T43" fmla="*/ 2147483647 h 51"/>
              <a:gd name="T44" fmla="*/ 0 w 60"/>
              <a:gd name="T45" fmla="*/ 2147483647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21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810000" y="2317552"/>
            <a:ext cx="28575" cy="57150"/>
          </a:xfrm>
          <a:custGeom>
            <a:avLst/>
            <a:gdLst>
              <a:gd name="T0" fmla="*/ 2147483647 w 66"/>
              <a:gd name="T1" fmla="*/ 2147483647 h 51"/>
              <a:gd name="T2" fmla="*/ 2147483647 w 66"/>
              <a:gd name="T3" fmla="*/ 2147483647 h 51"/>
              <a:gd name="T4" fmla="*/ 2147483647 w 66"/>
              <a:gd name="T5" fmla="*/ 2147483647 h 51"/>
              <a:gd name="T6" fmla="*/ 2147483647 w 66"/>
              <a:gd name="T7" fmla="*/ 2147483647 h 51"/>
              <a:gd name="T8" fmla="*/ 2147483647 w 66"/>
              <a:gd name="T9" fmla="*/ 2147483647 h 51"/>
              <a:gd name="T10" fmla="*/ 2147483647 w 66"/>
              <a:gd name="T11" fmla="*/ 2147483647 h 51"/>
              <a:gd name="T12" fmla="*/ 2147483647 w 66"/>
              <a:gd name="T13" fmla="*/ 2147483647 h 51"/>
              <a:gd name="T14" fmla="*/ 2147483647 w 66"/>
              <a:gd name="T15" fmla="*/ 2147483647 h 51"/>
              <a:gd name="T16" fmla="*/ 2147483647 w 66"/>
              <a:gd name="T17" fmla="*/ 2147483647 h 51"/>
              <a:gd name="T18" fmla="*/ 0 w 66"/>
              <a:gd name="T19" fmla="*/ 2147483647 h 51"/>
              <a:gd name="T20" fmla="*/ 0 w 66"/>
              <a:gd name="T21" fmla="*/ 2147483647 h 51"/>
              <a:gd name="T22" fmla="*/ 2147483647 w 66"/>
              <a:gd name="T23" fmla="*/ 2147483647 h 51"/>
              <a:gd name="T24" fmla="*/ 2147483647 w 66"/>
              <a:gd name="T25" fmla="*/ 2147483647 h 51"/>
              <a:gd name="T26" fmla="*/ 2147483647 w 66"/>
              <a:gd name="T27" fmla="*/ 2147483647 h 51"/>
              <a:gd name="T28" fmla="*/ 2147483647 w 66"/>
              <a:gd name="T29" fmla="*/ 2147483647 h 51"/>
              <a:gd name="T30" fmla="*/ 2147483647 w 66"/>
              <a:gd name="T31" fmla="*/ 2147483647 h 51"/>
              <a:gd name="T32" fmla="*/ 2147483647 w 66"/>
              <a:gd name="T33" fmla="*/ 0 h 51"/>
              <a:gd name="T34" fmla="*/ 2147483647 w 66"/>
              <a:gd name="T35" fmla="*/ 2147483647 h 51"/>
              <a:gd name="T36" fmla="*/ 2147483647 w 66"/>
              <a:gd name="T37" fmla="*/ 2147483647 h 51"/>
              <a:gd name="T38" fmla="*/ 2147483647 w 66"/>
              <a:gd name="T39" fmla="*/ 2147483647 h 51"/>
              <a:gd name="T40" fmla="*/ 2147483647 w 66"/>
              <a:gd name="T41" fmla="*/ 0 h 51"/>
              <a:gd name="T42" fmla="*/ 2147483647 w 66"/>
              <a:gd name="T43" fmla="*/ 2147483647 h 51"/>
              <a:gd name="T44" fmla="*/ 2147483647 w 66"/>
              <a:gd name="T45" fmla="*/ 2147483647 h 51"/>
              <a:gd name="T46" fmla="*/ 2147483647 w 66"/>
              <a:gd name="T47" fmla="*/ 2147483647 h 51"/>
              <a:gd name="T48" fmla="*/ 2147483647 w 66"/>
              <a:gd name="T49" fmla="*/ 2147483647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22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762500" y="2846189"/>
            <a:ext cx="50800" cy="57150"/>
          </a:xfrm>
          <a:custGeom>
            <a:avLst/>
            <a:gdLst>
              <a:gd name="T0" fmla="*/ 0 w 113"/>
              <a:gd name="T1" fmla="*/ 26243434 h 74"/>
              <a:gd name="T2" fmla="*/ 4041972 w 113"/>
              <a:gd name="T3" fmla="*/ 44136791 h 74"/>
              <a:gd name="T4" fmla="*/ 7477940 w 113"/>
              <a:gd name="T5" fmla="*/ 41154951 h 74"/>
              <a:gd name="T6" fmla="*/ 10307005 w 113"/>
              <a:gd name="T7" fmla="*/ 38768552 h 74"/>
              <a:gd name="T8" fmla="*/ 12934669 w 113"/>
              <a:gd name="T9" fmla="*/ 35190499 h 74"/>
              <a:gd name="T10" fmla="*/ 14955430 w 113"/>
              <a:gd name="T11" fmla="*/ 31611673 h 74"/>
              <a:gd name="T12" fmla="*/ 15763735 w 113"/>
              <a:gd name="T13" fmla="*/ 29226047 h 74"/>
              <a:gd name="T14" fmla="*/ 16774340 w 113"/>
              <a:gd name="T15" fmla="*/ 26839648 h 74"/>
              <a:gd name="T16" fmla="*/ 17380793 w 113"/>
              <a:gd name="T17" fmla="*/ 24454022 h 74"/>
              <a:gd name="T18" fmla="*/ 17784945 w 113"/>
              <a:gd name="T19" fmla="*/ 22068395 h 74"/>
              <a:gd name="T20" fmla="*/ 18189097 w 113"/>
              <a:gd name="T21" fmla="*/ 19086555 h 74"/>
              <a:gd name="T22" fmla="*/ 18391398 w 113"/>
              <a:gd name="T23" fmla="*/ 15507730 h 74"/>
              <a:gd name="T24" fmla="*/ 18795550 w 113"/>
              <a:gd name="T25" fmla="*/ 11332691 h 74"/>
              <a:gd name="T26" fmla="*/ 18997402 w 113"/>
              <a:gd name="T27" fmla="*/ 7753865 h 74"/>
              <a:gd name="T28" fmla="*/ 20008007 w 113"/>
              <a:gd name="T29" fmla="*/ 7157651 h 74"/>
              <a:gd name="T30" fmla="*/ 21422765 w 113"/>
              <a:gd name="T31" fmla="*/ 5368239 h 74"/>
              <a:gd name="T32" fmla="*/ 21826917 w 113"/>
              <a:gd name="T33" fmla="*/ 4175039 h 74"/>
              <a:gd name="T34" fmla="*/ 22433370 w 113"/>
              <a:gd name="T35" fmla="*/ 2981840 h 74"/>
              <a:gd name="T36" fmla="*/ 22635221 w 113"/>
              <a:gd name="T37" fmla="*/ 1789413 h 74"/>
              <a:gd name="T38" fmla="*/ 22837522 w 113"/>
              <a:gd name="T39" fmla="*/ 0 h 74"/>
              <a:gd name="T40" fmla="*/ 19806156 w 113"/>
              <a:gd name="T41" fmla="*/ 2385626 h 74"/>
              <a:gd name="T42" fmla="*/ 16572488 w 113"/>
              <a:gd name="T43" fmla="*/ 4771253 h 74"/>
              <a:gd name="T44" fmla="*/ 13136520 w 113"/>
              <a:gd name="T45" fmla="*/ 7753865 h 74"/>
              <a:gd name="T46" fmla="*/ 9902853 w 113"/>
              <a:gd name="T47" fmla="*/ 11332691 h 74"/>
              <a:gd name="T48" fmla="*/ 4041972 w 113"/>
              <a:gd name="T49" fmla="*/ 19682769 h 74"/>
              <a:gd name="T50" fmla="*/ 0 w 113"/>
              <a:gd name="T51" fmla="*/ 26243434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23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370388" y="3638352"/>
            <a:ext cx="325437" cy="244475"/>
          </a:xfrm>
          <a:custGeom>
            <a:avLst/>
            <a:gdLst>
              <a:gd name="T0" fmla="*/ 2147483647 w 746"/>
              <a:gd name="T1" fmla="*/ 2147483647 h 469"/>
              <a:gd name="T2" fmla="*/ 2147483647 w 746"/>
              <a:gd name="T3" fmla="*/ 2147483647 h 469"/>
              <a:gd name="T4" fmla="*/ 2147483647 w 746"/>
              <a:gd name="T5" fmla="*/ 2147483647 h 469"/>
              <a:gd name="T6" fmla="*/ 2147483647 w 746"/>
              <a:gd name="T7" fmla="*/ 2147483647 h 469"/>
              <a:gd name="T8" fmla="*/ 0 w 746"/>
              <a:gd name="T9" fmla="*/ 2147483647 h 469"/>
              <a:gd name="T10" fmla="*/ 2147483647 w 746"/>
              <a:gd name="T11" fmla="*/ 2147483647 h 469"/>
              <a:gd name="T12" fmla="*/ 2147483647 w 746"/>
              <a:gd name="T13" fmla="*/ 2147483647 h 469"/>
              <a:gd name="T14" fmla="*/ 2147483647 w 746"/>
              <a:gd name="T15" fmla="*/ 2147483647 h 469"/>
              <a:gd name="T16" fmla="*/ 2147483647 w 746"/>
              <a:gd name="T17" fmla="*/ 2147483647 h 469"/>
              <a:gd name="T18" fmla="*/ 2147483647 w 746"/>
              <a:gd name="T19" fmla="*/ 2147483647 h 469"/>
              <a:gd name="T20" fmla="*/ 2147483647 w 746"/>
              <a:gd name="T21" fmla="*/ 2147483647 h 469"/>
              <a:gd name="T22" fmla="*/ 2147483647 w 746"/>
              <a:gd name="T23" fmla="*/ 2147483647 h 469"/>
              <a:gd name="T24" fmla="*/ 2147483647 w 746"/>
              <a:gd name="T25" fmla="*/ 2147483647 h 469"/>
              <a:gd name="T26" fmla="*/ 2147483647 w 746"/>
              <a:gd name="T27" fmla="*/ 2147483647 h 469"/>
              <a:gd name="T28" fmla="*/ 2147483647 w 746"/>
              <a:gd name="T29" fmla="*/ 2147483647 h 469"/>
              <a:gd name="T30" fmla="*/ 2147483647 w 746"/>
              <a:gd name="T31" fmla="*/ 2147483647 h 469"/>
              <a:gd name="T32" fmla="*/ 2147483647 w 746"/>
              <a:gd name="T33" fmla="*/ 2147483647 h 469"/>
              <a:gd name="T34" fmla="*/ 2147483647 w 746"/>
              <a:gd name="T35" fmla="*/ 2147483647 h 469"/>
              <a:gd name="T36" fmla="*/ 2147483647 w 746"/>
              <a:gd name="T37" fmla="*/ 2147483647 h 469"/>
              <a:gd name="T38" fmla="*/ 2147483647 w 746"/>
              <a:gd name="T39" fmla="*/ 0 h 469"/>
              <a:gd name="T40" fmla="*/ 2147483647 w 746"/>
              <a:gd name="T41" fmla="*/ 2147483647 h 469"/>
              <a:gd name="T42" fmla="*/ 2147483647 w 746"/>
              <a:gd name="T43" fmla="*/ 2147483647 h 469"/>
              <a:gd name="T44" fmla="*/ 2147483647 w 746"/>
              <a:gd name="T45" fmla="*/ 2147483647 h 469"/>
              <a:gd name="T46" fmla="*/ 2147483647 w 746"/>
              <a:gd name="T47" fmla="*/ 2147483647 h 469"/>
              <a:gd name="T48" fmla="*/ 2147483647 w 746"/>
              <a:gd name="T49" fmla="*/ 2147483647 h 469"/>
              <a:gd name="T50" fmla="*/ 2147483647 w 746"/>
              <a:gd name="T51" fmla="*/ 2147483647 h 469"/>
              <a:gd name="T52" fmla="*/ 2147483647 w 746"/>
              <a:gd name="T53" fmla="*/ 2147483647 h 469"/>
              <a:gd name="T54" fmla="*/ 2147483647 w 746"/>
              <a:gd name="T55" fmla="*/ 2147483647 h 469"/>
              <a:gd name="T56" fmla="*/ 2147483647 w 746"/>
              <a:gd name="T57" fmla="*/ 2147483647 h 469"/>
              <a:gd name="T58" fmla="*/ 2147483647 w 746"/>
              <a:gd name="T59" fmla="*/ 2147483647 h 469"/>
              <a:gd name="T60" fmla="*/ 2147483647 w 746"/>
              <a:gd name="T61" fmla="*/ 2147483647 h 469"/>
              <a:gd name="T62" fmla="*/ 2147483647 w 746"/>
              <a:gd name="T63" fmla="*/ 2147483647 h 469"/>
              <a:gd name="T64" fmla="*/ 2147483647 w 746"/>
              <a:gd name="T65" fmla="*/ 2147483647 h 469"/>
              <a:gd name="T66" fmla="*/ 2147483647 w 746"/>
              <a:gd name="T67" fmla="*/ 2147483647 h 469"/>
              <a:gd name="T68" fmla="*/ 2147483647 w 746"/>
              <a:gd name="T69" fmla="*/ 2147483647 h 469"/>
              <a:gd name="T70" fmla="*/ 2147483647 w 746"/>
              <a:gd name="T71" fmla="*/ 2147483647 h 469"/>
              <a:gd name="T72" fmla="*/ 2147483647 w 746"/>
              <a:gd name="T73" fmla="*/ 2147483647 h 469"/>
              <a:gd name="T74" fmla="*/ 2147483647 w 746"/>
              <a:gd name="T75" fmla="*/ 2147483647 h 469"/>
              <a:gd name="T76" fmla="*/ 2147483647 w 746"/>
              <a:gd name="T77" fmla="*/ 2147483647 h 469"/>
              <a:gd name="T78" fmla="*/ 2147483647 w 746"/>
              <a:gd name="T79" fmla="*/ 2147483647 h 469"/>
              <a:gd name="T80" fmla="*/ 2147483647 w 746"/>
              <a:gd name="T81" fmla="*/ 2147483647 h 469"/>
              <a:gd name="T82" fmla="*/ 2147483647 w 746"/>
              <a:gd name="T83" fmla="*/ 2147483647 h 469"/>
              <a:gd name="T84" fmla="*/ 2147483647 w 746"/>
              <a:gd name="T85" fmla="*/ 2147483647 h 469"/>
              <a:gd name="T86" fmla="*/ 2147483647 w 746"/>
              <a:gd name="T87" fmla="*/ 2147483647 h 469"/>
              <a:gd name="T88" fmla="*/ 2147483647 w 746"/>
              <a:gd name="T89" fmla="*/ 2147483647 h 469"/>
              <a:gd name="T90" fmla="*/ 2147483647 w 746"/>
              <a:gd name="T91" fmla="*/ 2147483647 h 469"/>
              <a:gd name="T92" fmla="*/ 2147483647 w 746"/>
              <a:gd name="T93" fmla="*/ 2147483647 h 469"/>
              <a:gd name="T94" fmla="*/ 2147483647 w 746"/>
              <a:gd name="T95" fmla="*/ 2147483647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24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306888" y="3806627"/>
            <a:ext cx="500062" cy="552450"/>
          </a:xfrm>
          <a:custGeom>
            <a:avLst/>
            <a:gdLst>
              <a:gd name="T0" fmla="*/ 2147483647 w 1145"/>
              <a:gd name="T1" fmla="*/ 2147483647 h 1053"/>
              <a:gd name="T2" fmla="*/ 2147483647 w 1145"/>
              <a:gd name="T3" fmla="*/ 2147483647 h 1053"/>
              <a:gd name="T4" fmla="*/ 2147483647 w 1145"/>
              <a:gd name="T5" fmla="*/ 2147483647 h 1053"/>
              <a:gd name="T6" fmla="*/ 2147483647 w 1145"/>
              <a:gd name="T7" fmla="*/ 2147483647 h 1053"/>
              <a:gd name="T8" fmla="*/ 2147483647 w 1145"/>
              <a:gd name="T9" fmla="*/ 2147483647 h 1053"/>
              <a:gd name="T10" fmla="*/ 2147483647 w 1145"/>
              <a:gd name="T11" fmla="*/ 2147483647 h 1053"/>
              <a:gd name="T12" fmla="*/ 2147483647 w 1145"/>
              <a:gd name="T13" fmla="*/ 2147483647 h 1053"/>
              <a:gd name="T14" fmla="*/ 2147483647 w 1145"/>
              <a:gd name="T15" fmla="*/ 2147483647 h 1053"/>
              <a:gd name="T16" fmla="*/ 2147483647 w 1145"/>
              <a:gd name="T17" fmla="*/ 2147483647 h 1053"/>
              <a:gd name="T18" fmla="*/ 2147483647 w 1145"/>
              <a:gd name="T19" fmla="*/ 2147483647 h 1053"/>
              <a:gd name="T20" fmla="*/ 2147483647 w 1145"/>
              <a:gd name="T21" fmla="*/ 2147483647 h 1053"/>
              <a:gd name="T22" fmla="*/ 2147483647 w 1145"/>
              <a:gd name="T23" fmla="*/ 2147483647 h 1053"/>
              <a:gd name="T24" fmla="*/ 2147483647 w 1145"/>
              <a:gd name="T25" fmla="*/ 2147483647 h 1053"/>
              <a:gd name="T26" fmla="*/ 2147483647 w 1145"/>
              <a:gd name="T27" fmla="*/ 2147483647 h 1053"/>
              <a:gd name="T28" fmla="*/ 2147483647 w 1145"/>
              <a:gd name="T29" fmla="*/ 2147483647 h 1053"/>
              <a:gd name="T30" fmla="*/ 2147483647 w 1145"/>
              <a:gd name="T31" fmla="*/ 2147483647 h 1053"/>
              <a:gd name="T32" fmla="*/ 2147483647 w 1145"/>
              <a:gd name="T33" fmla="*/ 2147483647 h 1053"/>
              <a:gd name="T34" fmla="*/ 2147483647 w 1145"/>
              <a:gd name="T35" fmla="*/ 2147483647 h 1053"/>
              <a:gd name="T36" fmla="*/ 2147483647 w 1145"/>
              <a:gd name="T37" fmla="*/ 2147483647 h 1053"/>
              <a:gd name="T38" fmla="*/ 2147483647 w 1145"/>
              <a:gd name="T39" fmla="*/ 2147483647 h 1053"/>
              <a:gd name="T40" fmla="*/ 2147483647 w 1145"/>
              <a:gd name="T41" fmla="*/ 2147483647 h 1053"/>
              <a:gd name="T42" fmla="*/ 2147483647 w 1145"/>
              <a:gd name="T43" fmla="*/ 2147483647 h 1053"/>
              <a:gd name="T44" fmla="*/ 2147483647 w 1145"/>
              <a:gd name="T45" fmla="*/ 2147483647 h 1053"/>
              <a:gd name="T46" fmla="*/ 2147483647 w 1145"/>
              <a:gd name="T47" fmla="*/ 2147483647 h 1053"/>
              <a:gd name="T48" fmla="*/ 2147483647 w 1145"/>
              <a:gd name="T49" fmla="*/ 2147483647 h 1053"/>
              <a:gd name="T50" fmla="*/ 2147483647 w 1145"/>
              <a:gd name="T51" fmla="*/ 2147483647 h 1053"/>
              <a:gd name="T52" fmla="*/ 2147483647 w 1145"/>
              <a:gd name="T53" fmla="*/ 2147483647 h 1053"/>
              <a:gd name="T54" fmla="*/ 2147483647 w 1145"/>
              <a:gd name="T55" fmla="*/ 2147483647 h 1053"/>
              <a:gd name="T56" fmla="*/ 2147483647 w 1145"/>
              <a:gd name="T57" fmla="*/ 2147483647 h 1053"/>
              <a:gd name="T58" fmla="*/ 2147483647 w 1145"/>
              <a:gd name="T59" fmla="*/ 2147483647 h 1053"/>
              <a:gd name="T60" fmla="*/ 2147483647 w 1145"/>
              <a:gd name="T61" fmla="*/ 2147483647 h 1053"/>
              <a:gd name="T62" fmla="*/ 2147483647 w 1145"/>
              <a:gd name="T63" fmla="*/ 2147483647 h 1053"/>
              <a:gd name="T64" fmla="*/ 2147483647 w 1145"/>
              <a:gd name="T65" fmla="*/ 2147483647 h 1053"/>
              <a:gd name="T66" fmla="*/ 2147483647 w 1145"/>
              <a:gd name="T67" fmla="*/ 2147483647 h 1053"/>
              <a:gd name="T68" fmla="*/ 2147483647 w 1145"/>
              <a:gd name="T69" fmla="*/ 2147483647 h 1053"/>
              <a:gd name="T70" fmla="*/ 2147483647 w 1145"/>
              <a:gd name="T71" fmla="*/ 2147483647 h 1053"/>
              <a:gd name="T72" fmla="*/ 2147483647 w 1145"/>
              <a:gd name="T73" fmla="*/ 2147483647 h 1053"/>
              <a:gd name="T74" fmla="*/ 2147483647 w 1145"/>
              <a:gd name="T75" fmla="*/ 2147483647 h 1053"/>
              <a:gd name="T76" fmla="*/ 2147483647 w 1145"/>
              <a:gd name="T77" fmla="*/ 2147483647 h 1053"/>
              <a:gd name="T78" fmla="*/ 2147483647 w 1145"/>
              <a:gd name="T79" fmla="*/ 2147483647 h 1053"/>
              <a:gd name="T80" fmla="*/ 2147483647 w 1145"/>
              <a:gd name="T81" fmla="*/ 2147483647 h 1053"/>
              <a:gd name="T82" fmla="*/ 2147483647 w 1145"/>
              <a:gd name="T83" fmla="*/ 2147483647 h 1053"/>
              <a:gd name="T84" fmla="*/ 2147483647 w 1145"/>
              <a:gd name="T85" fmla="*/ 2147483647 h 1053"/>
              <a:gd name="T86" fmla="*/ 2147483647 w 1145"/>
              <a:gd name="T87" fmla="*/ 2147483647 h 1053"/>
              <a:gd name="T88" fmla="*/ 2147483647 w 1145"/>
              <a:gd name="T89" fmla="*/ 2147483647 h 1053"/>
              <a:gd name="T90" fmla="*/ 2147483647 w 1145"/>
              <a:gd name="T91" fmla="*/ 2147483647 h 1053"/>
              <a:gd name="T92" fmla="*/ 2147483647 w 1145"/>
              <a:gd name="T93" fmla="*/ 2147483647 h 1053"/>
              <a:gd name="T94" fmla="*/ 2147483647 w 1145"/>
              <a:gd name="T95" fmla="*/ 2147483647 h 1053"/>
              <a:gd name="T96" fmla="*/ 2147483647 w 1145"/>
              <a:gd name="T97" fmla="*/ 2147483647 h 1053"/>
              <a:gd name="T98" fmla="*/ 2147483647 w 1145"/>
              <a:gd name="T99" fmla="*/ 2147483647 h 1053"/>
              <a:gd name="T100" fmla="*/ 2147483647 w 1145"/>
              <a:gd name="T101" fmla="*/ 2147483647 h 1053"/>
              <a:gd name="T102" fmla="*/ 2147483647 w 1145"/>
              <a:gd name="T103" fmla="*/ 2147483647 h 1053"/>
              <a:gd name="T104" fmla="*/ 2147483647 w 1145"/>
              <a:gd name="T105" fmla="*/ 2147483647 h 1053"/>
              <a:gd name="T106" fmla="*/ 2147483647 w 1145"/>
              <a:gd name="T107" fmla="*/ 2147483647 h 1053"/>
              <a:gd name="T108" fmla="*/ 2147483647 w 1145"/>
              <a:gd name="T109" fmla="*/ 2147483647 h 1053"/>
              <a:gd name="T110" fmla="*/ 2147483647 w 1145"/>
              <a:gd name="T111" fmla="*/ 2147483647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25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43388" y="3906639"/>
            <a:ext cx="55562" cy="55563"/>
          </a:xfrm>
          <a:custGeom>
            <a:avLst/>
            <a:gdLst>
              <a:gd name="T0" fmla="*/ 2147483647 w 125"/>
              <a:gd name="T1" fmla="*/ 0 h 81"/>
              <a:gd name="T2" fmla="*/ 2147483647 w 125"/>
              <a:gd name="T3" fmla="*/ 2147483647 h 81"/>
              <a:gd name="T4" fmla="*/ 2147483647 w 125"/>
              <a:gd name="T5" fmla="*/ 2147483647 h 81"/>
              <a:gd name="T6" fmla="*/ 2147483647 w 125"/>
              <a:gd name="T7" fmla="*/ 2147483647 h 81"/>
              <a:gd name="T8" fmla="*/ 2147483647 w 125"/>
              <a:gd name="T9" fmla="*/ 2147483647 h 81"/>
              <a:gd name="T10" fmla="*/ 2147483647 w 125"/>
              <a:gd name="T11" fmla="*/ 2147483647 h 81"/>
              <a:gd name="T12" fmla="*/ 2147483647 w 125"/>
              <a:gd name="T13" fmla="*/ 2147483647 h 81"/>
              <a:gd name="T14" fmla="*/ 2147483647 w 125"/>
              <a:gd name="T15" fmla="*/ 2147483647 h 81"/>
              <a:gd name="T16" fmla="*/ 2147483647 w 125"/>
              <a:gd name="T17" fmla="*/ 2147483647 h 81"/>
              <a:gd name="T18" fmla="*/ 2147483647 w 125"/>
              <a:gd name="T19" fmla="*/ 2147483647 h 81"/>
              <a:gd name="T20" fmla="*/ 2147483647 w 125"/>
              <a:gd name="T21" fmla="*/ 2147483647 h 81"/>
              <a:gd name="T22" fmla="*/ 2147483647 w 125"/>
              <a:gd name="T23" fmla="*/ 2147483647 h 81"/>
              <a:gd name="T24" fmla="*/ 2147483647 w 125"/>
              <a:gd name="T25" fmla="*/ 2147483647 h 81"/>
              <a:gd name="T26" fmla="*/ 2147483647 w 125"/>
              <a:gd name="T27" fmla="*/ 2147483647 h 81"/>
              <a:gd name="T28" fmla="*/ 2147483647 w 125"/>
              <a:gd name="T29" fmla="*/ 2147483647 h 81"/>
              <a:gd name="T30" fmla="*/ 2147483647 w 125"/>
              <a:gd name="T31" fmla="*/ 2147483647 h 81"/>
              <a:gd name="T32" fmla="*/ 0 w 125"/>
              <a:gd name="T33" fmla="*/ 2147483647 h 81"/>
              <a:gd name="T34" fmla="*/ 0 w 125"/>
              <a:gd name="T35" fmla="*/ 2147483647 h 81"/>
              <a:gd name="T36" fmla="*/ 2147483647 w 125"/>
              <a:gd name="T37" fmla="*/ 2147483647 h 81"/>
              <a:gd name="T38" fmla="*/ 2147483647 w 125"/>
              <a:gd name="T39" fmla="*/ 2147483647 h 81"/>
              <a:gd name="T40" fmla="*/ 2147483647 w 125"/>
              <a:gd name="T41" fmla="*/ 2147483647 h 81"/>
              <a:gd name="T42" fmla="*/ 2147483647 w 125"/>
              <a:gd name="T43" fmla="*/ 2147483647 h 81"/>
              <a:gd name="T44" fmla="*/ 2147483647 w 125"/>
              <a:gd name="T45" fmla="*/ 2147483647 h 81"/>
              <a:gd name="T46" fmla="*/ 2147483647 w 125"/>
              <a:gd name="T47" fmla="*/ 2147483647 h 81"/>
              <a:gd name="T48" fmla="*/ 2147483647 w 125"/>
              <a:gd name="T49" fmla="*/ 0 h 81"/>
              <a:gd name="T50" fmla="*/ 2147483647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26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225925" y="3906639"/>
            <a:ext cx="152400" cy="201613"/>
          </a:xfrm>
          <a:custGeom>
            <a:avLst/>
            <a:gdLst>
              <a:gd name="T0" fmla="*/ 2147483647 w 355"/>
              <a:gd name="T1" fmla="*/ 2147483647 h 388"/>
              <a:gd name="T2" fmla="*/ 2147483647 w 355"/>
              <a:gd name="T3" fmla="*/ 2147483647 h 388"/>
              <a:gd name="T4" fmla="*/ 2147483647 w 355"/>
              <a:gd name="T5" fmla="*/ 2147483647 h 388"/>
              <a:gd name="T6" fmla="*/ 2147483647 w 355"/>
              <a:gd name="T7" fmla="*/ 2147483647 h 388"/>
              <a:gd name="T8" fmla="*/ 2147483647 w 355"/>
              <a:gd name="T9" fmla="*/ 2147483647 h 388"/>
              <a:gd name="T10" fmla="*/ 2147483647 w 355"/>
              <a:gd name="T11" fmla="*/ 2147483647 h 388"/>
              <a:gd name="T12" fmla="*/ 2147483647 w 355"/>
              <a:gd name="T13" fmla="*/ 2147483647 h 388"/>
              <a:gd name="T14" fmla="*/ 2147483647 w 355"/>
              <a:gd name="T15" fmla="*/ 2147483647 h 388"/>
              <a:gd name="T16" fmla="*/ 2147483647 w 355"/>
              <a:gd name="T17" fmla="*/ 2147483647 h 388"/>
              <a:gd name="T18" fmla="*/ 2147483647 w 355"/>
              <a:gd name="T19" fmla="*/ 2147483647 h 388"/>
              <a:gd name="T20" fmla="*/ 2147483647 w 355"/>
              <a:gd name="T21" fmla="*/ 2147483647 h 388"/>
              <a:gd name="T22" fmla="*/ 2147483647 w 355"/>
              <a:gd name="T23" fmla="*/ 2147483647 h 388"/>
              <a:gd name="T24" fmla="*/ 2147483647 w 355"/>
              <a:gd name="T25" fmla="*/ 2147483647 h 388"/>
              <a:gd name="T26" fmla="*/ 2147483647 w 355"/>
              <a:gd name="T27" fmla="*/ 2147483647 h 388"/>
              <a:gd name="T28" fmla="*/ 2147483647 w 355"/>
              <a:gd name="T29" fmla="*/ 2147483647 h 388"/>
              <a:gd name="T30" fmla="*/ 2147483647 w 355"/>
              <a:gd name="T31" fmla="*/ 2147483647 h 388"/>
              <a:gd name="T32" fmla="*/ 2147483647 w 355"/>
              <a:gd name="T33" fmla="*/ 2147483647 h 388"/>
              <a:gd name="T34" fmla="*/ 2147483647 w 355"/>
              <a:gd name="T35" fmla="*/ 2147483647 h 388"/>
              <a:gd name="T36" fmla="*/ 2147483647 w 355"/>
              <a:gd name="T37" fmla="*/ 2147483647 h 388"/>
              <a:gd name="T38" fmla="*/ 2147483647 w 355"/>
              <a:gd name="T39" fmla="*/ 2147483647 h 388"/>
              <a:gd name="T40" fmla="*/ 2147483647 w 355"/>
              <a:gd name="T41" fmla="*/ 2147483647 h 388"/>
              <a:gd name="T42" fmla="*/ 2147483647 w 355"/>
              <a:gd name="T43" fmla="*/ 2147483647 h 388"/>
              <a:gd name="T44" fmla="*/ 2147483647 w 355"/>
              <a:gd name="T45" fmla="*/ 2147483647 h 388"/>
              <a:gd name="T46" fmla="*/ 2147483647 w 355"/>
              <a:gd name="T47" fmla="*/ 2147483647 h 388"/>
              <a:gd name="T48" fmla="*/ 2147483647 w 355"/>
              <a:gd name="T49" fmla="*/ 2147483647 h 388"/>
              <a:gd name="T50" fmla="*/ 2147483647 w 355"/>
              <a:gd name="T51" fmla="*/ 2147483647 h 388"/>
              <a:gd name="T52" fmla="*/ 2147483647 w 355"/>
              <a:gd name="T53" fmla="*/ 2147483647 h 388"/>
              <a:gd name="T54" fmla="*/ 2147483647 w 355"/>
              <a:gd name="T55" fmla="*/ 2147483647 h 388"/>
              <a:gd name="T56" fmla="*/ 2147483647 w 355"/>
              <a:gd name="T57" fmla="*/ 2147483647 h 388"/>
              <a:gd name="T58" fmla="*/ 2147483647 w 355"/>
              <a:gd name="T59" fmla="*/ 2147483647 h 388"/>
              <a:gd name="T60" fmla="*/ 2147483647 w 355"/>
              <a:gd name="T61" fmla="*/ 2147483647 h 388"/>
              <a:gd name="T62" fmla="*/ 2147483647 w 355"/>
              <a:gd name="T63" fmla="*/ 2147483647 h 388"/>
              <a:gd name="T64" fmla="*/ 2147483647 w 355"/>
              <a:gd name="T65" fmla="*/ 2147483647 h 388"/>
              <a:gd name="T66" fmla="*/ 2147483647 w 355"/>
              <a:gd name="T67" fmla="*/ 2147483647 h 388"/>
              <a:gd name="T68" fmla="*/ 2147483647 w 355"/>
              <a:gd name="T69" fmla="*/ 2147483647 h 388"/>
              <a:gd name="T70" fmla="*/ 2147483647 w 355"/>
              <a:gd name="T71" fmla="*/ 2147483647 h 388"/>
              <a:gd name="T72" fmla="*/ 2147483647 w 355"/>
              <a:gd name="T73" fmla="*/ 2147483647 h 388"/>
              <a:gd name="T74" fmla="*/ 2147483647 w 355"/>
              <a:gd name="T75" fmla="*/ 2147483647 h 388"/>
              <a:gd name="T76" fmla="*/ 2147483647 w 355"/>
              <a:gd name="T77" fmla="*/ 2147483647 h 388"/>
              <a:gd name="T78" fmla="*/ 2147483647 w 355"/>
              <a:gd name="T79" fmla="*/ 2147483647 h 388"/>
              <a:gd name="T80" fmla="*/ 2147483647 w 355"/>
              <a:gd name="T81" fmla="*/ 2147483647 h 388"/>
              <a:gd name="T82" fmla="*/ 2147483647 w 355"/>
              <a:gd name="T83" fmla="*/ 2147483647 h 388"/>
              <a:gd name="T84" fmla="*/ 2147483647 w 355"/>
              <a:gd name="T85" fmla="*/ 2147483647 h 388"/>
              <a:gd name="T86" fmla="*/ 2147483647 w 355"/>
              <a:gd name="T87" fmla="*/ 2147483647 h 388"/>
              <a:gd name="T88" fmla="*/ 2147483647 w 355"/>
              <a:gd name="T89" fmla="*/ 2147483647 h 388"/>
              <a:gd name="T90" fmla="*/ 2147483647 w 355"/>
              <a:gd name="T91" fmla="*/ 2147483647 h 388"/>
              <a:gd name="T92" fmla="*/ 2147483647 w 355"/>
              <a:gd name="T93" fmla="*/ 2147483647 h 388"/>
              <a:gd name="T94" fmla="*/ 2147483647 w 355"/>
              <a:gd name="T95" fmla="*/ 2147483647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27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759325" y="4311452"/>
            <a:ext cx="260350" cy="520700"/>
          </a:xfrm>
          <a:custGeom>
            <a:avLst/>
            <a:gdLst>
              <a:gd name="T0" fmla="*/ 0 w 599"/>
              <a:gd name="T1" fmla="*/ 2147483647 h 993"/>
              <a:gd name="T2" fmla="*/ 2147483647 w 599"/>
              <a:gd name="T3" fmla="*/ 2147483647 h 993"/>
              <a:gd name="T4" fmla="*/ 2147483647 w 599"/>
              <a:gd name="T5" fmla="*/ 2147483647 h 993"/>
              <a:gd name="T6" fmla="*/ 2147483647 w 599"/>
              <a:gd name="T7" fmla="*/ 2147483647 h 993"/>
              <a:gd name="T8" fmla="*/ 2147483647 w 599"/>
              <a:gd name="T9" fmla="*/ 2147483647 h 993"/>
              <a:gd name="T10" fmla="*/ 2147483647 w 599"/>
              <a:gd name="T11" fmla="*/ 2147483647 h 993"/>
              <a:gd name="T12" fmla="*/ 2147483647 w 599"/>
              <a:gd name="T13" fmla="*/ 2147483647 h 993"/>
              <a:gd name="T14" fmla="*/ 2147483647 w 599"/>
              <a:gd name="T15" fmla="*/ 2147483647 h 993"/>
              <a:gd name="T16" fmla="*/ 2147483647 w 599"/>
              <a:gd name="T17" fmla="*/ 2147483647 h 993"/>
              <a:gd name="T18" fmla="*/ 2147483647 w 599"/>
              <a:gd name="T19" fmla="*/ 2147483647 h 993"/>
              <a:gd name="T20" fmla="*/ 2147483647 w 599"/>
              <a:gd name="T21" fmla="*/ 2147483647 h 993"/>
              <a:gd name="T22" fmla="*/ 2147483647 w 599"/>
              <a:gd name="T23" fmla="*/ 2147483647 h 993"/>
              <a:gd name="T24" fmla="*/ 2147483647 w 599"/>
              <a:gd name="T25" fmla="*/ 2147483647 h 993"/>
              <a:gd name="T26" fmla="*/ 2147483647 w 599"/>
              <a:gd name="T27" fmla="*/ 2147483647 h 993"/>
              <a:gd name="T28" fmla="*/ 2147483647 w 599"/>
              <a:gd name="T29" fmla="*/ 2147483647 h 993"/>
              <a:gd name="T30" fmla="*/ 2147483647 w 599"/>
              <a:gd name="T31" fmla="*/ 2147483647 h 993"/>
              <a:gd name="T32" fmla="*/ 2147483647 w 599"/>
              <a:gd name="T33" fmla="*/ 2147483647 h 993"/>
              <a:gd name="T34" fmla="*/ 2147483647 w 599"/>
              <a:gd name="T35" fmla="*/ 2147483647 h 993"/>
              <a:gd name="T36" fmla="*/ 2147483647 w 599"/>
              <a:gd name="T37" fmla="*/ 2147483647 h 993"/>
              <a:gd name="T38" fmla="*/ 2147483647 w 599"/>
              <a:gd name="T39" fmla="*/ 2147483647 h 993"/>
              <a:gd name="T40" fmla="*/ 2147483647 w 599"/>
              <a:gd name="T41" fmla="*/ 2147483647 h 993"/>
              <a:gd name="T42" fmla="*/ 2147483647 w 599"/>
              <a:gd name="T43" fmla="*/ 2147483647 h 993"/>
              <a:gd name="T44" fmla="*/ 2147483647 w 599"/>
              <a:gd name="T45" fmla="*/ 2147483647 h 993"/>
              <a:gd name="T46" fmla="*/ 2147483647 w 599"/>
              <a:gd name="T47" fmla="*/ 2147483647 h 993"/>
              <a:gd name="T48" fmla="*/ 2147483647 w 599"/>
              <a:gd name="T49" fmla="*/ 2147483647 h 993"/>
              <a:gd name="T50" fmla="*/ 2147483647 w 599"/>
              <a:gd name="T51" fmla="*/ 2147483647 h 993"/>
              <a:gd name="T52" fmla="*/ 2147483647 w 599"/>
              <a:gd name="T53" fmla="*/ 2147483647 h 993"/>
              <a:gd name="T54" fmla="*/ 2147483647 w 599"/>
              <a:gd name="T55" fmla="*/ 2147483647 h 993"/>
              <a:gd name="T56" fmla="*/ 2147483647 w 599"/>
              <a:gd name="T57" fmla="*/ 2147483647 h 993"/>
              <a:gd name="T58" fmla="*/ 2147483647 w 599"/>
              <a:gd name="T59" fmla="*/ 2147483647 h 993"/>
              <a:gd name="T60" fmla="*/ 2147483647 w 599"/>
              <a:gd name="T61" fmla="*/ 2147483647 h 993"/>
              <a:gd name="T62" fmla="*/ 2147483647 w 599"/>
              <a:gd name="T63" fmla="*/ 2147483647 h 993"/>
              <a:gd name="T64" fmla="*/ 2147483647 w 599"/>
              <a:gd name="T65" fmla="*/ 2147483647 h 993"/>
              <a:gd name="T66" fmla="*/ 2147483647 w 599"/>
              <a:gd name="T67" fmla="*/ 2147483647 h 993"/>
              <a:gd name="T68" fmla="*/ 2147483647 w 599"/>
              <a:gd name="T69" fmla="*/ 2147483647 h 993"/>
              <a:gd name="T70" fmla="*/ 2147483647 w 599"/>
              <a:gd name="T71" fmla="*/ 2147483647 h 993"/>
              <a:gd name="T72" fmla="*/ 2147483647 w 599"/>
              <a:gd name="T73" fmla="*/ 2147483647 h 993"/>
              <a:gd name="T74" fmla="*/ 2147483647 w 599"/>
              <a:gd name="T75" fmla="*/ 2147483647 h 993"/>
              <a:gd name="T76" fmla="*/ 2147483647 w 599"/>
              <a:gd name="T77" fmla="*/ 2147483647 h 993"/>
              <a:gd name="T78" fmla="*/ 2147483647 w 599"/>
              <a:gd name="T79" fmla="*/ 2147483647 h 993"/>
              <a:gd name="T80" fmla="*/ 2147483647 w 599"/>
              <a:gd name="T81" fmla="*/ 2147483647 h 993"/>
              <a:gd name="T82" fmla="*/ 2147483647 w 599"/>
              <a:gd name="T83" fmla="*/ 2147483647 h 993"/>
              <a:gd name="T84" fmla="*/ 2147483647 w 599"/>
              <a:gd name="T85" fmla="*/ 2147483647 h 993"/>
              <a:gd name="T86" fmla="*/ 2147483647 w 599"/>
              <a:gd name="T87" fmla="*/ 2147483647 h 993"/>
              <a:gd name="T88" fmla="*/ 2147483647 w 599"/>
              <a:gd name="T89" fmla="*/ 2147483647 h 993"/>
              <a:gd name="T90" fmla="*/ 2147483647 w 599"/>
              <a:gd name="T91" fmla="*/ 2147483647 h 993"/>
              <a:gd name="T92" fmla="*/ 2147483647 w 599"/>
              <a:gd name="T93" fmla="*/ 2147483647 h 993"/>
              <a:gd name="T94" fmla="*/ 2147483647 w 599"/>
              <a:gd name="T95" fmla="*/ 2147483647 h 993"/>
              <a:gd name="T96" fmla="*/ 2147483647 w 599"/>
              <a:gd name="T97" fmla="*/ 2147483647 h 993"/>
              <a:gd name="T98" fmla="*/ 2147483647 w 599"/>
              <a:gd name="T99" fmla="*/ 2147483647 h 993"/>
              <a:gd name="T100" fmla="*/ 2147483647 w 599"/>
              <a:gd name="T101" fmla="*/ 2147483647 h 993"/>
              <a:gd name="T102" fmla="*/ 2147483647 w 599"/>
              <a:gd name="T103" fmla="*/ 2147483647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28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494213" y="4551164"/>
            <a:ext cx="238125" cy="287338"/>
          </a:xfrm>
          <a:custGeom>
            <a:avLst/>
            <a:gdLst>
              <a:gd name="T0" fmla="*/ 2147483647 w 545"/>
              <a:gd name="T1" fmla="*/ 2147483647 h 549"/>
              <a:gd name="T2" fmla="*/ 2147483647 w 545"/>
              <a:gd name="T3" fmla="*/ 2147483647 h 549"/>
              <a:gd name="T4" fmla="*/ 2147483647 w 545"/>
              <a:gd name="T5" fmla="*/ 2147483647 h 549"/>
              <a:gd name="T6" fmla="*/ 2147483647 w 545"/>
              <a:gd name="T7" fmla="*/ 2147483647 h 549"/>
              <a:gd name="T8" fmla="*/ 2147483647 w 545"/>
              <a:gd name="T9" fmla="*/ 2147483647 h 549"/>
              <a:gd name="T10" fmla="*/ 2147483647 w 545"/>
              <a:gd name="T11" fmla="*/ 2147483647 h 549"/>
              <a:gd name="T12" fmla="*/ 2147483647 w 545"/>
              <a:gd name="T13" fmla="*/ 2147483647 h 549"/>
              <a:gd name="T14" fmla="*/ 2147483647 w 545"/>
              <a:gd name="T15" fmla="*/ 2147483647 h 549"/>
              <a:gd name="T16" fmla="*/ 2147483647 w 545"/>
              <a:gd name="T17" fmla="*/ 2147483647 h 549"/>
              <a:gd name="T18" fmla="*/ 2147483647 w 545"/>
              <a:gd name="T19" fmla="*/ 2147483647 h 549"/>
              <a:gd name="T20" fmla="*/ 2147483647 w 545"/>
              <a:gd name="T21" fmla="*/ 2147483647 h 549"/>
              <a:gd name="T22" fmla="*/ 2147483647 w 545"/>
              <a:gd name="T23" fmla="*/ 2147483647 h 549"/>
              <a:gd name="T24" fmla="*/ 2147483647 w 545"/>
              <a:gd name="T25" fmla="*/ 2147483647 h 549"/>
              <a:gd name="T26" fmla="*/ 2147483647 w 545"/>
              <a:gd name="T27" fmla="*/ 2147483647 h 549"/>
              <a:gd name="T28" fmla="*/ 2147483647 w 545"/>
              <a:gd name="T29" fmla="*/ 2147483647 h 549"/>
              <a:gd name="T30" fmla="*/ 2147483647 w 545"/>
              <a:gd name="T31" fmla="*/ 2147483647 h 549"/>
              <a:gd name="T32" fmla="*/ 2147483647 w 545"/>
              <a:gd name="T33" fmla="*/ 2147483647 h 549"/>
              <a:gd name="T34" fmla="*/ 2147483647 w 545"/>
              <a:gd name="T35" fmla="*/ 2147483647 h 549"/>
              <a:gd name="T36" fmla="*/ 2147483647 w 545"/>
              <a:gd name="T37" fmla="*/ 2147483647 h 549"/>
              <a:gd name="T38" fmla="*/ 2147483647 w 545"/>
              <a:gd name="T39" fmla="*/ 2147483647 h 549"/>
              <a:gd name="T40" fmla="*/ 2147483647 w 545"/>
              <a:gd name="T41" fmla="*/ 2147483647 h 549"/>
              <a:gd name="T42" fmla="*/ 2147483647 w 545"/>
              <a:gd name="T43" fmla="*/ 2147483647 h 549"/>
              <a:gd name="T44" fmla="*/ 2147483647 w 545"/>
              <a:gd name="T45" fmla="*/ 2147483647 h 549"/>
              <a:gd name="T46" fmla="*/ 2147483647 w 545"/>
              <a:gd name="T47" fmla="*/ 2147483647 h 549"/>
              <a:gd name="T48" fmla="*/ 2147483647 w 545"/>
              <a:gd name="T49" fmla="*/ 2147483647 h 549"/>
              <a:gd name="T50" fmla="*/ 2147483647 w 545"/>
              <a:gd name="T51" fmla="*/ 2147483647 h 549"/>
              <a:gd name="T52" fmla="*/ 2147483647 w 545"/>
              <a:gd name="T53" fmla="*/ 2147483647 h 549"/>
              <a:gd name="T54" fmla="*/ 2147483647 w 545"/>
              <a:gd name="T55" fmla="*/ 2147483647 h 549"/>
              <a:gd name="T56" fmla="*/ 2147483647 w 545"/>
              <a:gd name="T57" fmla="*/ 2147483647 h 549"/>
              <a:gd name="T58" fmla="*/ 2147483647 w 545"/>
              <a:gd name="T59" fmla="*/ 2147483647 h 549"/>
              <a:gd name="T60" fmla="*/ 2147483647 w 545"/>
              <a:gd name="T61" fmla="*/ 2147483647 h 549"/>
              <a:gd name="T62" fmla="*/ 2147483647 w 545"/>
              <a:gd name="T63" fmla="*/ 2147483647 h 549"/>
              <a:gd name="T64" fmla="*/ 2147483647 w 545"/>
              <a:gd name="T65" fmla="*/ 0 h 549"/>
              <a:gd name="T66" fmla="*/ 2147483647 w 545"/>
              <a:gd name="T67" fmla="*/ 2147483647 h 549"/>
              <a:gd name="T68" fmla="*/ 2147483647 w 545"/>
              <a:gd name="T69" fmla="*/ 2147483647 h 549"/>
              <a:gd name="T70" fmla="*/ 2147483647 w 545"/>
              <a:gd name="T71" fmla="*/ 2147483647 h 549"/>
              <a:gd name="T72" fmla="*/ 2147483647 w 545"/>
              <a:gd name="T73" fmla="*/ 2147483647 h 549"/>
              <a:gd name="T74" fmla="*/ 2147483647 w 545"/>
              <a:gd name="T75" fmla="*/ 2147483647 h 549"/>
              <a:gd name="T76" fmla="*/ 2147483647 w 545"/>
              <a:gd name="T77" fmla="*/ 2147483647 h 549"/>
              <a:gd name="T78" fmla="*/ 2147483647 w 545"/>
              <a:gd name="T79" fmla="*/ 2147483647 h 549"/>
              <a:gd name="T80" fmla="*/ 2147483647 w 545"/>
              <a:gd name="T81" fmla="*/ 2147483647 h 549"/>
              <a:gd name="T82" fmla="*/ 2147483647 w 545"/>
              <a:gd name="T83" fmla="*/ 2147483647 h 549"/>
              <a:gd name="T84" fmla="*/ 2147483647 w 545"/>
              <a:gd name="T85" fmla="*/ 2147483647 h 549"/>
              <a:gd name="T86" fmla="*/ 2147483647 w 545"/>
              <a:gd name="T87" fmla="*/ 2147483647 h 549"/>
              <a:gd name="T88" fmla="*/ 2147483647 w 545"/>
              <a:gd name="T89" fmla="*/ 2147483647 h 549"/>
              <a:gd name="T90" fmla="*/ 2147483647 w 545"/>
              <a:gd name="T91" fmla="*/ 2147483647 h 549"/>
              <a:gd name="T92" fmla="*/ 2147483647 w 545"/>
              <a:gd name="T93" fmla="*/ 2147483647 h 549"/>
              <a:gd name="T94" fmla="*/ 2147483647 w 545"/>
              <a:gd name="T95" fmla="*/ 2147483647 h 549"/>
              <a:gd name="T96" fmla="*/ 2147483647 w 545"/>
              <a:gd name="T97" fmla="*/ 2147483647 h 549"/>
              <a:gd name="T98" fmla="*/ 0 w 545"/>
              <a:gd name="T99" fmla="*/ 2147483647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29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067300" y="4352727"/>
            <a:ext cx="196850" cy="434975"/>
          </a:xfrm>
          <a:custGeom>
            <a:avLst/>
            <a:gdLst>
              <a:gd name="T0" fmla="*/ 2147483647 w 452"/>
              <a:gd name="T1" fmla="*/ 2147483647 h 832"/>
              <a:gd name="T2" fmla="*/ 2147483647 w 452"/>
              <a:gd name="T3" fmla="*/ 2147483647 h 832"/>
              <a:gd name="T4" fmla="*/ 2147483647 w 452"/>
              <a:gd name="T5" fmla="*/ 2147483647 h 832"/>
              <a:gd name="T6" fmla="*/ 2147483647 w 452"/>
              <a:gd name="T7" fmla="*/ 2147483647 h 832"/>
              <a:gd name="T8" fmla="*/ 2147483647 w 452"/>
              <a:gd name="T9" fmla="*/ 2147483647 h 832"/>
              <a:gd name="T10" fmla="*/ 2147483647 w 452"/>
              <a:gd name="T11" fmla="*/ 2147483647 h 832"/>
              <a:gd name="T12" fmla="*/ 2147483647 w 452"/>
              <a:gd name="T13" fmla="*/ 2147483647 h 832"/>
              <a:gd name="T14" fmla="*/ 2147483647 w 452"/>
              <a:gd name="T15" fmla="*/ 2147483647 h 832"/>
              <a:gd name="T16" fmla="*/ 2147483647 w 452"/>
              <a:gd name="T17" fmla="*/ 2147483647 h 832"/>
              <a:gd name="T18" fmla="*/ 2147483647 w 452"/>
              <a:gd name="T19" fmla="*/ 2147483647 h 832"/>
              <a:gd name="T20" fmla="*/ 2147483647 w 452"/>
              <a:gd name="T21" fmla="*/ 2147483647 h 832"/>
              <a:gd name="T22" fmla="*/ 2147483647 w 452"/>
              <a:gd name="T23" fmla="*/ 2147483647 h 832"/>
              <a:gd name="T24" fmla="*/ 2147483647 w 452"/>
              <a:gd name="T25" fmla="*/ 0 h 832"/>
              <a:gd name="T26" fmla="*/ 2147483647 w 452"/>
              <a:gd name="T27" fmla="*/ 2147483647 h 832"/>
              <a:gd name="T28" fmla="*/ 2147483647 w 452"/>
              <a:gd name="T29" fmla="*/ 2147483647 h 832"/>
              <a:gd name="T30" fmla="*/ 2147483647 w 452"/>
              <a:gd name="T31" fmla="*/ 2147483647 h 832"/>
              <a:gd name="T32" fmla="*/ 2147483647 w 452"/>
              <a:gd name="T33" fmla="*/ 2147483647 h 832"/>
              <a:gd name="T34" fmla="*/ 2147483647 w 452"/>
              <a:gd name="T35" fmla="*/ 2147483647 h 832"/>
              <a:gd name="T36" fmla="*/ 2147483647 w 452"/>
              <a:gd name="T37" fmla="*/ 2147483647 h 832"/>
              <a:gd name="T38" fmla="*/ 2147483647 w 452"/>
              <a:gd name="T39" fmla="*/ 2147483647 h 832"/>
              <a:gd name="T40" fmla="*/ 2147483647 w 452"/>
              <a:gd name="T41" fmla="*/ 2147483647 h 832"/>
              <a:gd name="T42" fmla="*/ 2147483647 w 452"/>
              <a:gd name="T43" fmla="*/ 2147483647 h 832"/>
              <a:gd name="T44" fmla="*/ 2147483647 w 452"/>
              <a:gd name="T45" fmla="*/ 2147483647 h 832"/>
              <a:gd name="T46" fmla="*/ 2147483647 w 452"/>
              <a:gd name="T47" fmla="*/ 2147483647 h 832"/>
              <a:gd name="T48" fmla="*/ 2147483647 w 452"/>
              <a:gd name="T49" fmla="*/ 2147483647 h 832"/>
              <a:gd name="T50" fmla="*/ 2147483647 w 452"/>
              <a:gd name="T51" fmla="*/ 2147483647 h 832"/>
              <a:gd name="T52" fmla="*/ 2147483647 w 452"/>
              <a:gd name="T53" fmla="*/ 2147483647 h 832"/>
              <a:gd name="T54" fmla="*/ 2147483647 w 452"/>
              <a:gd name="T55" fmla="*/ 2147483647 h 832"/>
              <a:gd name="T56" fmla="*/ 2147483647 w 452"/>
              <a:gd name="T57" fmla="*/ 2147483647 h 832"/>
              <a:gd name="T58" fmla="*/ 2147483647 w 452"/>
              <a:gd name="T59" fmla="*/ 2147483647 h 832"/>
              <a:gd name="T60" fmla="*/ 2147483647 w 452"/>
              <a:gd name="T61" fmla="*/ 2147483647 h 832"/>
              <a:gd name="T62" fmla="*/ 2147483647 w 452"/>
              <a:gd name="T63" fmla="*/ 2147483647 h 832"/>
              <a:gd name="T64" fmla="*/ 2147483647 w 452"/>
              <a:gd name="T65" fmla="*/ 2147483647 h 832"/>
              <a:gd name="T66" fmla="*/ 2147483647 w 452"/>
              <a:gd name="T67" fmla="*/ 2147483647 h 832"/>
              <a:gd name="T68" fmla="*/ 2147483647 w 452"/>
              <a:gd name="T69" fmla="*/ 2147483647 h 832"/>
              <a:gd name="T70" fmla="*/ 2147483647 w 452"/>
              <a:gd name="T71" fmla="*/ 2147483647 h 832"/>
              <a:gd name="T72" fmla="*/ 2147483647 w 452"/>
              <a:gd name="T73" fmla="*/ 2147483647 h 832"/>
              <a:gd name="T74" fmla="*/ 2147483647 w 452"/>
              <a:gd name="T75" fmla="*/ 2147483647 h 832"/>
              <a:gd name="T76" fmla="*/ 2147483647 w 452"/>
              <a:gd name="T77" fmla="*/ 2147483647 h 832"/>
              <a:gd name="T78" fmla="*/ 2147483647 w 452"/>
              <a:gd name="T79" fmla="*/ 2147483647 h 832"/>
              <a:gd name="T80" fmla="*/ 2147483647 w 452"/>
              <a:gd name="T81" fmla="*/ 2147483647 h 832"/>
              <a:gd name="T82" fmla="*/ 2147483647 w 452"/>
              <a:gd name="T83" fmla="*/ 2147483647 h 832"/>
              <a:gd name="T84" fmla="*/ 2147483647 w 452"/>
              <a:gd name="T85" fmla="*/ 2147483647 h 832"/>
              <a:gd name="T86" fmla="*/ 2147483647 w 452"/>
              <a:gd name="T87" fmla="*/ 2147483647 h 832"/>
              <a:gd name="T88" fmla="*/ 2147483647 w 452"/>
              <a:gd name="T89" fmla="*/ 2147483647 h 832"/>
              <a:gd name="T90" fmla="*/ 2147483647 w 452"/>
              <a:gd name="T91" fmla="*/ 2147483647 h 832"/>
              <a:gd name="T92" fmla="*/ 0 w 452"/>
              <a:gd name="T93" fmla="*/ 2147483647 h 832"/>
              <a:gd name="T94" fmla="*/ 2147483647 w 452"/>
              <a:gd name="T95" fmla="*/ 2147483647 h 832"/>
              <a:gd name="T96" fmla="*/ 2147483647 w 452"/>
              <a:gd name="T97" fmla="*/ 2147483647 h 832"/>
              <a:gd name="T98" fmla="*/ 2147483647 w 452"/>
              <a:gd name="T99" fmla="*/ 2147483647 h 832"/>
              <a:gd name="T100" fmla="*/ 0 w 452"/>
              <a:gd name="T101" fmla="*/ 2147483647 h 832"/>
              <a:gd name="T102" fmla="*/ 2147483647 w 452"/>
              <a:gd name="T103" fmla="*/ 2147483647 h 832"/>
              <a:gd name="T104" fmla="*/ 2147483647 w 452"/>
              <a:gd name="T105" fmla="*/ 2147483647 h 832"/>
              <a:gd name="T106" fmla="*/ 2147483647 w 452"/>
              <a:gd name="T107" fmla="*/ 2147483647 h 832"/>
              <a:gd name="T108" fmla="*/ 2147483647 w 452"/>
              <a:gd name="T109" fmla="*/ 2147483647 h 832"/>
              <a:gd name="T110" fmla="*/ 2147483647 w 452"/>
              <a:gd name="T111" fmla="*/ 2147483647 h 832"/>
              <a:gd name="T112" fmla="*/ 2147483647 w 452"/>
              <a:gd name="T113" fmla="*/ 2147483647 h 832"/>
              <a:gd name="T114" fmla="*/ 2147483647 w 452"/>
              <a:gd name="T115" fmla="*/ 2147483647 h 832"/>
              <a:gd name="T116" fmla="*/ 2147483647 w 452"/>
              <a:gd name="T117" fmla="*/ 2147483647 h 832"/>
              <a:gd name="T118" fmla="*/ 2147483647 w 452"/>
              <a:gd name="T119" fmla="*/ 2147483647 h 832"/>
              <a:gd name="T120" fmla="*/ 2147483647 w 452"/>
              <a:gd name="T121" fmla="*/ 2147483647 h 832"/>
              <a:gd name="T122" fmla="*/ 2147483647 w 452"/>
              <a:gd name="T123" fmla="*/ 2147483647 h 832"/>
              <a:gd name="T124" fmla="*/ 2147483647 w 452"/>
              <a:gd name="T125" fmla="*/ 2147483647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0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743450" y="4051102"/>
            <a:ext cx="36513" cy="66675"/>
          </a:xfrm>
          <a:custGeom>
            <a:avLst/>
            <a:gdLst>
              <a:gd name="T0" fmla="*/ 2147483647 w 80"/>
              <a:gd name="T1" fmla="*/ 2147483647 h 126"/>
              <a:gd name="T2" fmla="*/ 2147483647 w 80"/>
              <a:gd name="T3" fmla="*/ 2147483647 h 126"/>
              <a:gd name="T4" fmla="*/ 2147483647 w 80"/>
              <a:gd name="T5" fmla="*/ 2147483647 h 126"/>
              <a:gd name="T6" fmla="*/ 2147483647 w 80"/>
              <a:gd name="T7" fmla="*/ 2147483647 h 126"/>
              <a:gd name="T8" fmla="*/ 2147483647 w 80"/>
              <a:gd name="T9" fmla="*/ 2147483647 h 126"/>
              <a:gd name="T10" fmla="*/ 2147483647 w 80"/>
              <a:gd name="T11" fmla="*/ 2147483647 h 126"/>
              <a:gd name="T12" fmla="*/ 2147483647 w 80"/>
              <a:gd name="T13" fmla="*/ 2147483647 h 126"/>
              <a:gd name="T14" fmla="*/ 2147483647 w 80"/>
              <a:gd name="T15" fmla="*/ 2147483647 h 126"/>
              <a:gd name="T16" fmla="*/ 2147483647 w 80"/>
              <a:gd name="T17" fmla="*/ 2147483647 h 126"/>
              <a:gd name="T18" fmla="*/ 2147483647 w 80"/>
              <a:gd name="T19" fmla="*/ 2147483647 h 126"/>
              <a:gd name="T20" fmla="*/ 2147483647 w 80"/>
              <a:gd name="T21" fmla="*/ 2147483647 h 126"/>
              <a:gd name="T22" fmla="*/ 0 w 80"/>
              <a:gd name="T23" fmla="*/ 2147483647 h 126"/>
              <a:gd name="T24" fmla="*/ 2147483647 w 80"/>
              <a:gd name="T25" fmla="*/ 2147483647 h 126"/>
              <a:gd name="T26" fmla="*/ 2147483647 w 80"/>
              <a:gd name="T27" fmla="*/ 2147483647 h 126"/>
              <a:gd name="T28" fmla="*/ 2147483647 w 80"/>
              <a:gd name="T29" fmla="*/ 2147483647 h 126"/>
              <a:gd name="T30" fmla="*/ 2147483647 w 80"/>
              <a:gd name="T31" fmla="*/ 2147483647 h 126"/>
              <a:gd name="T32" fmla="*/ 2147483647 w 80"/>
              <a:gd name="T33" fmla="*/ 2147483647 h 126"/>
              <a:gd name="T34" fmla="*/ 2147483647 w 80"/>
              <a:gd name="T35" fmla="*/ 0 h 126"/>
              <a:gd name="T36" fmla="*/ 2147483647 w 80"/>
              <a:gd name="T37" fmla="*/ 0 h 126"/>
              <a:gd name="T38" fmla="*/ 2147483647 w 80"/>
              <a:gd name="T39" fmla="*/ 2147483647 h 126"/>
              <a:gd name="T40" fmla="*/ 2147483647 w 80"/>
              <a:gd name="T41" fmla="*/ 2147483647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1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732338" y="4011414"/>
            <a:ext cx="55562" cy="60325"/>
          </a:xfrm>
          <a:custGeom>
            <a:avLst/>
            <a:gdLst>
              <a:gd name="T0" fmla="*/ 2147483647 w 124"/>
              <a:gd name="T1" fmla="*/ 0 h 117"/>
              <a:gd name="T2" fmla="*/ 2147483647 w 124"/>
              <a:gd name="T3" fmla="*/ 2147483647 h 117"/>
              <a:gd name="T4" fmla="*/ 2147483647 w 124"/>
              <a:gd name="T5" fmla="*/ 2147483647 h 117"/>
              <a:gd name="T6" fmla="*/ 2147483647 w 124"/>
              <a:gd name="T7" fmla="*/ 2147483647 h 117"/>
              <a:gd name="T8" fmla="*/ 2147483647 w 124"/>
              <a:gd name="T9" fmla="*/ 2147483647 h 117"/>
              <a:gd name="T10" fmla="*/ 2147483647 w 124"/>
              <a:gd name="T11" fmla="*/ 2147483647 h 117"/>
              <a:gd name="T12" fmla="*/ 2147483647 w 124"/>
              <a:gd name="T13" fmla="*/ 2147483647 h 117"/>
              <a:gd name="T14" fmla="*/ 2147483647 w 124"/>
              <a:gd name="T15" fmla="*/ 2147483647 h 117"/>
              <a:gd name="T16" fmla="*/ 2147483647 w 124"/>
              <a:gd name="T17" fmla="*/ 2147483647 h 117"/>
              <a:gd name="T18" fmla="*/ 2147483647 w 124"/>
              <a:gd name="T19" fmla="*/ 2147483647 h 117"/>
              <a:gd name="T20" fmla="*/ 2147483647 w 124"/>
              <a:gd name="T21" fmla="*/ 2147483647 h 117"/>
              <a:gd name="T22" fmla="*/ 2147483647 w 124"/>
              <a:gd name="T23" fmla="*/ 2147483647 h 117"/>
              <a:gd name="T24" fmla="*/ 2147483647 w 124"/>
              <a:gd name="T25" fmla="*/ 2147483647 h 117"/>
              <a:gd name="T26" fmla="*/ 2147483647 w 124"/>
              <a:gd name="T27" fmla="*/ 2147483647 h 117"/>
              <a:gd name="T28" fmla="*/ 2147483647 w 124"/>
              <a:gd name="T29" fmla="*/ 2147483647 h 117"/>
              <a:gd name="T30" fmla="*/ 2147483647 w 124"/>
              <a:gd name="T31" fmla="*/ 2147483647 h 117"/>
              <a:gd name="T32" fmla="*/ 2147483647 w 124"/>
              <a:gd name="T33" fmla="*/ 2147483647 h 117"/>
              <a:gd name="T34" fmla="*/ 2147483647 w 124"/>
              <a:gd name="T35" fmla="*/ 2147483647 h 117"/>
              <a:gd name="T36" fmla="*/ 2147483647 w 124"/>
              <a:gd name="T37" fmla="*/ 2147483647 h 117"/>
              <a:gd name="T38" fmla="*/ 2147483647 w 124"/>
              <a:gd name="T39" fmla="*/ 2147483647 h 117"/>
              <a:gd name="T40" fmla="*/ 0 w 124"/>
              <a:gd name="T41" fmla="*/ 2147483647 h 117"/>
              <a:gd name="T42" fmla="*/ 2147483647 w 124"/>
              <a:gd name="T43" fmla="*/ 2147483647 h 117"/>
              <a:gd name="T44" fmla="*/ 2147483647 w 124"/>
              <a:gd name="T45" fmla="*/ 2147483647 h 117"/>
              <a:gd name="T46" fmla="*/ 2147483647 w 124"/>
              <a:gd name="T47" fmla="*/ 2147483647 h 117"/>
              <a:gd name="T48" fmla="*/ 2147483647 w 124"/>
              <a:gd name="T49" fmla="*/ 2147483647 h 117"/>
              <a:gd name="T50" fmla="*/ 2147483647 w 124"/>
              <a:gd name="T51" fmla="*/ 2147483647 h 117"/>
              <a:gd name="T52" fmla="*/ 2147483647 w 124"/>
              <a:gd name="T53" fmla="*/ 2147483647 h 117"/>
              <a:gd name="T54" fmla="*/ 2147483647 w 124"/>
              <a:gd name="T55" fmla="*/ 2147483647 h 117"/>
              <a:gd name="T56" fmla="*/ 2147483647 w 124"/>
              <a:gd name="T57" fmla="*/ 2147483647 h 117"/>
              <a:gd name="T58" fmla="*/ 2147483647 w 124"/>
              <a:gd name="T59" fmla="*/ 2147483647 h 117"/>
              <a:gd name="T60" fmla="*/ 2147483647 w 124"/>
              <a:gd name="T61" fmla="*/ 2147483647 h 117"/>
              <a:gd name="T62" fmla="*/ 2147483647 w 124"/>
              <a:gd name="T63" fmla="*/ 2147483647 h 117"/>
              <a:gd name="T64" fmla="*/ 2147483647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2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041900" y="2711252"/>
            <a:ext cx="503238" cy="473075"/>
          </a:xfrm>
          <a:custGeom>
            <a:avLst/>
            <a:gdLst>
              <a:gd name="T0" fmla="*/ 175864703 w 1156"/>
              <a:gd name="T1" fmla="*/ 52772568 h 900"/>
              <a:gd name="T2" fmla="*/ 162788786 w 1156"/>
              <a:gd name="T3" fmla="*/ 44760254 h 900"/>
              <a:gd name="T4" fmla="*/ 146491015 w 1156"/>
              <a:gd name="T5" fmla="*/ 30668927 h 900"/>
              <a:gd name="T6" fmla="*/ 116927523 w 1156"/>
              <a:gd name="T7" fmla="*/ 28734576 h 900"/>
              <a:gd name="T8" fmla="*/ 104419708 w 1156"/>
              <a:gd name="T9" fmla="*/ 42549417 h 900"/>
              <a:gd name="T10" fmla="*/ 95512918 w 1156"/>
              <a:gd name="T11" fmla="*/ 49456837 h 900"/>
              <a:gd name="T12" fmla="*/ 80730955 w 1156"/>
              <a:gd name="T13" fmla="*/ 54430433 h 900"/>
              <a:gd name="T14" fmla="*/ 72582069 w 1156"/>
              <a:gd name="T15" fmla="*/ 54982879 h 900"/>
              <a:gd name="T16" fmla="*/ 67275868 w 1156"/>
              <a:gd name="T17" fmla="*/ 47799498 h 900"/>
              <a:gd name="T18" fmla="*/ 49272485 w 1156"/>
              <a:gd name="T19" fmla="*/ 37576347 h 900"/>
              <a:gd name="T20" fmla="*/ 43208380 w 1156"/>
              <a:gd name="T21" fmla="*/ 23761506 h 900"/>
              <a:gd name="T22" fmla="*/ 41692136 w 1156"/>
              <a:gd name="T23" fmla="*/ 6354974 h 900"/>
              <a:gd name="T24" fmla="*/ 35627596 w 1156"/>
              <a:gd name="T25" fmla="*/ 276486 h 900"/>
              <a:gd name="T26" fmla="*/ 29374124 w 1156"/>
              <a:gd name="T27" fmla="*/ 5802002 h 900"/>
              <a:gd name="T28" fmla="*/ 25773099 w 1156"/>
              <a:gd name="T29" fmla="*/ 18511950 h 900"/>
              <a:gd name="T30" fmla="*/ 14971331 w 1156"/>
              <a:gd name="T31" fmla="*/ 14920260 h 900"/>
              <a:gd name="T32" fmla="*/ 757904 w 1156"/>
              <a:gd name="T33" fmla="*/ 4420623 h 900"/>
              <a:gd name="T34" fmla="*/ 947707 w 1156"/>
              <a:gd name="T35" fmla="*/ 19893329 h 900"/>
              <a:gd name="T36" fmla="*/ 8528056 w 1156"/>
              <a:gd name="T37" fmla="*/ 40339105 h 900"/>
              <a:gd name="T38" fmla="*/ 13834256 w 1156"/>
              <a:gd name="T39" fmla="*/ 56640744 h 900"/>
              <a:gd name="T40" fmla="*/ 25583732 w 1156"/>
              <a:gd name="T41" fmla="*/ 78467899 h 900"/>
              <a:gd name="T42" fmla="*/ 23120216 w 1156"/>
              <a:gd name="T43" fmla="*/ 87309671 h 900"/>
              <a:gd name="T44" fmla="*/ 25204562 w 1156"/>
              <a:gd name="T45" fmla="*/ 102229405 h 900"/>
              <a:gd name="T46" fmla="*/ 35627596 w 1156"/>
              <a:gd name="T47" fmla="*/ 118254558 h 900"/>
              <a:gd name="T48" fmla="*/ 49083118 w 1156"/>
              <a:gd name="T49" fmla="*/ 125990911 h 900"/>
              <a:gd name="T50" fmla="*/ 49083118 w 1156"/>
              <a:gd name="T51" fmla="*/ 144779347 h 900"/>
              <a:gd name="T52" fmla="*/ 63485912 w 1156"/>
              <a:gd name="T53" fmla="*/ 160528014 h 900"/>
              <a:gd name="T54" fmla="*/ 80162418 w 1156"/>
              <a:gd name="T55" fmla="*/ 183460588 h 900"/>
              <a:gd name="T56" fmla="*/ 89259011 w 1156"/>
              <a:gd name="T57" fmla="*/ 198933294 h 900"/>
              <a:gd name="T58" fmla="*/ 95512918 w 1156"/>
              <a:gd name="T59" fmla="*/ 202524984 h 900"/>
              <a:gd name="T60" fmla="*/ 102714097 w 1156"/>
              <a:gd name="T61" fmla="*/ 208603473 h 900"/>
              <a:gd name="T62" fmla="*/ 113326934 w 1156"/>
              <a:gd name="T63" fmla="*/ 217445244 h 900"/>
              <a:gd name="T64" fmla="*/ 129814073 w 1156"/>
              <a:gd name="T65" fmla="*/ 219655556 h 900"/>
              <a:gd name="T66" fmla="*/ 138720863 w 1156"/>
              <a:gd name="T67" fmla="*/ 215510893 h 900"/>
              <a:gd name="T68" fmla="*/ 147628089 w 1156"/>
              <a:gd name="T69" fmla="*/ 211090270 h 900"/>
              <a:gd name="T70" fmla="*/ 151797215 w 1156"/>
              <a:gd name="T71" fmla="*/ 219932042 h 900"/>
              <a:gd name="T72" fmla="*/ 154071363 w 1156"/>
              <a:gd name="T73" fmla="*/ 236786127 h 900"/>
              <a:gd name="T74" fmla="*/ 165631472 w 1156"/>
              <a:gd name="T75" fmla="*/ 241482711 h 900"/>
              <a:gd name="T76" fmla="*/ 191594373 w 1156"/>
              <a:gd name="T77" fmla="*/ 246456306 h 900"/>
              <a:gd name="T78" fmla="*/ 206755071 w 1156"/>
              <a:gd name="T79" fmla="*/ 242864615 h 900"/>
              <a:gd name="T80" fmla="*/ 208270880 w 1156"/>
              <a:gd name="T81" fmla="*/ 229602221 h 900"/>
              <a:gd name="T82" fmla="*/ 219073084 w 1156"/>
              <a:gd name="T83" fmla="*/ 212748135 h 900"/>
              <a:gd name="T84" fmla="*/ 214524787 w 1156"/>
              <a:gd name="T85" fmla="*/ 207222094 h 900"/>
              <a:gd name="T86" fmla="*/ 207702343 w 1156"/>
              <a:gd name="T87" fmla="*/ 195617564 h 900"/>
              <a:gd name="T88" fmla="*/ 195384330 w 1156"/>
              <a:gd name="T89" fmla="*/ 177658586 h 900"/>
              <a:gd name="T90" fmla="*/ 192920815 w 1156"/>
              <a:gd name="T91" fmla="*/ 166606502 h 900"/>
              <a:gd name="T92" fmla="*/ 197847846 w 1156"/>
              <a:gd name="T93" fmla="*/ 154449526 h 900"/>
              <a:gd name="T94" fmla="*/ 198606185 w 1156"/>
              <a:gd name="T95" fmla="*/ 145331794 h 900"/>
              <a:gd name="T96" fmla="*/ 195194963 w 1156"/>
              <a:gd name="T97" fmla="*/ 141463617 h 900"/>
              <a:gd name="T98" fmla="*/ 186287737 w 1156"/>
              <a:gd name="T99" fmla="*/ 140082238 h 900"/>
              <a:gd name="T100" fmla="*/ 180792169 w 1156"/>
              <a:gd name="T101" fmla="*/ 125161978 h 900"/>
              <a:gd name="T102" fmla="*/ 177570314 w 1156"/>
              <a:gd name="T103" fmla="*/ 103058337 h 900"/>
              <a:gd name="T104" fmla="*/ 175106799 w 1156"/>
              <a:gd name="T105" fmla="*/ 98637714 h 900"/>
              <a:gd name="T106" fmla="*/ 178138851 w 1156"/>
              <a:gd name="T107" fmla="*/ 92282740 h 900"/>
              <a:gd name="T108" fmla="*/ 181929244 w 1156"/>
              <a:gd name="T109" fmla="*/ 80954697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3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065713" y="3368477"/>
            <a:ext cx="247650" cy="228600"/>
          </a:xfrm>
          <a:custGeom>
            <a:avLst/>
            <a:gdLst>
              <a:gd name="T0" fmla="*/ 2147483647 w 571"/>
              <a:gd name="T1" fmla="*/ 2147483647 h 443"/>
              <a:gd name="T2" fmla="*/ 2147483647 w 571"/>
              <a:gd name="T3" fmla="*/ 2147483647 h 443"/>
              <a:gd name="T4" fmla="*/ 2147483647 w 571"/>
              <a:gd name="T5" fmla="*/ 2147483647 h 443"/>
              <a:gd name="T6" fmla="*/ 2147483647 w 571"/>
              <a:gd name="T7" fmla="*/ 2147483647 h 443"/>
              <a:gd name="T8" fmla="*/ 2147483647 w 571"/>
              <a:gd name="T9" fmla="*/ 2147483647 h 443"/>
              <a:gd name="T10" fmla="*/ 2147483647 w 571"/>
              <a:gd name="T11" fmla="*/ 2147483647 h 443"/>
              <a:gd name="T12" fmla="*/ 2147483647 w 571"/>
              <a:gd name="T13" fmla="*/ 2147483647 h 443"/>
              <a:gd name="T14" fmla="*/ 2147483647 w 571"/>
              <a:gd name="T15" fmla="*/ 2147483647 h 443"/>
              <a:gd name="T16" fmla="*/ 2147483647 w 571"/>
              <a:gd name="T17" fmla="*/ 2147483647 h 443"/>
              <a:gd name="T18" fmla="*/ 2147483647 w 571"/>
              <a:gd name="T19" fmla="*/ 2147483647 h 443"/>
              <a:gd name="T20" fmla="*/ 2147483647 w 571"/>
              <a:gd name="T21" fmla="*/ 2147483647 h 443"/>
              <a:gd name="T22" fmla="*/ 2147483647 w 571"/>
              <a:gd name="T23" fmla="*/ 2147483647 h 443"/>
              <a:gd name="T24" fmla="*/ 2147483647 w 571"/>
              <a:gd name="T25" fmla="*/ 2147483647 h 443"/>
              <a:gd name="T26" fmla="*/ 2147483647 w 571"/>
              <a:gd name="T27" fmla="*/ 2147483647 h 443"/>
              <a:gd name="T28" fmla="*/ 2147483647 w 571"/>
              <a:gd name="T29" fmla="*/ 2147483647 h 443"/>
              <a:gd name="T30" fmla="*/ 2147483647 w 571"/>
              <a:gd name="T31" fmla="*/ 2147483647 h 443"/>
              <a:gd name="T32" fmla="*/ 2147483647 w 571"/>
              <a:gd name="T33" fmla="*/ 2147483647 h 443"/>
              <a:gd name="T34" fmla="*/ 2147483647 w 571"/>
              <a:gd name="T35" fmla="*/ 2147483647 h 443"/>
              <a:gd name="T36" fmla="*/ 2147483647 w 571"/>
              <a:gd name="T37" fmla="*/ 2147483647 h 443"/>
              <a:gd name="T38" fmla="*/ 2147483647 w 571"/>
              <a:gd name="T39" fmla="*/ 2147483647 h 443"/>
              <a:gd name="T40" fmla="*/ 2147483647 w 571"/>
              <a:gd name="T41" fmla="*/ 2147483647 h 443"/>
              <a:gd name="T42" fmla="*/ 2147483647 w 571"/>
              <a:gd name="T43" fmla="*/ 2147483647 h 443"/>
              <a:gd name="T44" fmla="*/ 2147483647 w 571"/>
              <a:gd name="T45" fmla="*/ 2147483647 h 443"/>
              <a:gd name="T46" fmla="*/ 2147483647 w 571"/>
              <a:gd name="T47" fmla="*/ 2147483647 h 443"/>
              <a:gd name="T48" fmla="*/ 2147483647 w 571"/>
              <a:gd name="T49" fmla="*/ 2147483647 h 443"/>
              <a:gd name="T50" fmla="*/ 2147483647 w 571"/>
              <a:gd name="T51" fmla="*/ 2147483647 h 443"/>
              <a:gd name="T52" fmla="*/ 2147483647 w 571"/>
              <a:gd name="T53" fmla="*/ 2147483647 h 443"/>
              <a:gd name="T54" fmla="*/ 2147483647 w 571"/>
              <a:gd name="T55" fmla="*/ 2147483647 h 443"/>
              <a:gd name="T56" fmla="*/ 2147483647 w 571"/>
              <a:gd name="T57" fmla="*/ 2147483647 h 443"/>
              <a:gd name="T58" fmla="*/ 2147483647 w 571"/>
              <a:gd name="T59" fmla="*/ 2147483647 h 443"/>
              <a:gd name="T60" fmla="*/ 2147483647 w 571"/>
              <a:gd name="T61" fmla="*/ 2147483647 h 443"/>
              <a:gd name="T62" fmla="*/ 2147483647 w 571"/>
              <a:gd name="T63" fmla="*/ 2147483647 h 443"/>
              <a:gd name="T64" fmla="*/ 2147483647 w 571"/>
              <a:gd name="T65" fmla="*/ 2147483647 h 443"/>
              <a:gd name="T66" fmla="*/ 2147483647 w 571"/>
              <a:gd name="T67" fmla="*/ 2147483647 h 443"/>
              <a:gd name="T68" fmla="*/ 2147483647 w 571"/>
              <a:gd name="T69" fmla="*/ 2147483647 h 443"/>
              <a:gd name="T70" fmla="*/ 2147483647 w 571"/>
              <a:gd name="T71" fmla="*/ 2147483647 h 443"/>
              <a:gd name="T72" fmla="*/ 2147483647 w 571"/>
              <a:gd name="T73" fmla="*/ 2147483647 h 443"/>
              <a:gd name="T74" fmla="*/ 2147483647 w 571"/>
              <a:gd name="T75" fmla="*/ 2147483647 h 443"/>
              <a:gd name="T76" fmla="*/ 2147483647 w 571"/>
              <a:gd name="T77" fmla="*/ 2147483647 h 443"/>
              <a:gd name="T78" fmla="*/ 2147483647 w 571"/>
              <a:gd name="T79" fmla="*/ 2147483647 h 443"/>
              <a:gd name="T80" fmla="*/ 2147483647 w 571"/>
              <a:gd name="T81" fmla="*/ 2147483647 h 443"/>
              <a:gd name="T82" fmla="*/ 0 w 571"/>
              <a:gd name="T83" fmla="*/ 2147483647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4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260975" y="3143052"/>
            <a:ext cx="120650" cy="120650"/>
          </a:xfrm>
          <a:custGeom>
            <a:avLst/>
            <a:gdLst>
              <a:gd name="T0" fmla="*/ 0 w 286"/>
              <a:gd name="T1" fmla="*/ 2147483647 h 228"/>
              <a:gd name="T2" fmla="*/ 2147483647 w 286"/>
              <a:gd name="T3" fmla="*/ 2147483647 h 228"/>
              <a:gd name="T4" fmla="*/ 2147483647 w 286"/>
              <a:gd name="T5" fmla="*/ 2147483647 h 228"/>
              <a:gd name="T6" fmla="*/ 2147483647 w 286"/>
              <a:gd name="T7" fmla="*/ 2147483647 h 228"/>
              <a:gd name="T8" fmla="*/ 2147483647 w 286"/>
              <a:gd name="T9" fmla="*/ 2147483647 h 228"/>
              <a:gd name="T10" fmla="*/ 2147483647 w 286"/>
              <a:gd name="T11" fmla="*/ 2147483647 h 228"/>
              <a:gd name="T12" fmla="*/ 2147483647 w 286"/>
              <a:gd name="T13" fmla="*/ 2147483647 h 228"/>
              <a:gd name="T14" fmla="*/ 2147483647 w 286"/>
              <a:gd name="T15" fmla="*/ 2147483647 h 228"/>
              <a:gd name="T16" fmla="*/ 2147483647 w 286"/>
              <a:gd name="T17" fmla="*/ 2147483647 h 228"/>
              <a:gd name="T18" fmla="*/ 2147483647 w 286"/>
              <a:gd name="T19" fmla="*/ 2147483647 h 228"/>
              <a:gd name="T20" fmla="*/ 2147483647 w 286"/>
              <a:gd name="T21" fmla="*/ 2147483647 h 228"/>
              <a:gd name="T22" fmla="*/ 2147483647 w 286"/>
              <a:gd name="T23" fmla="*/ 2147483647 h 228"/>
              <a:gd name="T24" fmla="*/ 2147483647 w 286"/>
              <a:gd name="T25" fmla="*/ 2147483647 h 228"/>
              <a:gd name="T26" fmla="*/ 2147483647 w 286"/>
              <a:gd name="T27" fmla="*/ 2147483647 h 228"/>
              <a:gd name="T28" fmla="*/ 2147483647 w 286"/>
              <a:gd name="T29" fmla="*/ 2147483647 h 228"/>
              <a:gd name="T30" fmla="*/ 2147483647 w 286"/>
              <a:gd name="T31" fmla="*/ 2147483647 h 228"/>
              <a:gd name="T32" fmla="*/ 2147483647 w 286"/>
              <a:gd name="T33" fmla="*/ 2147483647 h 228"/>
              <a:gd name="T34" fmla="*/ 2147483647 w 286"/>
              <a:gd name="T35" fmla="*/ 2147483647 h 228"/>
              <a:gd name="T36" fmla="*/ 2147483647 w 286"/>
              <a:gd name="T37" fmla="*/ 2147483647 h 228"/>
              <a:gd name="T38" fmla="*/ 2147483647 w 286"/>
              <a:gd name="T39" fmla="*/ 2147483647 h 228"/>
              <a:gd name="T40" fmla="*/ 2147483647 w 286"/>
              <a:gd name="T41" fmla="*/ 2147483647 h 228"/>
              <a:gd name="T42" fmla="*/ 2147483647 w 286"/>
              <a:gd name="T43" fmla="*/ 2147483647 h 228"/>
              <a:gd name="T44" fmla="*/ 2147483647 w 286"/>
              <a:gd name="T45" fmla="*/ 2147483647 h 228"/>
              <a:gd name="T46" fmla="*/ 2147483647 w 286"/>
              <a:gd name="T47" fmla="*/ 2147483647 h 228"/>
              <a:gd name="T48" fmla="*/ 2147483647 w 286"/>
              <a:gd name="T49" fmla="*/ 2147483647 h 228"/>
              <a:gd name="T50" fmla="*/ 2147483647 w 286"/>
              <a:gd name="T51" fmla="*/ 2147483647 h 228"/>
              <a:gd name="T52" fmla="*/ 2147483647 w 286"/>
              <a:gd name="T53" fmla="*/ 2147483647 h 228"/>
              <a:gd name="T54" fmla="*/ 2147483647 w 286"/>
              <a:gd name="T55" fmla="*/ 2147483647 h 228"/>
              <a:gd name="T56" fmla="*/ 2147483647 w 286"/>
              <a:gd name="T57" fmla="*/ 0 h 228"/>
              <a:gd name="T58" fmla="*/ 2147483647 w 286"/>
              <a:gd name="T59" fmla="*/ 2147483647 h 228"/>
              <a:gd name="T60" fmla="*/ 2147483647 w 286"/>
              <a:gd name="T61" fmla="*/ 2147483647 h 228"/>
              <a:gd name="T62" fmla="*/ 2147483647 w 286"/>
              <a:gd name="T63" fmla="*/ 2147483647 h 228"/>
              <a:gd name="T64" fmla="*/ 2147483647 w 286"/>
              <a:gd name="T65" fmla="*/ 2147483647 h 228"/>
              <a:gd name="T66" fmla="*/ 2147483647 w 286"/>
              <a:gd name="T67" fmla="*/ 2147483647 h 228"/>
              <a:gd name="T68" fmla="*/ 2147483647 w 286"/>
              <a:gd name="T69" fmla="*/ 2147483647 h 228"/>
              <a:gd name="T70" fmla="*/ 2147483647 w 286"/>
              <a:gd name="T71" fmla="*/ 2147483647 h 228"/>
              <a:gd name="T72" fmla="*/ 2147483647 w 286"/>
              <a:gd name="T73" fmla="*/ 2147483647 h 228"/>
              <a:gd name="T74" fmla="*/ 2147483647 w 286"/>
              <a:gd name="T75" fmla="*/ 2147483647 h 228"/>
              <a:gd name="T76" fmla="*/ 0 w 286"/>
              <a:gd name="T77" fmla="*/ 214748364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5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948238" y="2795389"/>
            <a:ext cx="222250" cy="263525"/>
          </a:xfrm>
          <a:custGeom>
            <a:avLst/>
            <a:gdLst>
              <a:gd name="T0" fmla="*/ 2147483647 w 524"/>
              <a:gd name="T1" fmla="*/ 2147483647 h 505"/>
              <a:gd name="T2" fmla="*/ 2147483647 w 524"/>
              <a:gd name="T3" fmla="*/ 2147483647 h 505"/>
              <a:gd name="T4" fmla="*/ 2147483647 w 524"/>
              <a:gd name="T5" fmla="*/ 2147483647 h 505"/>
              <a:gd name="T6" fmla="*/ 2147483647 w 524"/>
              <a:gd name="T7" fmla="*/ 2147483647 h 505"/>
              <a:gd name="T8" fmla="*/ 2147483647 w 524"/>
              <a:gd name="T9" fmla="*/ 2147483647 h 505"/>
              <a:gd name="T10" fmla="*/ 2147483647 w 524"/>
              <a:gd name="T11" fmla="*/ 2147483647 h 505"/>
              <a:gd name="T12" fmla="*/ 2147483647 w 524"/>
              <a:gd name="T13" fmla="*/ 2147483647 h 505"/>
              <a:gd name="T14" fmla="*/ 2147483647 w 524"/>
              <a:gd name="T15" fmla="*/ 2147483647 h 505"/>
              <a:gd name="T16" fmla="*/ 2147483647 w 524"/>
              <a:gd name="T17" fmla="*/ 2147483647 h 505"/>
              <a:gd name="T18" fmla="*/ 2147483647 w 524"/>
              <a:gd name="T19" fmla="*/ 2147483647 h 505"/>
              <a:gd name="T20" fmla="*/ 2147483647 w 524"/>
              <a:gd name="T21" fmla="*/ 2147483647 h 505"/>
              <a:gd name="T22" fmla="*/ 2147483647 w 524"/>
              <a:gd name="T23" fmla="*/ 2147483647 h 505"/>
              <a:gd name="T24" fmla="*/ 2147483647 w 524"/>
              <a:gd name="T25" fmla="*/ 2147483647 h 505"/>
              <a:gd name="T26" fmla="*/ 2147483647 w 524"/>
              <a:gd name="T27" fmla="*/ 2147483647 h 505"/>
              <a:gd name="T28" fmla="*/ 2147483647 w 524"/>
              <a:gd name="T29" fmla="*/ 2147483647 h 505"/>
              <a:gd name="T30" fmla="*/ 2147483647 w 524"/>
              <a:gd name="T31" fmla="*/ 2147483647 h 505"/>
              <a:gd name="T32" fmla="*/ 2147483647 w 524"/>
              <a:gd name="T33" fmla="*/ 2147483647 h 505"/>
              <a:gd name="T34" fmla="*/ 2147483647 w 524"/>
              <a:gd name="T35" fmla="*/ 2147483647 h 505"/>
              <a:gd name="T36" fmla="*/ 2147483647 w 524"/>
              <a:gd name="T37" fmla="*/ 2147483647 h 505"/>
              <a:gd name="T38" fmla="*/ 2147483647 w 524"/>
              <a:gd name="T39" fmla="*/ 2147483647 h 505"/>
              <a:gd name="T40" fmla="*/ 2147483647 w 524"/>
              <a:gd name="T41" fmla="*/ 2147483647 h 505"/>
              <a:gd name="T42" fmla="*/ 2147483647 w 524"/>
              <a:gd name="T43" fmla="*/ 2147483647 h 505"/>
              <a:gd name="T44" fmla="*/ 2147483647 w 524"/>
              <a:gd name="T45" fmla="*/ 2147483647 h 505"/>
              <a:gd name="T46" fmla="*/ 2147483647 w 524"/>
              <a:gd name="T47" fmla="*/ 2147483647 h 505"/>
              <a:gd name="T48" fmla="*/ 2147483647 w 524"/>
              <a:gd name="T49" fmla="*/ 2147483647 h 505"/>
              <a:gd name="T50" fmla="*/ 2147483647 w 524"/>
              <a:gd name="T51" fmla="*/ 2147483647 h 505"/>
              <a:gd name="T52" fmla="*/ 2147483647 w 524"/>
              <a:gd name="T53" fmla="*/ 2147483647 h 505"/>
              <a:gd name="T54" fmla="*/ 2147483647 w 524"/>
              <a:gd name="T55" fmla="*/ 2147483647 h 505"/>
              <a:gd name="T56" fmla="*/ 2147483647 w 524"/>
              <a:gd name="T57" fmla="*/ 2147483647 h 505"/>
              <a:gd name="T58" fmla="*/ 2147483647 w 524"/>
              <a:gd name="T59" fmla="*/ 2147483647 h 505"/>
              <a:gd name="T60" fmla="*/ 2147483647 w 524"/>
              <a:gd name="T61" fmla="*/ 2147483647 h 505"/>
              <a:gd name="T62" fmla="*/ 2147483647 w 524"/>
              <a:gd name="T63" fmla="*/ 2147483647 h 505"/>
              <a:gd name="T64" fmla="*/ 2147483647 w 524"/>
              <a:gd name="T65" fmla="*/ 2147483647 h 505"/>
              <a:gd name="T66" fmla="*/ 2147483647 w 524"/>
              <a:gd name="T67" fmla="*/ 2147483647 h 505"/>
              <a:gd name="T68" fmla="*/ 2147483647 w 524"/>
              <a:gd name="T69" fmla="*/ 2147483647 h 505"/>
              <a:gd name="T70" fmla="*/ 2147483647 w 524"/>
              <a:gd name="T71" fmla="*/ 2147483647 h 505"/>
              <a:gd name="T72" fmla="*/ 2147483647 w 524"/>
              <a:gd name="T73" fmla="*/ 2147483647 h 505"/>
              <a:gd name="T74" fmla="*/ 2147483647 w 524"/>
              <a:gd name="T75" fmla="*/ 2147483647 h 505"/>
              <a:gd name="T76" fmla="*/ 0 w 524"/>
              <a:gd name="T77" fmla="*/ 2147483647 h 505"/>
              <a:gd name="T78" fmla="*/ 0 w 524"/>
              <a:gd name="T79" fmla="*/ 2147483647 h 505"/>
              <a:gd name="T80" fmla="*/ 2147483647 w 524"/>
              <a:gd name="T81" fmla="*/ 2147483647 h 505"/>
              <a:gd name="T82" fmla="*/ 2147483647 w 524"/>
              <a:gd name="T83" fmla="*/ 2147483647 h 505"/>
              <a:gd name="T84" fmla="*/ 2147483647 w 524"/>
              <a:gd name="T85" fmla="*/ 2147483647 h 505"/>
              <a:gd name="T86" fmla="*/ 2147483647 w 524"/>
              <a:gd name="T87" fmla="*/ 2147483647 h 505"/>
              <a:gd name="T88" fmla="*/ 2147483647 w 524"/>
              <a:gd name="T89" fmla="*/ 2147483647 h 505"/>
              <a:gd name="T90" fmla="*/ 2147483647 w 524"/>
              <a:gd name="T91" fmla="*/ 2147483647 h 505"/>
              <a:gd name="T92" fmla="*/ 2147483647 w 524"/>
              <a:gd name="T93" fmla="*/ 2147483647 h 505"/>
              <a:gd name="T94" fmla="*/ 2147483647 w 524"/>
              <a:gd name="T95" fmla="*/ 2147483647 h 505"/>
              <a:gd name="T96" fmla="*/ 2147483647 w 524"/>
              <a:gd name="T97" fmla="*/ 2147483647 h 505"/>
              <a:gd name="T98" fmla="*/ 2147483647 w 524"/>
              <a:gd name="T99" fmla="*/ 2147483647 h 505"/>
              <a:gd name="T100" fmla="*/ 2147483647 w 524"/>
              <a:gd name="T101" fmla="*/ 2147483647 h 505"/>
              <a:gd name="T102" fmla="*/ 2147483647 w 524"/>
              <a:gd name="T103" fmla="*/ 2147483647 h 505"/>
              <a:gd name="T104" fmla="*/ 2147483647 w 524"/>
              <a:gd name="T105" fmla="*/ 2147483647 h 505"/>
              <a:gd name="T106" fmla="*/ 2147483647 w 524"/>
              <a:gd name="T107" fmla="*/ 2147483647 h 505"/>
              <a:gd name="T108" fmla="*/ 2147483647 w 524"/>
              <a:gd name="T109" fmla="*/ 2147483647 h 505"/>
              <a:gd name="T110" fmla="*/ 2147483647 w 524"/>
              <a:gd name="T111" fmla="*/ 2147483647 h 505"/>
              <a:gd name="T112" fmla="*/ 2147483647 w 524"/>
              <a:gd name="T113" fmla="*/ 2147483647 h 505"/>
              <a:gd name="T114" fmla="*/ 2147483647 w 524"/>
              <a:gd name="T115" fmla="*/ 2147483647 h 505"/>
              <a:gd name="T116" fmla="*/ 2147483647 w 524"/>
              <a:gd name="T117" fmla="*/ 2147483647 h 505"/>
              <a:gd name="T118" fmla="*/ 2147483647 w 524"/>
              <a:gd name="T119" fmla="*/ 2147483647 h 505"/>
              <a:gd name="T120" fmla="*/ 2147483647 w 524"/>
              <a:gd name="T121" fmla="*/ 2147483647 h 505"/>
              <a:gd name="T122" fmla="*/ 2147483647 w 524"/>
              <a:gd name="T123" fmla="*/ 2147483647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6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448300" y="2755702"/>
            <a:ext cx="331788" cy="290512"/>
          </a:xfrm>
          <a:custGeom>
            <a:avLst/>
            <a:gdLst>
              <a:gd name="T0" fmla="*/ 2147483647 w 764"/>
              <a:gd name="T1" fmla="*/ 2147483647 h 555"/>
              <a:gd name="T2" fmla="*/ 2147483647 w 764"/>
              <a:gd name="T3" fmla="*/ 2147483647 h 555"/>
              <a:gd name="T4" fmla="*/ 2147483647 w 764"/>
              <a:gd name="T5" fmla="*/ 2147483647 h 555"/>
              <a:gd name="T6" fmla="*/ 2147483647 w 764"/>
              <a:gd name="T7" fmla="*/ 2147483647 h 555"/>
              <a:gd name="T8" fmla="*/ 2147483647 w 764"/>
              <a:gd name="T9" fmla="*/ 2147483647 h 555"/>
              <a:gd name="T10" fmla="*/ 2147483647 w 764"/>
              <a:gd name="T11" fmla="*/ 2147483647 h 555"/>
              <a:gd name="T12" fmla="*/ 2147483647 w 764"/>
              <a:gd name="T13" fmla="*/ 2147483647 h 555"/>
              <a:gd name="T14" fmla="*/ 2147483647 w 764"/>
              <a:gd name="T15" fmla="*/ 2147483647 h 555"/>
              <a:gd name="T16" fmla="*/ 2147483647 w 764"/>
              <a:gd name="T17" fmla="*/ 2147483647 h 555"/>
              <a:gd name="T18" fmla="*/ 2147483647 w 764"/>
              <a:gd name="T19" fmla="*/ 2147483647 h 555"/>
              <a:gd name="T20" fmla="*/ 2147483647 w 764"/>
              <a:gd name="T21" fmla="*/ 2147483647 h 555"/>
              <a:gd name="T22" fmla="*/ 2147483647 w 764"/>
              <a:gd name="T23" fmla="*/ 2147483647 h 555"/>
              <a:gd name="T24" fmla="*/ 2147483647 w 764"/>
              <a:gd name="T25" fmla="*/ 2147483647 h 555"/>
              <a:gd name="T26" fmla="*/ 2147483647 w 764"/>
              <a:gd name="T27" fmla="*/ 2147483647 h 555"/>
              <a:gd name="T28" fmla="*/ 2147483647 w 764"/>
              <a:gd name="T29" fmla="*/ 2147483647 h 555"/>
              <a:gd name="T30" fmla="*/ 2147483647 w 764"/>
              <a:gd name="T31" fmla="*/ 2147483647 h 555"/>
              <a:gd name="T32" fmla="*/ 2147483647 w 764"/>
              <a:gd name="T33" fmla="*/ 2147483647 h 555"/>
              <a:gd name="T34" fmla="*/ 2147483647 w 764"/>
              <a:gd name="T35" fmla="*/ 2147483647 h 555"/>
              <a:gd name="T36" fmla="*/ 2147483647 w 764"/>
              <a:gd name="T37" fmla="*/ 2147483647 h 555"/>
              <a:gd name="T38" fmla="*/ 2147483647 w 764"/>
              <a:gd name="T39" fmla="*/ 2147483647 h 555"/>
              <a:gd name="T40" fmla="*/ 2147483647 w 764"/>
              <a:gd name="T41" fmla="*/ 2147483647 h 555"/>
              <a:gd name="T42" fmla="*/ 2147483647 w 764"/>
              <a:gd name="T43" fmla="*/ 2147483647 h 555"/>
              <a:gd name="T44" fmla="*/ 2147483647 w 764"/>
              <a:gd name="T45" fmla="*/ 2147483647 h 555"/>
              <a:gd name="T46" fmla="*/ 2147483647 w 764"/>
              <a:gd name="T47" fmla="*/ 2147483647 h 555"/>
              <a:gd name="T48" fmla="*/ 2147483647 w 764"/>
              <a:gd name="T49" fmla="*/ 2147483647 h 555"/>
              <a:gd name="T50" fmla="*/ 2147483647 w 764"/>
              <a:gd name="T51" fmla="*/ 2147483647 h 555"/>
              <a:gd name="T52" fmla="*/ 2147483647 w 764"/>
              <a:gd name="T53" fmla="*/ 2147483647 h 555"/>
              <a:gd name="T54" fmla="*/ 2147483647 w 764"/>
              <a:gd name="T55" fmla="*/ 2147483647 h 555"/>
              <a:gd name="T56" fmla="*/ 2147483647 w 764"/>
              <a:gd name="T57" fmla="*/ 2147483647 h 555"/>
              <a:gd name="T58" fmla="*/ 2147483647 w 764"/>
              <a:gd name="T59" fmla="*/ 2147483647 h 555"/>
              <a:gd name="T60" fmla="*/ 2147483647 w 764"/>
              <a:gd name="T61" fmla="*/ 2147483647 h 555"/>
              <a:gd name="T62" fmla="*/ 2147483647 w 764"/>
              <a:gd name="T63" fmla="*/ 2147483647 h 555"/>
              <a:gd name="T64" fmla="*/ 2147483647 w 764"/>
              <a:gd name="T65" fmla="*/ 2147483647 h 555"/>
              <a:gd name="T66" fmla="*/ 2147483647 w 764"/>
              <a:gd name="T67" fmla="*/ 2147483647 h 555"/>
              <a:gd name="T68" fmla="*/ 2147483647 w 764"/>
              <a:gd name="T69" fmla="*/ 2147483647 h 555"/>
              <a:gd name="T70" fmla="*/ 2147483647 w 764"/>
              <a:gd name="T71" fmla="*/ 2147483647 h 555"/>
              <a:gd name="T72" fmla="*/ 2147483647 w 764"/>
              <a:gd name="T73" fmla="*/ 2147483647 h 555"/>
              <a:gd name="T74" fmla="*/ 2147483647 w 764"/>
              <a:gd name="T75" fmla="*/ 2147483647 h 555"/>
              <a:gd name="T76" fmla="*/ 2147483647 w 764"/>
              <a:gd name="T77" fmla="*/ 2147483647 h 555"/>
              <a:gd name="T78" fmla="*/ 2147483647 w 764"/>
              <a:gd name="T79" fmla="*/ 2147483647 h 555"/>
              <a:gd name="T80" fmla="*/ 2147483647 w 764"/>
              <a:gd name="T81" fmla="*/ 2147483647 h 555"/>
              <a:gd name="T82" fmla="*/ 2147483647 w 764"/>
              <a:gd name="T83" fmla="*/ 2147483647 h 555"/>
              <a:gd name="T84" fmla="*/ 2147483647 w 764"/>
              <a:gd name="T85" fmla="*/ 2147483647 h 555"/>
              <a:gd name="T86" fmla="*/ 2147483647 w 764"/>
              <a:gd name="T87" fmla="*/ 2147483647 h 555"/>
              <a:gd name="T88" fmla="*/ 2147483647 w 764"/>
              <a:gd name="T89" fmla="*/ 2147483647 h 555"/>
              <a:gd name="T90" fmla="*/ 2147483647 w 764"/>
              <a:gd name="T91" fmla="*/ 2147483647 h 555"/>
              <a:gd name="T92" fmla="*/ 2147483647 w 764"/>
              <a:gd name="T93" fmla="*/ 2147483647 h 555"/>
              <a:gd name="T94" fmla="*/ 2147483647 w 764"/>
              <a:gd name="T95" fmla="*/ 2147483647 h 555"/>
              <a:gd name="T96" fmla="*/ 2147483647 w 764"/>
              <a:gd name="T97" fmla="*/ 2147483647 h 555"/>
              <a:gd name="T98" fmla="*/ 2147483647 w 764"/>
              <a:gd name="T99" fmla="*/ 2147483647 h 555"/>
              <a:gd name="T100" fmla="*/ 2147483647 w 764"/>
              <a:gd name="T101" fmla="*/ 2147483647 h 555"/>
              <a:gd name="T102" fmla="*/ 2147483647 w 764"/>
              <a:gd name="T103" fmla="*/ 2147483647 h 555"/>
              <a:gd name="T104" fmla="*/ 2147483647 w 764"/>
              <a:gd name="T105" fmla="*/ 2147483647 h 555"/>
              <a:gd name="T106" fmla="*/ 2147483647 w 764"/>
              <a:gd name="T107" fmla="*/ 2147483647 h 555"/>
              <a:gd name="T108" fmla="*/ 2147483647 w 764"/>
              <a:gd name="T109" fmla="*/ 2147483647 h 555"/>
              <a:gd name="T110" fmla="*/ 2147483647 w 764"/>
              <a:gd name="T111" fmla="*/ 2147483647 h 555"/>
              <a:gd name="T112" fmla="*/ 2147483647 w 764"/>
              <a:gd name="T113" fmla="*/ 2147483647 h 555"/>
              <a:gd name="T114" fmla="*/ 2147483647 w 764"/>
              <a:gd name="T115" fmla="*/ 2147483647 h 555"/>
              <a:gd name="T116" fmla="*/ 2147483647 w 764"/>
              <a:gd name="T117" fmla="*/ 2147483647 h 555"/>
              <a:gd name="T118" fmla="*/ 0 w 764"/>
              <a:gd name="T119" fmla="*/ 2147483647 h 555"/>
              <a:gd name="T120" fmla="*/ 2147483647 w 764"/>
              <a:gd name="T121" fmla="*/ 2147483647 h 555"/>
              <a:gd name="T122" fmla="*/ 2147483647 w 764"/>
              <a:gd name="T123" fmla="*/ 2147483647 h 555"/>
              <a:gd name="T124" fmla="*/ 2147483647 w 764"/>
              <a:gd name="T125" fmla="*/ 2147483647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7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480050" y="2804914"/>
            <a:ext cx="365125" cy="423863"/>
          </a:xfrm>
          <a:custGeom>
            <a:avLst/>
            <a:gdLst>
              <a:gd name="T0" fmla="*/ 2147483647 w 831"/>
              <a:gd name="T1" fmla="*/ 2147483647 h 812"/>
              <a:gd name="T2" fmla="*/ 2147483647 w 831"/>
              <a:gd name="T3" fmla="*/ 2147483647 h 812"/>
              <a:gd name="T4" fmla="*/ 2147483647 w 831"/>
              <a:gd name="T5" fmla="*/ 2147483647 h 812"/>
              <a:gd name="T6" fmla="*/ 2147483647 w 831"/>
              <a:gd name="T7" fmla="*/ 2147483647 h 812"/>
              <a:gd name="T8" fmla="*/ 2147483647 w 831"/>
              <a:gd name="T9" fmla="*/ 2147483647 h 812"/>
              <a:gd name="T10" fmla="*/ 2147483647 w 831"/>
              <a:gd name="T11" fmla="*/ 2147483647 h 812"/>
              <a:gd name="T12" fmla="*/ 2147483647 w 831"/>
              <a:gd name="T13" fmla="*/ 2147483647 h 812"/>
              <a:gd name="T14" fmla="*/ 2147483647 w 831"/>
              <a:gd name="T15" fmla="*/ 2147483647 h 812"/>
              <a:gd name="T16" fmla="*/ 2147483647 w 831"/>
              <a:gd name="T17" fmla="*/ 2147483647 h 812"/>
              <a:gd name="T18" fmla="*/ 2147483647 w 831"/>
              <a:gd name="T19" fmla="*/ 2147483647 h 812"/>
              <a:gd name="T20" fmla="*/ 2147483647 w 831"/>
              <a:gd name="T21" fmla="*/ 2147483647 h 812"/>
              <a:gd name="T22" fmla="*/ 2147483647 w 831"/>
              <a:gd name="T23" fmla="*/ 2147483647 h 812"/>
              <a:gd name="T24" fmla="*/ 2147483647 w 831"/>
              <a:gd name="T25" fmla="*/ 2147483647 h 812"/>
              <a:gd name="T26" fmla="*/ 2147483647 w 831"/>
              <a:gd name="T27" fmla="*/ 2147483647 h 812"/>
              <a:gd name="T28" fmla="*/ 2147483647 w 831"/>
              <a:gd name="T29" fmla="*/ 2147483647 h 812"/>
              <a:gd name="T30" fmla="*/ 2147483647 w 831"/>
              <a:gd name="T31" fmla="*/ 2147483647 h 812"/>
              <a:gd name="T32" fmla="*/ 2147483647 w 831"/>
              <a:gd name="T33" fmla="*/ 2147483647 h 812"/>
              <a:gd name="T34" fmla="*/ 2147483647 w 831"/>
              <a:gd name="T35" fmla="*/ 2147483647 h 812"/>
              <a:gd name="T36" fmla="*/ 2147483647 w 831"/>
              <a:gd name="T37" fmla="*/ 2147483647 h 812"/>
              <a:gd name="T38" fmla="*/ 2147483647 w 831"/>
              <a:gd name="T39" fmla="*/ 2147483647 h 812"/>
              <a:gd name="T40" fmla="*/ 2147483647 w 831"/>
              <a:gd name="T41" fmla="*/ 2147483647 h 812"/>
              <a:gd name="T42" fmla="*/ 2147483647 w 831"/>
              <a:gd name="T43" fmla="*/ 2147483647 h 812"/>
              <a:gd name="T44" fmla="*/ 2147483647 w 831"/>
              <a:gd name="T45" fmla="*/ 2147483647 h 812"/>
              <a:gd name="T46" fmla="*/ 2147483647 w 831"/>
              <a:gd name="T47" fmla="*/ 2147483647 h 812"/>
              <a:gd name="T48" fmla="*/ 2147483647 w 831"/>
              <a:gd name="T49" fmla="*/ 2147483647 h 812"/>
              <a:gd name="T50" fmla="*/ 2147483647 w 831"/>
              <a:gd name="T51" fmla="*/ 2147483647 h 812"/>
              <a:gd name="T52" fmla="*/ 2147483647 w 831"/>
              <a:gd name="T53" fmla="*/ 2147483647 h 812"/>
              <a:gd name="T54" fmla="*/ 2147483647 w 831"/>
              <a:gd name="T55" fmla="*/ 2147483647 h 812"/>
              <a:gd name="T56" fmla="*/ 2147483647 w 831"/>
              <a:gd name="T57" fmla="*/ 2147483647 h 812"/>
              <a:gd name="T58" fmla="*/ 2147483647 w 831"/>
              <a:gd name="T59" fmla="*/ 2147483647 h 812"/>
              <a:gd name="T60" fmla="*/ 2147483647 w 831"/>
              <a:gd name="T61" fmla="*/ 2147483647 h 812"/>
              <a:gd name="T62" fmla="*/ 2147483647 w 831"/>
              <a:gd name="T63" fmla="*/ 2147483647 h 812"/>
              <a:gd name="T64" fmla="*/ 2147483647 w 831"/>
              <a:gd name="T65" fmla="*/ 2147483647 h 812"/>
              <a:gd name="T66" fmla="*/ 2147483647 w 831"/>
              <a:gd name="T67" fmla="*/ 2147483647 h 812"/>
              <a:gd name="T68" fmla="*/ 2147483647 w 831"/>
              <a:gd name="T69" fmla="*/ 2147483647 h 812"/>
              <a:gd name="T70" fmla="*/ 2147483647 w 831"/>
              <a:gd name="T71" fmla="*/ 2147483647 h 812"/>
              <a:gd name="T72" fmla="*/ 2147483647 w 831"/>
              <a:gd name="T73" fmla="*/ 2147483647 h 812"/>
              <a:gd name="T74" fmla="*/ 2147483647 w 831"/>
              <a:gd name="T75" fmla="*/ 2147483647 h 812"/>
              <a:gd name="T76" fmla="*/ 2147483647 w 831"/>
              <a:gd name="T77" fmla="*/ 2147483647 h 812"/>
              <a:gd name="T78" fmla="*/ 2147483647 w 831"/>
              <a:gd name="T79" fmla="*/ 2147483647 h 812"/>
              <a:gd name="T80" fmla="*/ 2147483647 w 831"/>
              <a:gd name="T81" fmla="*/ 2147483647 h 812"/>
              <a:gd name="T82" fmla="*/ 2147483647 w 831"/>
              <a:gd name="T83" fmla="*/ 2147483647 h 812"/>
              <a:gd name="T84" fmla="*/ 2147483647 w 831"/>
              <a:gd name="T85" fmla="*/ 2147483647 h 812"/>
              <a:gd name="T86" fmla="*/ 2147483647 w 831"/>
              <a:gd name="T87" fmla="*/ 2147483647 h 812"/>
              <a:gd name="T88" fmla="*/ 2147483647 w 831"/>
              <a:gd name="T89" fmla="*/ 2147483647 h 812"/>
              <a:gd name="T90" fmla="*/ 2147483647 w 831"/>
              <a:gd name="T91" fmla="*/ 2147483647 h 812"/>
              <a:gd name="T92" fmla="*/ 2147483647 w 831"/>
              <a:gd name="T93" fmla="*/ 2147483647 h 812"/>
              <a:gd name="T94" fmla="*/ 2147483647 w 831"/>
              <a:gd name="T95" fmla="*/ 2147483647 h 812"/>
              <a:gd name="T96" fmla="*/ 2147483647 w 831"/>
              <a:gd name="T97" fmla="*/ 2147483647 h 812"/>
              <a:gd name="T98" fmla="*/ 2147483647 w 831"/>
              <a:gd name="T99" fmla="*/ 2147483647 h 812"/>
              <a:gd name="T100" fmla="*/ 2147483647 w 831"/>
              <a:gd name="T101" fmla="*/ 2147483647 h 812"/>
              <a:gd name="T102" fmla="*/ 2147483647 w 831"/>
              <a:gd name="T103" fmla="*/ 2147483647 h 812"/>
              <a:gd name="T104" fmla="*/ 2147483647 w 831"/>
              <a:gd name="T105" fmla="*/ 2147483647 h 812"/>
              <a:gd name="T106" fmla="*/ 2147483647 w 831"/>
              <a:gd name="T107" fmla="*/ 2147483647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8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270625" y="3073202"/>
            <a:ext cx="220663" cy="585787"/>
          </a:xfrm>
          <a:custGeom>
            <a:avLst/>
            <a:gdLst>
              <a:gd name="T0" fmla="*/ 2147483647 w 505"/>
              <a:gd name="T1" fmla="*/ 2147483647 h 1121"/>
              <a:gd name="T2" fmla="*/ 2147483647 w 505"/>
              <a:gd name="T3" fmla="*/ 2147483647 h 1121"/>
              <a:gd name="T4" fmla="*/ 2147483647 w 505"/>
              <a:gd name="T5" fmla="*/ 2147483647 h 1121"/>
              <a:gd name="T6" fmla="*/ 2147483647 w 505"/>
              <a:gd name="T7" fmla="*/ 2147483647 h 1121"/>
              <a:gd name="T8" fmla="*/ 2147483647 w 505"/>
              <a:gd name="T9" fmla="*/ 2147483647 h 1121"/>
              <a:gd name="T10" fmla="*/ 2147483647 w 505"/>
              <a:gd name="T11" fmla="*/ 2147483647 h 1121"/>
              <a:gd name="T12" fmla="*/ 2147483647 w 505"/>
              <a:gd name="T13" fmla="*/ 2147483647 h 1121"/>
              <a:gd name="T14" fmla="*/ 2147483647 w 505"/>
              <a:gd name="T15" fmla="*/ 2147483647 h 1121"/>
              <a:gd name="T16" fmla="*/ 2147483647 w 505"/>
              <a:gd name="T17" fmla="*/ 2147483647 h 1121"/>
              <a:gd name="T18" fmla="*/ 2147483647 w 505"/>
              <a:gd name="T19" fmla="*/ 2147483647 h 1121"/>
              <a:gd name="T20" fmla="*/ 2147483647 w 505"/>
              <a:gd name="T21" fmla="*/ 2147483647 h 1121"/>
              <a:gd name="T22" fmla="*/ 2147483647 w 505"/>
              <a:gd name="T23" fmla="*/ 2147483647 h 1121"/>
              <a:gd name="T24" fmla="*/ 2147483647 w 505"/>
              <a:gd name="T25" fmla="*/ 2147483647 h 1121"/>
              <a:gd name="T26" fmla="*/ 2147483647 w 505"/>
              <a:gd name="T27" fmla="*/ 2147483647 h 1121"/>
              <a:gd name="T28" fmla="*/ 2147483647 w 505"/>
              <a:gd name="T29" fmla="*/ 2147483647 h 1121"/>
              <a:gd name="T30" fmla="*/ 2147483647 w 505"/>
              <a:gd name="T31" fmla="*/ 2147483647 h 1121"/>
              <a:gd name="T32" fmla="*/ 2147483647 w 505"/>
              <a:gd name="T33" fmla="*/ 2147483647 h 1121"/>
              <a:gd name="T34" fmla="*/ 2147483647 w 505"/>
              <a:gd name="T35" fmla="*/ 2147483647 h 1121"/>
              <a:gd name="T36" fmla="*/ 2147483647 w 505"/>
              <a:gd name="T37" fmla="*/ 2147483647 h 1121"/>
              <a:gd name="T38" fmla="*/ 2147483647 w 505"/>
              <a:gd name="T39" fmla="*/ 2147483647 h 1121"/>
              <a:gd name="T40" fmla="*/ 2147483647 w 505"/>
              <a:gd name="T41" fmla="*/ 2147483647 h 1121"/>
              <a:gd name="T42" fmla="*/ 2147483647 w 505"/>
              <a:gd name="T43" fmla="*/ 2147483647 h 1121"/>
              <a:gd name="T44" fmla="*/ 2147483647 w 505"/>
              <a:gd name="T45" fmla="*/ 2147483647 h 1121"/>
              <a:gd name="T46" fmla="*/ 2147483647 w 505"/>
              <a:gd name="T47" fmla="*/ 2147483647 h 1121"/>
              <a:gd name="T48" fmla="*/ 2147483647 w 505"/>
              <a:gd name="T49" fmla="*/ 2147483647 h 1121"/>
              <a:gd name="T50" fmla="*/ 2147483647 w 505"/>
              <a:gd name="T51" fmla="*/ 2147483647 h 1121"/>
              <a:gd name="T52" fmla="*/ 2147483647 w 505"/>
              <a:gd name="T53" fmla="*/ 2147483647 h 1121"/>
              <a:gd name="T54" fmla="*/ 2147483647 w 505"/>
              <a:gd name="T55" fmla="*/ 2147483647 h 1121"/>
              <a:gd name="T56" fmla="*/ 2147483647 w 505"/>
              <a:gd name="T57" fmla="*/ 2147483647 h 1121"/>
              <a:gd name="T58" fmla="*/ 2147483647 w 505"/>
              <a:gd name="T59" fmla="*/ 2147483647 h 1121"/>
              <a:gd name="T60" fmla="*/ 2147483647 w 505"/>
              <a:gd name="T61" fmla="*/ 2147483647 h 1121"/>
              <a:gd name="T62" fmla="*/ 2147483647 w 505"/>
              <a:gd name="T63" fmla="*/ 2147483647 h 1121"/>
              <a:gd name="T64" fmla="*/ 2147483647 w 505"/>
              <a:gd name="T65" fmla="*/ 2147483647 h 1121"/>
              <a:gd name="T66" fmla="*/ 2147483647 w 505"/>
              <a:gd name="T67" fmla="*/ 2147483647 h 1121"/>
              <a:gd name="T68" fmla="*/ 2147483647 w 505"/>
              <a:gd name="T69" fmla="*/ 2147483647 h 1121"/>
              <a:gd name="T70" fmla="*/ 2147483647 w 505"/>
              <a:gd name="T71" fmla="*/ 2147483647 h 1121"/>
              <a:gd name="T72" fmla="*/ 2147483647 w 505"/>
              <a:gd name="T73" fmla="*/ 2147483647 h 1121"/>
              <a:gd name="T74" fmla="*/ 2147483647 w 505"/>
              <a:gd name="T75" fmla="*/ 2147483647 h 1121"/>
              <a:gd name="T76" fmla="*/ 2147483647 w 505"/>
              <a:gd name="T77" fmla="*/ 2147483647 h 1121"/>
              <a:gd name="T78" fmla="*/ 2147483647 w 505"/>
              <a:gd name="T79" fmla="*/ 2147483647 h 1121"/>
              <a:gd name="T80" fmla="*/ 2147483647 w 505"/>
              <a:gd name="T81" fmla="*/ 2147483647 h 1121"/>
              <a:gd name="T82" fmla="*/ 2147483647 w 505"/>
              <a:gd name="T83" fmla="*/ 2147483647 h 1121"/>
              <a:gd name="T84" fmla="*/ 2147483647 w 505"/>
              <a:gd name="T85" fmla="*/ 2147483647 h 1121"/>
              <a:gd name="T86" fmla="*/ 2147483647 w 505"/>
              <a:gd name="T87" fmla="*/ 2147483647 h 1121"/>
              <a:gd name="T88" fmla="*/ 2147483647 w 505"/>
              <a:gd name="T89" fmla="*/ 2147483647 h 1121"/>
              <a:gd name="T90" fmla="*/ 2147483647 w 505"/>
              <a:gd name="T91" fmla="*/ 2147483647 h 1121"/>
              <a:gd name="T92" fmla="*/ 2147483647 w 505"/>
              <a:gd name="T93" fmla="*/ 2147483647 h 1121"/>
              <a:gd name="T94" fmla="*/ 2147483647 w 505"/>
              <a:gd name="T95" fmla="*/ 2147483647 h 1121"/>
              <a:gd name="T96" fmla="*/ 2147483647 w 505"/>
              <a:gd name="T97" fmla="*/ 2147483647 h 1121"/>
              <a:gd name="T98" fmla="*/ 2147483647 w 505"/>
              <a:gd name="T99" fmla="*/ 2147483647 h 1121"/>
              <a:gd name="T100" fmla="*/ 2147483647 w 505"/>
              <a:gd name="T101" fmla="*/ 2147483647 h 1121"/>
              <a:gd name="T102" fmla="*/ 2147483647 w 505"/>
              <a:gd name="T103" fmla="*/ 214748364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39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594100" y="3582789"/>
            <a:ext cx="80963" cy="58738"/>
          </a:xfrm>
          <a:custGeom>
            <a:avLst/>
            <a:gdLst>
              <a:gd name="T0" fmla="*/ 2147483647 w 180"/>
              <a:gd name="T1" fmla="*/ 2147483647 h 112"/>
              <a:gd name="T2" fmla="*/ 2147483647 w 180"/>
              <a:gd name="T3" fmla="*/ 2147483647 h 112"/>
              <a:gd name="T4" fmla="*/ 2147483647 w 180"/>
              <a:gd name="T5" fmla="*/ 2147483647 h 112"/>
              <a:gd name="T6" fmla="*/ 2147483647 w 180"/>
              <a:gd name="T7" fmla="*/ 2147483647 h 112"/>
              <a:gd name="T8" fmla="*/ 2147483647 w 180"/>
              <a:gd name="T9" fmla="*/ 2147483647 h 112"/>
              <a:gd name="T10" fmla="*/ 2147483647 w 180"/>
              <a:gd name="T11" fmla="*/ 2147483647 h 112"/>
              <a:gd name="T12" fmla="*/ 2147483647 w 180"/>
              <a:gd name="T13" fmla="*/ 2147483647 h 112"/>
              <a:gd name="T14" fmla="*/ 2147483647 w 180"/>
              <a:gd name="T15" fmla="*/ 2147483647 h 112"/>
              <a:gd name="T16" fmla="*/ 2147483647 w 180"/>
              <a:gd name="T17" fmla="*/ 2147483647 h 112"/>
              <a:gd name="T18" fmla="*/ 2147483647 w 180"/>
              <a:gd name="T19" fmla="*/ 2147483647 h 112"/>
              <a:gd name="T20" fmla="*/ 2147483647 w 180"/>
              <a:gd name="T21" fmla="*/ 2147483647 h 112"/>
              <a:gd name="T22" fmla="*/ 2147483647 w 180"/>
              <a:gd name="T23" fmla="*/ 2147483647 h 112"/>
              <a:gd name="T24" fmla="*/ 2147483647 w 180"/>
              <a:gd name="T25" fmla="*/ 2147483647 h 112"/>
              <a:gd name="T26" fmla="*/ 2147483647 w 180"/>
              <a:gd name="T27" fmla="*/ 2147483647 h 112"/>
              <a:gd name="T28" fmla="*/ 2147483647 w 180"/>
              <a:gd name="T29" fmla="*/ 2147483647 h 112"/>
              <a:gd name="T30" fmla="*/ 2147483647 w 180"/>
              <a:gd name="T31" fmla="*/ 2147483647 h 112"/>
              <a:gd name="T32" fmla="*/ 2147483647 w 180"/>
              <a:gd name="T33" fmla="*/ 2147483647 h 112"/>
              <a:gd name="T34" fmla="*/ 2147483647 w 180"/>
              <a:gd name="T35" fmla="*/ 2147483647 h 112"/>
              <a:gd name="T36" fmla="*/ 2147483647 w 180"/>
              <a:gd name="T37" fmla="*/ 2147483647 h 112"/>
              <a:gd name="T38" fmla="*/ 2147483647 w 180"/>
              <a:gd name="T39" fmla="*/ 2147483647 h 112"/>
              <a:gd name="T40" fmla="*/ 2147483647 w 180"/>
              <a:gd name="T41" fmla="*/ 2147483647 h 112"/>
              <a:gd name="T42" fmla="*/ 2147483647 w 180"/>
              <a:gd name="T43" fmla="*/ 2147483647 h 112"/>
              <a:gd name="T44" fmla="*/ 0 w 180"/>
              <a:gd name="T45" fmla="*/ 2147483647 h 112"/>
              <a:gd name="T46" fmla="*/ 2147483647 w 180"/>
              <a:gd name="T47" fmla="*/ 2147483647 h 112"/>
              <a:gd name="T48" fmla="*/ 2147483647 w 180"/>
              <a:gd name="T49" fmla="*/ 2147483647 h 112"/>
              <a:gd name="T50" fmla="*/ 2147483647 w 180"/>
              <a:gd name="T51" fmla="*/ 2147483647 h 112"/>
              <a:gd name="T52" fmla="*/ 2147483647 w 180"/>
              <a:gd name="T53" fmla="*/ 2147483647 h 112"/>
              <a:gd name="T54" fmla="*/ 2147483647 w 180"/>
              <a:gd name="T55" fmla="*/ 2147483647 h 112"/>
              <a:gd name="T56" fmla="*/ 2147483647 w 180"/>
              <a:gd name="T57" fmla="*/ 0 h 112"/>
              <a:gd name="T58" fmla="*/ 2147483647 w 180"/>
              <a:gd name="T59" fmla="*/ 2147483647 h 112"/>
              <a:gd name="T60" fmla="*/ 2147483647 w 180"/>
              <a:gd name="T61" fmla="*/ 2147483647 h 112"/>
              <a:gd name="T62" fmla="*/ 2147483647 w 180"/>
              <a:gd name="T63" fmla="*/ 2147483647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0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678238" y="3665339"/>
            <a:ext cx="74612" cy="100013"/>
          </a:xfrm>
          <a:custGeom>
            <a:avLst/>
            <a:gdLst>
              <a:gd name="T0" fmla="*/ 0 w 173"/>
              <a:gd name="T1" fmla="*/ 2147483647 h 192"/>
              <a:gd name="T2" fmla="*/ 2147483647 w 173"/>
              <a:gd name="T3" fmla="*/ 2147483647 h 192"/>
              <a:gd name="T4" fmla="*/ 2147483647 w 173"/>
              <a:gd name="T5" fmla="*/ 2147483647 h 192"/>
              <a:gd name="T6" fmla="*/ 2147483647 w 173"/>
              <a:gd name="T7" fmla="*/ 2147483647 h 192"/>
              <a:gd name="T8" fmla="*/ 2147483647 w 173"/>
              <a:gd name="T9" fmla="*/ 2147483647 h 192"/>
              <a:gd name="T10" fmla="*/ 2147483647 w 173"/>
              <a:gd name="T11" fmla="*/ 2147483647 h 192"/>
              <a:gd name="T12" fmla="*/ 2147483647 w 173"/>
              <a:gd name="T13" fmla="*/ 2147483647 h 192"/>
              <a:gd name="T14" fmla="*/ 2147483647 w 173"/>
              <a:gd name="T15" fmla="*/ 2147483647 h 192"/>
              <a:gd name="T16" fmla="*/ 2147483647 w 173"/>
              <a:gd name="T17" fmla="*/ 2147483647 h 192"/>
              <a:gd name="T18" fmla="*/ 2147483647 w 173"/>
              <a:gd name="T19" fmla="*/ 2147483647 h 192"/>
              <a:gd name="T20" fmla="*/ 2147483647 w 173"/>
              <a:gd name="T21" fmla="*/ 0 h 192"/>
              <a:gd name="T22" fmla="*/ 2147483647 w 173"/>
              <a:gd name="T23" fmla="*/ 2147483647 h 192"/>
              <a:gd name="T24" fmla="*/ 2147483647 w 173"/>
              <a:gd name="T25" fmla="*/ 2147483647 h 192"/>
              <a:gd name="T26" fmla="*/ 2147483647 w 173"/>
              <a:gd name="T27" fmla="*/ 2147483647 h 192"/>
              <a:gd name="T28" fmla="*/ 2147483647 w 173"/>
              <a:gd name="T29" fmla="*/ 2147483647 h 192"/>
              <a:gd name="T30" fmla="*/ 2147483647 w 173"/>
              <a:gd name="T31" fmla="*/ 2147483647 h 192"/>
              <a:gd name="T32" fmla="*/ 2147483647 w 173"/>
              <a:gd name="T33" fmla="*/ 2147483647 h 192"/>
              <a:gd name="T34" fmla="*/ 2147483647 w 173"/>
              <a:gd name="T35" fmla="*/ 2147483647 h 192"/>
              <a:gd name="T36" fmla="*/ 2147483647 w 173"/>
              <a:gd name="T37" fmla="*/ 2147483647 h 192"/>
              <a:gd name="T38" fmla="*/ 2147483647 w 173"/>
              <a:gd name="T39" fmla="*/ 2147483647 h 192"/>
              <a:gd name="T40" fmla="*/ 2147483647 w 173"/>
              <a:gd name="T41" fmla="*/ 2147483647 h 192"/>
              <a:gd name="T42" fmla="*/ 2147483647 w 173"/>
              <a:gd name="T43" fmla="*/ 2147483647 h 192"/>
              <a:gd name="T44" fmla="*/ 2147483647 w 173"/>
              <a:gd name="T45" fmla="*/ 2147483647 h 192"/>
              <a:gd name="T46" fmla="*/ 2147483647 w 173"/>
              <a:gd name="T47" fmla="*/ 2147483647 h 192"/>
              <a:gd name="T48" fmla="*/ 2147483647 w 173"/>
              <a:gd name="T49" fmla="*/ 2147483647 h 192"/>
              <a:gd name="T50" fmla="*/ 2147483647 w 173"/>
              <a:gd name="T51" fmla="*/ 2147483647 h 192"/>
              <a:gd name="T52" fmla="*/ 2147483647 w 173"/>
              <a:gd name="T53" fmla="*/ 2147483647 h 192"/>
              <a:gd name="T54" fmla="*/ 2147483647 w 173"/>
              <a:gd name="T55" fmla="*/ 2147483647 h 192"/>
              <a:gd name="T56" fmla="*/ 2147483647 w 173"/>
              <a:gd name="T57" fmla="*/ 2147483647 h 192"/>
              <a:gd name="T58" fmla="*/ 2147483647 w 173"/>
              <a:gd name="T59" fmla="*/ 2147483647 h 192"/>
              <a:gd name="T60" fmla="*/ 2147483647 w 173"/>
              <a:gd name="T61" fmla="*/ 2147483647 h 192"/>
              <a:gd name="T62" fmla="*/ 2147483647 w 173"/>
              <a:gd name="T63" fmla="*/ 2147483647 h 192"/>
              <a:gd name="T64" fmla="*/ 2147483647 w 173"/>
              <a:gd name="T65" fmla="*/ 2147483647 h 192"/>
              <a:gd name="T66" fmla="*/ 2147483647 w 173"/>
              <a:gd name="T67" fmla="*/ 2147483647 h 192"/>
              <a:gd name="T68" fmla="*/ 2147483647 w 173"/>
              <a:gd name="T69" fmla="*/ 2147483647 h 192"/>
              <a:gd name="T70" fmla="*/ 2147483647 w 173"/>
              <a:gd name="T71" fmla="*/ 2147483647 h 192"/>
              <a:gd name="T72" fmla="*/ 2147483647 w 173"/>
              <a:gd name="T73" fmla="*/ 2147483647 h 192"/>
              <a:gd name="T74" fmla="*/ 2147483647 w 173"/>
              <a:gd name="T75" fmla="*/ 2147483647 h 192"/>
              <a:gd name="T76" fmla="*/ 2147483647 w 173"/>
              <a:gd name="T77" fmla="*/ 2147483647 h 192"/>
              <a:gd name="T78" fmla="*/ 2147483647 w 173"/>
              <a:gd name="T79" fmla="*/ 2147483647 h 192"/>
              <a:gd name="T80" fmla="*/ 2147483647 w 173"/>
              <a:gd name="T81" fmla="*/ 2147483647 h 192"/>
              <a:gd name="T82" fmla="*/ 2147483647 w 173"/>
              <a:gd name="T83" fmla="*/ 2147483647 h 192"/>
              <a:gd name="T84" fmla="*/ 0 w 173"/>
              <a:gd name="T85" fmla="*/ 2147483647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1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721100" y="3716139"/>
            <a:ext cx="104775" cy="131763"/>
          </a:xfrm>
          <a:custGeom>
            <a:avLst/>
            <a:gdLst>
              <a:gd name="T0" fmla="*/ 2147483647 w 233"/>
              <a:gd name="T1" fmla="*/ 0 h 252"/>
              <a:gd name="T2" fmla="*/ 2147483647 w 233"/>
              <a:gd name="T3" fmla="*/ 2147483647 h 252"/>
              <a:gd name="T4" fmla="*/ 2147483647 w 233"/>
              <a:gd name="T5" fmla="*/ 2147483647 h 252"/>
              <a:gd name="T6" fmla="*/ 2147483647 w 233"/>
              <a:gd name="T7" fmla="*/ 2147483647 h 252"/>
              <a:gd name="T8" fmla="*/ 2147483647 w 233"/>
              <a:gd name="T9" fmla="*/ 2147483647 h 252"/>
              <a:gd name="T10" fmla="*/ 2147483647 w 233"/>
              <a:gd name="T11" fmla="*/ 2147483647 h 252"/>
              <a:gd name="T12" fmla="*/ 2147483647 w 233"/>
              <a:gd name="T13" fmla="*/ 0 h 252"/>
              <a:gd name="T14" fmla="*/ 2147483647 w 233"/>
              <a:gd name="T15" fmla="*/ 2147483647 h 252"/>
              <a:gd name="T16" fmla="*/ 2147483647 w 233"/>
              <a:gd name="T17" fmla="*/ 2147483647 h 252"/>
              <a:gd name="T18" fmla="*/ 2147483647 w 233"/>
              <a:gd name="T19" fmla="*/ 2147483647 h 252"/>
              <a:gd name="T20" fmla="*/ 2147483647 w 233"/>
              <a:gd name="T21" fmla="*/ 2147483647 h 252"/>
              <a:gd name="T22" fmla="*/ 2147483647 w 233"/>
              <a:gd name="T23" fmla="*/ 2147483647 h 252"/>
              <a:gd name="T24" fmla="*/ 2147483647 w 233"/>
              <a:gd name="T25" fmla="*/ 2147483647 h 252"/>
              <a:gd name="T26" fmla="*/ 2147483647 w 233"/>
              <a:gd name="T27" fmla="*/ 2147483647 h 252"/>
              <a:gd name="T28" fmla="*/ 2147483647 w 233"/>
              <a:gd name="T29" fmla="*/ 2147483647 h 252"/>
              <a:gd name="T30" fmla="*/ 2147483647 w 233"/>
              <a:gd name="T31" fmla="*/ 2147483647 h 252"/>
              <a:gd name="T32" fmla="*/ 2147483647 w 233"/>
              <a:gd name="T33" fmla="*/ 2147483647 h 252"/>
              <a:gd name="T34" fmla="*/ 2147483647 w 233"/>
              <a:gd name="T35" fmla="*/ 2147483647 h 252"/>
              <a:gd name="T36" fmla="*/ 2147483647 w 233"/>
              <a:gd name="T37" fmla="*/ 2147483647 h 252"/>
              <a:gd name="T38" fmla="*/ 2147483647 w 233"/>
              <a:gd name="T39" fmla="*/ 2147483647 h 252"/>
              <a:gd name="T40" fmla="*/ 2147483647 w 233"/>
              <a:gd name="T41" fmla="*/ 2147483647 h 252"/>
              <a:gd name="T42" fmla="*/ 2147483647 w 233"/>
              <a:gd name="T43" fmla="*/ 2147483647 h 252"/>
              <a:gd name="T44" fmla="*/ 2147483647 w 233"/>
              <a:gd name="T45" fmla="*/ 2147483647 h 252"/>
              <a:gd name="T46" fmla="*/ 2147483647 w 233"/>
              <a:gd name="T47" fmla="*/ 2147483647 h 252"/>
              <a:gd name="T48" fmla="*/ 2147483647 w 233"/>
              <a:gd name="T49" fmla="*/ 2147483647 h 252"/>
              <a:gd name="T50" fmla="*/ 2147483647 w 233"/>
              <a:gd name="T51" fmla="*/ 2147483647 h 252"/>
              <a:gd name="T52" fmla="*/ 2147483647 w 233"/>
              <a:gd name="T53" fmla="*/ 2147483647 h 252"/>
              <a:gd name="T54" fmla="*/ 2147483647 w 233"/>
              <a:gd name="T55" fmla="*/ 2147483647 h 252"/>
              <a:gd name="T56" fmla="*/ 2147483647 w 233"/>
              <a:gd name="T57" fmla="*/ 2147483647 h 252"/>
              <a:gd name="T58" fmla="*/ 2147483647 w 233"/>
              <a:gd name="T59" fmla="*/ 2147483647 h 252"/>
              <a:gd name="T60" fmla="*/ 2147483647 w 233"/>
              <a:gd name="T61" fmla="*/ 2147483647 h 252"/>
              <a:gd name="T62" fmla="*/ 2147483647 w 233"/>
              <a:gd name="T63" fmla="*/ 2147483647 h 252"/>
              <a:gd name="T64" fmla="*/ 2147483647 w 233"/>
              <a:gd name="T65" fmla="*/ 2147483647 h 252"/>
              <a:gd name="T66" fmla="*/ 2147483647 w 233"/>
              <a:gd name="T67" fmla="*/ 2147483647 h 252"/>
              <a:gd name="T68" fmla="*/ 2147483647 w 233"/>
              <a:gd name="T69" fmla="*/ 2147483647 h 252"/>
              <a:gd name="T70" fmla="*/ 2147483647 w 233"/>
              <a:gd name="T71" fmla="*/ 2147483647 h 252"/>
              <a:gd name="T72" fmla="*/ 2147483647 w 233"/>
              <a:gd name="T73" fmla="*/ 2147483647 h 252"/>
              <a:gd name="T74" fmla="*/ 2147483647 w 233"/>
              <a:gd name="T75" fmla="*/ 2147483647 h 252"/>
              <a:gd name="T76" fmla="*/ 2147483647 w 233"/>
              <a:gd name="T77" fmla="*/ 2147483647 h 252"/>
              <a:gd name="T78" fmla="*/ 2147483647 w 233"/>
              <a:gd name="T79" fmla="*/ 2147483647 h 252"/>
              <a:gd name="T80" fmla="*/ 2147483647 w 233"/>
              <a:gd name="T81" fmla="*/ 2147483647 h 252"/>
              <a:gd name="T82" fmla="*/ 2147483647 w 233"/>
              <a:gd name="T83" fmla="*/ 2147483647 h 252"/>
              <a:gd name="T84" fmla="*/ 2147483647 w 233"/>
              <a:gd name="T85" fmla="*/ 2147483647 h 252"/>
              <a:gd name="T86" fmla="*/ 2147483647 w 233"/>
              <a:gd name="T87" fmla="*/ 2147483647 h 252"/>
              <a:gd name="T88" fmla="*/ 2147483647 w 233"/>
              <a:gd name="T89" fmla="*/ 2147483647 h 252"/>
              <a:gd name="T90" fmla="*/ 2147483647 w 233"/>
              <a:gd name="T91" fmla="*/ 2147483647 h 252"/>
              <a:gd name="T92" fmla="*/ 2147483647 w 233"/>
              <a:gd name="T93" fmla="*/ 2147483647 h 252"/>
              <a:gd name="T94" fmla="*/ 0 w 233"/>
              <a:gd name="T95" fmla="*/ 2147483647 h 252"/>
              <a:gd name="T96" fmla="*/ 2147483647 w 233"/>
              <a:gd name="T97" fmla="*/ 2147483647 h 252"/>
              <a:gd name="T98" fmla="*/ 2147483647 w 233"/>
              <a:gd name="T99" fmla="*/ 2147483647 h 252"/>
              <a:gd name="T100" fmla="*/ 2147483647 w 233"/>
              <a:gd name="T101" fmla="*/ 2147483647 h 252"/>
              <a:gd name="T102" fmla="*/ 2147483647 w 233"/>
              <a:gd name="T103" fmla="*/ 2147483647 h 252"/>
              <a:gd name="T104" fmla="*/ 2147483647 w 233"/>
              <a:gd name="T105" fmla="*/ 2147483647 h 252"/>
              <a:gd name="T106" fmla="*/ 2147483647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2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935413" y="3635177"/>
            <a:ext cx="104775" cy="201612"/>
          </a:xfrm>
          <a:custGeom>
            <a:avLst/>
            <a:gdLst>
              <a:gd name="T0" fmla="*/ 2147483647 w 246"/>
              <a:gd name="T1" fmla="*/ 2147483647 h 380"/>
              <a:gd name="T2" fmla="*/ 2147483647 w 246"/>
              <a:gd name="T3" fmla="*/ 2147483647 h 380"/>
              <a:gd name="T4" fmla="*/ 2147483647 w 246"/>
              <a:gd name="T5" fmla="*/ 2147483647 h 380"/>
              <a:gd name="T6" fmla="*/ 2147483647 w 246"/>
              <a:gd name="T7" fmla="*/ 2147483647 h 380"/>
              <a:gd name="T8" fmla="*/ 2147483647 w 246"/>
              <a:gd name="T9" fmla="*/ 2147483647 h 380"/>
              <a:gd name="T10" fmla="*/ 2147483647 w 246"/>
              <a:gd name="T11" fmla="*/ 2147483647 h 380"/>
              <a:gd name="T12" fmla="*/ 2147483647 w 246"/>
              <a:gd name="T13" fmla="*/ 2147483647 h 380"/>
              <a:gd name="T14" fmla="*/ 2147483647 w 246"/>
              <a:gd name="T15" fmla="*/ 2147483647 h 380"/>
              <a:gd name="T16" fmla="*/ 2147483647 w 246"/>
              <a:gd name="T17" fmla="*/ 2147483647 h 380"/>
              <a:gd name="T18" fmla="*/ 2147483647 w 246"/>
              <a:gd name="T19" fmla="*/ 2147483647 h 380"/>
              <a:gd name="T20" fmla="*/ 2147483647 w 246"/>
              <a:gd name="T21" fmla="*/ 2147483647 h 380"/>
              <a:gd name="T22" fmla="*/ 2147483647 w 246"/>
              <a:gd name="T23" fmla="*/ 2147483647 h 380"/>
              <a:gd name="T24" fmla="*/ 2147483647 w 246"/>
              <a:gd name="T25" fmla="*/ 2147483647 h 380"/>
              <a:gd name="T26" fmla="*/ 2147483647 w 246"/>
              <a:gd name="T27" fmla="*/ 2147483647 h 380"/>
              <a:gd name="T28" fmla="*/ 0 w 246"/>
              <a:gd name="T29" fmla="*/ 2147483647 h 380"/>
              <a:gd name="T30" fmla="*/ 2147483647 w 246"/>
              <a:gd name="T31" fmla="*/ 2147483647 h 380"/>
              <a:gd name="T32" fmla="*/ 2147483647 w 246"/>
              <a:gd name="T33" fmla="*/ 2147483647 h 380"/>
              <a:gd name="T34" fmla="*/ 2147483647 w 246"/>
              <a:gd name="T35" fmla="*/ 2147483647 h 380"/>
              <a:gd name="T36" fmla="*/ 2147483647 w 246"/>
              <a:gd name="T37" fmla="*/ 2147483647 h 380"/>
              <a:gd name="T38" fmla="*/ 2147483647 w 246"/>
              <a:gd name="T39" fmla="*/ 2147483647 h 380"/>
              <a:gd name="T40" fmla="*/ 2147483647 w 246"/>
              <a:gd name="T41" fmla="*/ 2147483647 h 380"/>
              <a:gd name="T42" fmla="*/ 2147483647 w 246"/>
              <a:gd name="T43" fmla="*/ 2147483647 h 380"/>
              <a:gd name="T44" fmla="*/ 2147483647 w 246"/>
              <a:gd name="T45" fmla="*/ 2147483647 h 380"/>
              <a:gd name="T46" fmla="*/ 2147483647 w 246"/>
              <a:gd name="T47" fmla="*/ 2147483647 h 380"/>
              <a:gd name="T48" fmla="*/ 2147483647 w 246"/>
              <a:gd name="T49" fmla="*/ 2147483647 h 380"/>
              <a:gd name="T50" fmla="*/ 2147483647 w 246"/>
              <a:gd name="T51" fmla="*/ 2147483647 h 380"/>
              <a:gd name="T52" fmla="*/ 2147483647 w 246"/>
              <a:gd name="T53" fmla="*/ 2147483647 h 380"/>
              <a:gd name="T54" fmla="*/ 2147483647 w 246"/>
              <a:gd name="T55" fmla="*/ 2147483647 h 380"/>
              <a:gd name="T56" fmla="*/ 2147483647 w 246"/>
              <a:gd name="T57" fmla="*/ 2147483647 h 380"/>
              <a:gd name="T58" fmla="*/ 2147483647 w 246"/>
              <a:gd name="T59" fmla="*/ 2147483647 h 380"/>
              <a:gd name="T60" fmla="*/ 2147483647 w 246"/>
              <a:gd name="T61" fmla="*/ 2147483647 h 380"/>
              <a:gd name="T62" fmla="*/ 2147483647 w 246"/>
              <a:gd name="T63" fmla="*/ 0 h 380"/>
              <a:gd name="T64" fmla="*/ 2147483647 w 246"/>
              <a:gd name="T65" fmla="*/ 0 h 380"/>
              <a:gd name="T66" fmla="*/ 2147483647 w 246"/>
              <a:gd name="T67" fmla="*/ 2147483647 h 380"/>
              <a:gd name="T68" fmla="*/ 2147483647 w 246"/>
              <a:gd name="T69" fmla="*/ 2147483647 h 380"/>
              <a:gd name="T70" fmla="*/ 2147483647 w 246"/>
              <a:gd name="T71" fmla="*/ 2147483647 h 380"/>
              <a:gd name="T72" fmla="*/ 2147483647 w 246"/>
              <a:gd name="T73" fmla="*/ 2147483647 h 380"/>
              <a:gd name="T74" fmla="*/ 2147483647 w 246"/>
              <a:gd name="T75" fmla="*/ 2147483647 h 380"/>
              <a:gd name="T76" fmla="*/ 2147483647 w 246"/>
              <a:gd name="T77" fmla="*/ 2147483647 h 380"/>
              <a:gd name="T78" fmla="*/ 2147483647 w 246"/>
              <a:gd name="T79" fmla="*/ 2147483647 h 380"/>
              <a:gd name="T80" fmla="*/ 2147483647 w 246"/>
              <a:gd name="T81" fmla="*/ 2147483647 h 380"/>
              <a:gd name="T82" fmla="*/ 2147483647 w 246"/>
              <a:gd name="T83" fmla="*/ 2147483647 h 380"/>
              <a:gd name="T84" fmla="*/ 2147483647 w 246"/>
              <a:gd name="T85" fmla="*/ 2147483647 h 380"/>
              <a:gd name="T86" fmla="*/ 2147483647 w 246"/>
              <a:gd name="T87" fmla="*/ 2147483647 h 380"/>
              <a:gd name="T88" fmla="*/ 2147483647 w 246"/>
              <a:gd name="T89" fmla="*/ 2147483647 h 380"/>
              <a:gd name="T90" fmla="*/ 2147483647 w 246"/>
              <a:gd name="T91" fmla="*/ 2147483647 h 380"/>
              <a:gd name="T92" fmla="*/ 2147483647 w 246"/>
              <a:gd name="T93" fmla="*/ 2147483647 h 380"/>
              <a:gd name="T94" fmla="*/ 2147483647 w 246"/>
              <a:gd name="T95" fmla="*/ 2147483647 h 380"/>
              <a:gd name="T96" fmla="*/ 2147483647 w 246"/>
              <a:gd name="T97" fmla="*/ 2147483647 h 380"/>
              <a:gd name="T98" fmla="*/ 2147483647 w 246"/>
              <a:gd name="T99" fmla="*/ 2147483647 h 380"/>
              <a:gd name="T100" fmla="*/ 2147483647 w 246"/>
              <a:gd name="T101" fmla="*/ 2147483647 h 380"/>
              <a:gd name="T102" fmla="*/ 2147483647 w 246"/>
              <a:gd name="T103" fmla="*/ 2147483647 h 380"/>
              <a:gd name="T104" fmla="*/ 2147483647 w 246"/>
              <a:gd name="T105" fmla="*/ 2147483647 h 380"/>
              <a:gd name="T106" fmla="*/ 2147483647 w 246"/>
              <a:gd name="T107" fmla="*/ 2147483647 h 380"/>
              <a:gd name="T108" fmla="*/ 2147483647 w 246"/>
              <a:gd name="T109" fmla="*/ 2147483647 h 380"/>
              <a:gd name="T110" fmla="*/ 2147483647 w 246"/>
              <a:gd name="T111" fmla="*/ 2147483647 h 380"/>
              <a:gd name="T112" fmla="*/ 2147483647 w 246"/>
              <a:gd name="T113" fmla="*/ 2147483647 h 380"/>
              <a:gd name="T114" fmla="*/ 2147483647 w 246"/>
              <a:gd name="T115" fmla="*/ 2147483647 h 380"/>
              <a:gd name="T116" fmla="*/ 2147483647 w 246"/>
              <a:gd name="T117" fmla="*/ 2147483647 h 380"/>
              <a:gd name="T118" fmla="*/ 2147483647 w 246"/>
              <a:gd name="T119" fmla="*/ 2147483647 h 380"/>
              <a:gd name="T120" fmla="*/ 2147483647 w 246"/>
              <a:gd name="T121" fmla="*/ 2147483647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3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587750" y="3551039"/>
            <a:ext cx="87313" cy="58738"/>
          </a:xfrm>
          <a:custGeom>
            <a:avLst/>
            <a:gdLst>
              <a:gd name="T0" fmla="*/ 2147483647 w 193"/>
              <a:gd name="T1" fmla="*/ 2147483647 h 38"/>
              <a:gd name="T2" fmla="*/ 2147483647 w 193"/>
              <a:gd name="T3" fmla="*/ 2147483647 h 38"/>
              <a:gd name="T4" fmla="*/ 2147483647 w 193"/>
              <a:gd name="T5" fmla="*/ 2147483647 h 38"/>
              <a:gd name="T6" fmla="*/ 2147483647 w 193"/>
              <a:gd name="T7" fmla="*/ 2147483647 h 38"/>
              <a:gd name="T8" fmla="*/ 2147483647 w 193"/>
              <a:gd name="T9" fmla="*/ 2147483647 h 38"/>
              <a:gd name="T10" fmla="*/ 2147483647 w 193"/>
              <a:gd name="T11" fmla="*/ 2147483647 h 38"/>
              <a:gd name="T12" fmla="*/ 2147483647 w 193"/>
              <a:gd name="T13" fmla="*/ 0 h 38"/>
              <a:gd name="T14" fmla="*/ 2147483647 w 193"/>
              <a:gd name="T15" fmla="*/ 2147483647 h 38"/>
              <a:gd name="T16" fmla="*/ 2147483647 w 193"/>
              <a:gd name="T17" fmla="*/ 2147483647 h 38"/>
              <a:gd name="T18" fmla="*/ 2147483647 w 193"/>
              <a:gd name="T19" fmla="*/ 2147483647 h 38"/>
              <a:gd name="T20" fmla="*/ 2147483647 w 193"/>
              <a:gd name="T21" fmla="*/ 2147483647 h 38"/>
              <a:gd name="T22" fmla="*/ 2147483647 w 193"/>
              <a:gd name="T23" fmla="*/ 2147483647 h 38"/>
              <a:gd name="T24" fmla="*/ 2147483647 w 193"/>
              <a:gd name="T25" fmla="*/ 2147483647 h 38"/>
              <a:gd name="T26" fmla="*/ 2147483647 w 193"/>
              <a:gd name="T27" fmla="*/ 2147483647 h 38"/>
              <a:gd name="T28" fmla="*/ 2147483647 w 193"/>
              <a:gd name="T29" fmla="*/ 2147483647 h 38"/>
              <a:gd name="T30" fmla="*/ 2147483647 w 193"/>
              <a:gd name="T31" fmla="*/ 2147483647 h 38"/>
              <a:gd name="T32" fmla="*/ 2147483647 w 193"/>
              <a:gd name="T33" fmla="*/ 2147483647 h 38"/>
              <a:gd name="T34" fmla="*/ 2147483647 w 193"/>
              <a:gd name="T35" fmla="*/ 2147483647 h 38"/>
              <a:gd name="T36" fmla="*/ 2147483647 w 193"/>
              <a:gd name="T37" fmla="*/ 2147483647 h 38"/>
              <a:gd name="T38" fmla="*/ 2147483647 w 193"/>
              <a:gd name="T39" fmla="*/ 2147483647 h 38"/>
              <a:gd name="T40" fmla="*/ 2147483647 w 193"/>
              <a:gd name="T41" fmla="*/ 2147483647 h 38"/>
              <a:gd name="T42" fmla="*/ 2147483647 w 193"/>
              <a:gd name="T43" fmla="*/ 2147483647 h 38"/>
              <a:gd name="T44" fmla="*/ 2147483647 w 193"/>
              <a:gd name="T45" fmla="*/ 2147483647 h 38"/>
              <a:gd name="T46" fmla="*/ 2147483647 w 193"/>
              <a:gd name="T47" fmla="*/ 2147483647 h 38"/>
              <a:gd name="T48" fmla="*/ 2147483647 w 193"/>
              <a:gd name="T49" fmla="*/ 2147483647 h 38"/>
              <a:gd name="T50" fmla="*/ 2147483647 w 193"/>
              <a:gd name="T51" fmla="*/ 2147483647 h 38"/>
              <a:gd name="T52" fmla="*/ 2147483647 w 193"/>
              <a:gd name="T53" fmla="*/ 2147483647 h 38"/>
              <a:gd name="T54" fmla="*/ 2147483647 w 193"/>
              <a:gd name="T55" fmla="*/ 2147483647 h 38"/>
              <a:gd name="T56" fmla="*/ 2147483647 w 193"/>
              <a:gd name="T57" fmla="*/ 2147483647 h 38"/>
              <a:gd name="T58" fmla="*/ 2147483647 w 193"/>
              <a:gd name="T59" fmla="*/ 2147483647 h 38"/>
              <a:gd name="T60" fmla="*/ 0 w 193"/>
              <a:gd name="T61" fmla="*/ 2147483647 h 38"/>
              <a:gd name="T62" fmla="*/ 0 w 193"/>
              <a:gd name="T63" fmla="*/ 2147483647 h 38"/>
              <a:gd name="T64" fmla="*/ 2147483647 w 193"/>
              <a:gd name="T65" fmla="*/ 2147483647 h 38"/>
              <a:gd name="T66" fmla="*/ 2147483647 w 193"/>
              <a:gd name="T67" fmla="*/ 2147483647 h 38"/>
              <a:gd name="T68" fmla="*/ 2147483647 w 193"/>
              <a:gd name="T69" fmla="*/ 2147483647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4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013200" y="3628827"/>
            <a:ext cx="42863" cy="155575"/>
          </a:xfrm>
          <a:custGeom>
            <a:avLst/>
            <a:gdLst>
              <a:gd name="T0" fmla="*/ 2147483647 w 99"/>
              <a:gd name="T1" fmla="*/ 2147483647 h 301"/>
              <a:gd name="T2" fmla="*/ 2147483647 w 99"/>
              <a:gd name="T3" fmla="*/ 2147483647 h 301"/>
              <a:gd name="T4" fmla="*/ 2147483647 w 99"/>
              <a:gd name="T5" fmla="*/ 2147483647 h 301"/>
              <a:gd name="T6" fmla="*/ 2147483647 w 99"/>
              <a:gd name="T7" fmla="*/ 2147483647 h 301"/>
              <a:gd name="T8" fmla="*/ 2147483647 w 99"/>
              <a:gd name="T9" fmla="*/ 2147483647 h 301"/>
              <a:gd name="T10" fmla="*/ 2147483647 w 99"/>
              <a:gd name="T11" fmla="*/ 2147483647 h 301"/>
              <a:gd name="T12" fmla="*/ 2147483647 w 99"/>
              <a:gd name="T13" fmla="*/ 2147483647 h 301"/>
              <a:gd name="T14" fmla="*/ 2147483647 w 99"/>
              <a:gd name="T15" fmla="*/ 2147483647 h 301"/>
              <a:gd name="T16" fmla="*/ 2147483647 w 99"/>
              <a:gd name="T17" fmla="*/ 2147483647 h 301"/>
              <a:gd name="T18" fmla="*/ 2147483647 w 99"/>
              <a:gd name="T19" fmla="*/ 2147483647 h 301"/>
              <a:gd name="T20" fmla="*/ 2147483647 w 99"/>
              <a:gd name="T21" fmla="*/ 2147483647 h 301"/>
              <a:gd name="T22" fmla="*/ 2147483647 w 99"/>
              <a:gd name="T23" fmla="*/ 2147483647 h 301"/>
              <a:gd name="T24" fmla="*/ 2147483647 w 99"/>
              <a:gd name="T25" fmla="*/ 2147483647 h 301"/>
              <a:gd name="T26" fmla="*/ 2147483647 w 99"/>
              <a:gd name="T27" fmla="*/ 2147483647 h 301"/>
              <a:gd name="T28" fmla="*/ 2147483647 w 99"/>
              <a:gd name="T29" fmla="*/ 2147483647 h 301"/>
              <a:gd name="T30" fmla="*/ 2147483647 w 99"/>
              <a:gd name="T31" fmla="*/ 2147483647 h 301"/>
              <a:gd name="T32" fmla="*/ 2147483647 w 99"/>
              <a:gd name="T33" fmla="*/ 2147483647 h 301"/>
              <a:gd name="T34" fmla="*/ 2147483647 w 99"/>
              <a:gd name="T35" fmla="*/ 2147483647 h 301"/>
              <a:gd name="T36" fmla="*/ 2147483647 w 99"/>
              <a:gd name="T37" fmla="*/ 2147483647 h 301"/>
              <a:gd name="T38" fmla="*/ 2147483647 w 99"/>
              <a:gd name="T39" fmla="*/ 2147483647 h 301"/>
              <a:gd name="T40" fmla="*/ 2147483647 w 99"/>
              <a:gd name="T41" fmla="*/ 2147483647 h 301"/>
              <a:gd name="T42" fmla="*/ 2147483647 w 99"/>
              <a:gd name="T43" fmla="*/ 2147483647 h 301"/>
              <a:gd name="T44" fmla="*/ 2147483647 w 99"/>
              <a:gd name="T45" fmla="*/ 2147483647 h 301"/>
              <a:gd name="T46" fmla="*/ 2147483647 w 99"/>
              <a:gd name="T47" fmla="*/ 2147483647 h 301"/>
              <a:gd name="T48" fmla="*/ 2147483647 w 99"/>
              <a:gd name="T49" fmla="*/ 2147483647 h 301"/>
              <a:gd name="T50" fmla="*/ 2147483647 w 99"/>
              <a:gd name="T51" fmla="*/ 2147483647 h 301"/>
              <a:gd name="T52" fmla="*/ 2147483647 w 99"/>
              <a:gd name="T53" fmla="*/ 2147483647 h 301"/>
              <a:gd name="T54" fmla="*/ 2147483647 w 99"/>
              <a:gd name="T55" fmla="*/ 2147483647 h 301"/>
              <a:gd name="T56" fmla="*/ 0 w 99"/>
              <a:gd name="T57" fmla="*/ 2147483647 h 301"/>
              <a:gd name="T58" fmla="*/ 2147483647 w 99"/>
              <a:gd name="T59" fmla="*/ 2147483647 h 301"/>
              <a:gd name="T60" fmla="*/ 2147483647 w 99"/>
              <a:gd name="T61" fmla="*/ 0 h 301"/>
              <a:gd name="T62" fmla="*/ 2147483647 w 99"/>
              <a:gd name="T63" fmla="*/ 0 h 301"/>
              <a:gd name="T64" fmla="*/ 2147483647 w 99"/>
              <a:gd name="T65" fmla="*/ 0 h 301"/>
              <a:gd name="T66" fmla="*/ 2147483647 w 99"/>
              <a:gd name="T67" fmla="*/ 0 h 301"/>
              <a:gd name="T68" fmla="*/ 2147483647 w 99"/>
              <a:gd name="T69" fmla="*/ 2147483647 h 301"/>
              <a:gd name="T70" fmla="*/ 2147483647 w 99"/>
              <a:gd name="T71" fmla="*/ 2147483647 h 301"/>
              <a:gd name="T72" fmla="*/ 2147483647 w 99"/>
              <a:gd name="T73" fmla="*/ 2147483647 h 301"/>
              <a:gd name="T74" fmla="*/ 2147483647 w 99"/>
              <a:gd name="T75" fmla="*/ 2147483647 h 301"/>
              <a:gd name="T76" fmla="*/ 2147483647 w 99"/>
              <a:gd name="T77" fmla="*/ 2147483647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5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038600" y="3590727"/>
            <a:ext cx="76200" cy="188912"/>
          </a:xfrm>
          <a:custGeom>
            <a:avLst/>
            <a:gdLst>
              <a:gd name="T0" fmla="*/ 0 w 173"/>
              <a:gd name="T1" fmla="*/ 2147483647 h 357"/>
              <a:gd name="T2" fmla="*/ 2147483647 w 173"/>
              <a:gd name="T3" fmla="*/ 2147483647 h 357"/>
              <a:gd name="T4" fmla="*/ 2147483647 w 173"/>
              <a:gd name="T5" fmla="*/ 2147483647 h 357"/>
              <a:gd name="T6" fmla="*/ 2147483647 w 173"/>
              <a:gd name="T7" fmla="*/ 2147483647 h 357"/>
              <a:gd name="T8" fmla="*/ 2147483647 w 173"/>
              <a:gd name="T9" fmla="*/ 2147483647 h 357"/>
              <a:gd name="T10" fmla="*/ 2147483647 w 173"/>
              <a:gd name="T11" fmla="*/ 2147483647 h 357"/>
              <a:gd name="T12" fmla="*/ 2147483647 w 173"/>
              <a:gd name="T13" fmla="*/ 2147483647 h 357"/>
              <a:gd name="T14" fmla="*/ 2147483647 w 173"/>
              <a:gd name="T15" fmla="*/ 0 h 357"/>
              <a:gd name="T16" fmla="*/ 2147483647 w 173"/>
              <a:gd name="T17" fmla="*/ 2147483647 h 357"/>
              <a:gd name="T18" fmla="*/ 2147483647 w 173"/>
              <a:gd name="T19" fmla="*/ 2147483647 h 357"/>
              <a:gd name="T20" fmla="*/ 2147483647 w 173"/>
              <a:gd name="T21" fmla="*/ 2147483647 h 357"/>
              <a:gd name="T22" fmla="*/ 2147483647 w 173"/>
              <a:gd name="T23" fmla="*/ 2147483647 h 357"/>
              <a:gd name="T24" fmla="*/ 2147483647 w 173"/>
              <a:gd name="T25" fmla="*/ 2147483647 h 357"/>
              <a:gd name="T26" fmla="*/ 2147483647 w 173"/>
              <a:gd name="T27" fmla="*/ 2147483647 h 357"/>
              <a:gd name="T28" fmla="*/ 2147483647 w 173"/>
              <a:gd name="T29" fmla="*/ 2147483647 h 357"/>
              <a:gd name="T30" fmla="*/ 2147483647 w 173"/>
              <a:gd name="T31" fmla="*/ 2147483647 h 357"/>
              <a:gd name="T32" fmla="*/ 2147483647 w 173"/>
              <a:gd name="T33" fmla="*/ 2147483647 h 357"/>
              <a:gd name="T34" fmla="*/ 2147483647 w 173"/>
              <a:gd name="T35" fmla="*/ 2147483647 h 357"/>
              <a:gd name="T36" fmla="*/ 2147483647 w 173"/>
              <a:gd name="T37" fmla="*/ 2147483647 h 357"/>
              <a:gd name="T38" fmla="*/ 2147483647 w 173"/>
              <a:gd name="T39" fmla="*/ 2147483647 h 357"/>
              <a:gd name="T40" fmla="*/ 2147483647 w 173"/>
              <a:gd name="T41" fmla="*/ 2147483647 h 357"/>
              <a:gd name="T42" fmla="*/ 2147483647 w 173"/>
              <a:gd name="T43" fmla="*/ 2147483647 h 357"/>
              <a:gd name="T44" fmla="*/ 2147483647 w 173"/>
              <a:gd name="T45" fmla="*/ 2147483647 h 357"/>
              <a:gd name="T46" fmla="*/ 2147483647 w 173"/>
              <a:gd name="T47" fmla="*/ 2147483647 h 357"/>
              <a:gd name="T48" fmla="*/ 2147483647 w 173"/>
              <a:gd name="T49" fmla="*/ 2147483647 h 357"/>
              <a:gd name="T50" fmla="*/ 2147483647 w 173"/>
              <a:gd name="T51" fmla="*/ 2147483647 h 357"/>
              <a:gd name="T52" fmla="*/ 2147483647 w 173"/>
              <a:gd name="T53" fmla="*/ 2147483647 h 357"/>
              <a:gd name="T54" fmla="*/ 2147483647 w 173"/>
              <a:gd name="T55" fmla="*/ 2147483647 h 357"/>
              <a:gd name="T56" fmla="*/ 2147483647 w 173"/>
              <a:gd name="T57" fmla="*/ 2147483647 h 357"/>
              <a:gd name="T58" fmla="*/ 2147483647 w 173"/>
              <a:gd name="T59" fmla="*/ 2147483647 h 357"/>
              <a:gd name="T60" fmla="*/ 2147483647 w 173"/>
              <a:gd name="T61" fmla="*/ 2147483647 h 357"/>
              <a:gd name="T62" fmla="*/ 2147483647 w 173"/>
              <a:gd name="T63" fmla="*/ 2147483647 h 357"/>
              <a:gd name="T64" fmla="*/ 2147483647 w 173"/>
              <a:gd name="T65" fmla="*/ 2147483647 h 357"/>
              <a:gd name="T66" fmla="*/ 2147483647 w 173"/>
              <a:gd name="T67" fmla="*/ 2147483647 h 357"/>
              <a:gd name="T68" fmla="*/ 2147483647 w 173"/>
              <a:gd name="T69" fmla="*/ 2147483647 h 357"/>
              <a:gd name="T70" fmla="*/ 2147483647 w 173"/>
              <a:gd name="T71" fmla="*/ 2147483647 h 357"/>
              <a:gd name="T72" fmla="*/ 2147483647 w 173"/>
              <a:gd name="T73" fmla="*/ 2147483647 h 357"/>
              <a:gd name="T74" fmla="*/ 2147483647 w 173"/>
              <a:gd name="T75" fmla="*/ 2147483647 h 357"/>
              <a:gd name="T76" fmla="*/ 2147483647 w 173"/>
              <a:gd name="T77" fmla="*/ 2147483647 h 357"/>
              <a:gd name="T78" fmla="*/ 2147483647 w 173"/>
              <a:gd name="T79" fmla="*/ 2147483647 h 357"/>
              <a:gd name="T80" fmla="*/ 2147483647 w 173"/>
              <a:gd name="T81" fmla="*/ 2147483647 h 357"/>
              <a:gd name="T82" fmla="*/ 2147483647 w 173"/>
              <a:gd name="T83" fmla="*/ 2147483647 h 357"/>
              <a:gd name="T84" fmla="*/ 2147483647 w 173"/>
              <a:gd name="T85" fmla="*/ 2147483647 h 357"/>
              <a:gd name="T86" fmla="*/ 2147483647 w 173"/>
              <a:gd name="T87" fmla="*/ 2147483647 h 357"/>
              <a:gd name="T88" fmla="*/ 2147483647 w 173"/>
              <a:gd name="T89" fmla="*/ 2147483647 h 357"/>
              <a:gd name="T90" fmla="*/ 2147483647 w 173"/>
              <a:gd name="T91" fmla="*/ 2147483647 h 357"/>
              <a:gd name="T92" fmla="*/ 2147483647 w 173"/>
              <a:gd name="T93" fmla="*/ 2147483647 h 357"/>
              <a:gd name="T94" fmla="*/ 2147483647 w 173"/>
              <a:gd name="T95" fmla="*/ 2147483647 h 357"/>
              <a:gd name="T96" fmla="*/ 2147483647 w 173"/>
              <a:gd name="T97" fmla="*/ 2147483647 h 357"/>
              <a:gd name="T98" fmla="*/ 2147483647 w 173"/>
              <a:gd name="T99" fmla="*/ 2147483647 h 357"/>
              <a:gd name="T100" fmla="*/ 2147483647 w 173"/>
              <a:gd name="T101" fmla="*/ 2147483647 h 357"/>
              <a:gd name="T102" fmla="*/ 2147483647 w 173"/>
              <a:gd name="T103" fmla="*/ 2147483647 h 357"/>
              <a:gd name="T104" fmla="*/ 2147483647 w 173"/>
              <a:gd name="T105" fmla="*/ 2147483647 h 357"/>
              <a:gd name="T106" fmla="*/ 2147483647 w 173"/>
              <a:gd name="T107" fmla="*/ 2147483647 h 357"/>
              <a:gd name="T108" fmla="*/ 2147483647 w 173"/>
              <a:gd name="T109" fmla="*/ 2147483647 h 357"/>
              <a:gd name="T110" fmla="*/ 2147483647 w 173"/>
              <a:gd name="T111" fmla="*/ 2147483647 h 357"/>
              <a:gd name="T112" fmla="*/ 2147483647 w 173"/>
              <a:gd name="T113" fmla="*/ 2147483647 h 357"/>
              <a:gd name="T114" fmla="*/ 2147483647 w 173"/>
              <a:gd name="T115" fmla="*/ 2147483647 h 357"/>
              <a:gd name="T116" fmla="*/ 2147483647 w 173"/>
              <a:gd name="T117" fmla="*/ 2147483647 h 357"/>
              <a:gd name="T118" fmla="*/ 0 w 173"/>
              <a:gd name="T119" fmla="*/ 2147483647 h 357"/>
              <a:gd name="T120" fmla="*/ 0 w 173"/>
              <a:gd name="T121" fmla="*/ 2147483647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6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767263" y="4795639"/>
            <a:ext cx="25400" cy="60325"/>
          </a:xfrm>
          <a:custGeom>
            <a:avLst/>
            <a:gdLst>
              <a:gd name="T0" fmla="*/ 2147483647 w 50"/>
              <a:gd name="T1" fmla="*/ 0 h 74"/>
              <a:gd name="T2" fmla="*/ 2147483647 w 50"/>
              <a:gd name="T3" fmla="*/ 2147483647 h 74"/>
              <a:gd name="T4" fmla="*/ 2147483647 w 50"/>
              <a:gd name="T5" fmla="*/ 2147483647 h 74"/>
              <a:gd name="T6" fmla="*/ 0 w 50"/>
              <a:gd name="T7" fmla="*/ 2147483647 h 74"/>
              <a:gd name="T8" fmla="*/ 0 w 50"/>
              <a:gd name="T9" fmla="*/ 2147483647 h 74"/>
              <a:gd name="T10" fmla="*/ 0 w 50"/>
              <a:gd name="T11" fmla="*/ 2147483647 h 74"/>
              <a:gd name="T12" fmla="*/ 2147483647 w 50"/>
              <a:gd name="T13" fmla="*/ 2147483647 h 74"/>
              <a:gd name="T14" fmla="*/ 2147483647 w 50"/>
              <a:gd name="T15" fmla="*/ 2147483647 h 74"/>
              <a:gd name="T16" fmla="*/ 2147483647 w 50"/>
              <a:gd name="T17" fmla="*/ 2147483647 h 74"/>
              <a:gd name="T18" fmla="*/ 2147483647 w 50"/>
              <a:gd name="T19" fmla="*/ 2147483647 h 74"/>
              <a:gd name="T20" fmla="*/ 2147483647 w 50"/>
              <a:gd name="T21" fmla="*/ 2147483647 h 74"/>
              <a:gd name="T22" fmla="*/ 2147483647 w 50"/>
              <a:gd name="T23" fmla="*/ 2147483647 h 74"/>
              <a:gd name="T24" fmla="*/ 2147483647 w 50"/>
              <a:gd name="T25" fmla="*/ 2147483647 h 74"/>
              <a:gd name="T26" fmla="*/ 2147483647 w 50"/>
              <a:gd name="T27" fmla="*/ 0 h 74"/>
              <a:gd name="T28" fmla="*/ 2147483647 w 50"/>
              <a:gd name="T29" fmla="*/ 0 h 74"/>
              <a:gd name="T30" fmla="*/ 2147483647 w 50"/>
              <a:gd name="T31" fmla="*/ 0 h 74"/>
              <a:gd name="T32" fmla="*/ 2147483647 w 50"/>
              <a:gd name="T33" fmla="*/ 0 h 74"/>
              <a:gd name="T34" fmla="*/ 2147483647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7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662488" y="4892477"/>
            <a:ext cx="61912" cy="57150"/>
          </a:xfrm>
          <a:custGeom>
            <a:avLst/>
            <a:gdLst>
              <a:gd name="T0" fmla="*/ 2147483647 w 135"/>
              <a:gd name="T1" fmla="*/ 2147483647 h 98"/>
              <a:gd name="T2" fmla="*/ 2147483647 w 135"/>
              <a:gd name="T3" fmla="*/ 2147483647 h 98"/>
              <a:gd name="T4" fmla="*/ 2147483647 w 135"/>
              <a:gd name="T5" fmla="*/ 2147483647 h 98"/>
              <a:gd name="T6" fmla="*/ 2147483647 w 135"/>
              <a:gd name="T7" fmla="*/ 2147483647 h 98"/>
              <a:gd name="T8" fmla="*/ 2147483647 w 135"/>
              <a:gd name="T9" fmla="*/ 2147483647 h 98"/>
              <a:gd name="T10" fmla="*/ 2147483647 w 135"/>
              <a:gd name="T11" fmla="*/ 2147483647 h 98"/>
              <a:gd name="T12" fmla="*/ 2147483647 w 135"/>
              <a:gd name="T13" fmla="*/ 2147483647 h 98"/>
              <a:gd name="T14" fmla="*/ 2147483647 w 135"/>
              <a:gd name="T15" fmla="*/ 2147483647 h 98"/>
              <a:gd name="T16" fmla="*/ 2147483647 w 135"/>
              <a:gd name="T17" fmla="*/ 2147483647 h 98"/>
              <a:gd name="T18" fmla="*/ 2147483647 w 135"/>
              <a:gd name="T19" fmla="*/ 2147483647 h 98"/>
              <a:gd name="T20" fmla="*/ 2147483647 w 135"/>
              <a:gd name="T21" fmla="*/ 2147483647 h 98"/>
              <a:gd name="T22" fmla="*/ 2147483647 w 135"/>
              <a:gd name="T23" fmla="*/ 0 h 98"/>
              <a:gd name="T24" fmla="*/ 2147483647 w 135"/>
              <a:gd name="T25" fmla="*/ 0 h 98"/>
              <a:gd name="T26" fmla="*/ 2147483647 w 135"/>
              <a:gd name="T27" fmla="*/ 0 h 98"/>
              <a:gd name="T28" fmla="*/ 2147483647 w 135"/>
              <a:gd name="T29" fmla="*/ 2147483647 h 98"/>
              <a:gd name="T30" fmla="*/ 2147483647 w 135"/>
              <a:gd name="T31" fmla="*/ 2147483647 h 98"/>
              <a:gd name="T32" fmla="*/ 2147483647 w 135"/>
              <a:gd name="T33" fmla="*/ 2147483647 h 98"/>
              <a:gd name="T34" fmla="*/ 2147483647 w 135"/>
              <a:gd name="T35" fmla="*/ 2147483647 h 98"/>
              <a:gd name="T36" fmla="*/ 2147483647 w 135"/>
              <a:gd name="T37" fmla="*/ 2147483647 h 98"/>
              <a:gd name="T38" fmla="*/ 2147483647 w 135"/>
              <a:gd name="T39" fmla="*/ 2147483647 h 98"/>
              <a:gd name="T40" fmla="*/ 2147483647 w 135"/>
              <a:gd name="T41" fmla="*/ 2147483647 h 98"/>
              <a:gd name="T42" fmla="*/ 2147483647 w 135"/>
              <a:gd name="T43" fmla="*/ 2147483647 h 98"/>
              <a:gd name="T44" fmla="*/ 2147483647 w 135"/>
              <a:gd name="T45" fmla="*/ 2147483647 h 98"/>
              <a:gd name="T46" fmla="*/ 2147483647 w 135"/>
              <a:gd name="T47" fmla="*/ 2147483647 h 98"/>
              <a:gd name="T48" fmla="*/ 2147483647 w 135"/>
              <a:gd name="T49" fmla="*/ 2147483647 h 98"/>
              <a:gd name="T50" fmla="*/ 2147483647 w 135"/>
              <a:gd name="T51" fmla="*/ 2147483647 h 98"/>
              <a:gd name="T52" fmla="*/ 2147483647 w 135"/>
              <a:gd name="T53" fmla="*/ 2147483647 h 98"/>
              <a:gd name="T54" fmla="*/ 2147483647 w 135"/>
              <a:gd name="T55" fmla="*/ 2147483647 h 98"/>
              <a:gd name="T56" fmla="*/ 2147483647 w 135"/>
              <a:gd name="T57" fmla="*/ 2147483647 h 98"/>
              <a:gd name="T58" fmla="*/ 2147483647 w 135"/>
              <a:gd name="T59" fmla="*/ 2147483647 h 98"/>
              <a:gd name="T60" fmla="*/ 2147483647 w 135"/>
              <a:gd name="T61" fmla="*/ 2147483647 h 98"/>
              <a:gd name="T62" fmla="*/ 2147483647 w 135"/>
              <a:gd name="T63" fmla="*/ 2147483647 h 98"/>
              <a:gd name="T64" fmla="*/ 2147483647 w 135"/>
              <a:gd name="T65" fmla="*/ 2147483647 h 98"/>
              <a:gd name="T66" fmla="*/ 2147483647 w 135"/>
              <a:gd name="T67" fmla="*/ 2147483647 h 98"/>
              <a:gd name="T68" fmla="*/ 2147483647 w 135"/>
              <a:gd name="T69" fmla="*/ 2147483647 h 98"/>
              <a:gd name="T70" fmla="*/ 2147483647 w 135"/>
              <a:gd name="T71" fmla="*/ 2147483647 h 98"/>
              <a:gd name="T72" fmla="*/ 2147483647 w 135"/>
              <a:gd name="T73" fmla="*/ 2147483647 h 98"/>
              <a:gd name="T74" fmla="*/ 2147483647 w 135"/>
              <a:gd name="T75" fmla="*/ 2147483647 h 98"/>
              <a:gd name="T76" fmla="*/ 0 w 135"/>
              <a:gd name="T77" fmla="*/ 2147483647 h 98"/>
              <a:gd name="T78" fmla="*/ 0 w 135"/>
              <a:gd name="T79" fmla="*/ 2147483647 h 98"/>
              <a:gd name="T80" fmla="*/ 2147483647 w 135"/>
              <a:gd name="T81" fmla="*/ 2147483647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8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880225" y="2606477"/>
            <a:ext cx="120650" cy="171450"/>
          </a:xfrm>
          <a:custGeom>
            <a:avLst/>
            <a:gdLst>
              <a:gd name="T0" fmla="*/ 2147483647 w 266"/>
              <a:gd name="T1" fmla="*/ 2147483647 h 326"/>
              <a:gd name="T2" fmla="*/ 2147483647 w 266"/>
              <a:gd name="T3" fmla="*/ 2147483647 h 326"/>
              <a:gd name="T4" fmla="*/ 2147483647 w 266"/>
              <a:gd name="T5" fmla="*/ 2147483647 h 326"/>
              <a:gd name="T6" fmla="*/ 2147483647 w 266"/>
              <a:gd name="T7" fmla="*/ 2147483647 h 326"/>
              <a:gd name="T8" fmla="*/ 2147483647 w 266"/>
              <a:gd name="T9" fmla="*/ 2147483647 h 326"/>
              <a:gd name="T10" fmla="*/ 2147483647 w 266"/>
              <a:gd name="T11" fmla="*/ 2147483647 h 326"/>
              <a:gd name="T12" fmla="*/ 2147483647 w 266"/>
              <a:gd name="T13" fmla="*/ 2147483647 h 326"/>
              <a:gd name="T14" fmla="*/ 2147483647 w 266"/>
              <a:gd name="T15" fmla="*/ 2147483647 h 326"/>
              <a:gd name="T16" fmla="*/ 2147483647 w 266"/>
              <a:gd name="T17" fmla="*/ 2147483647 h 326"/>
              <a:gd name="T18" fmla="*/ 2147483647 w 266"/>
              <a:gd name="T19" fmla="*/ 2147483647 h 326"/>
              <a:gd name="T20" fmla="*/ 2147483647 w 266"/>
              <a:gd name="T21" fmla="*/ 2147483647 h 326"/>
              <a:gd name="T22" fmla="*/ 2147483647 w 266"/>
              <a:gd name="T23" fmla="*/ 2147483647 h 326"/>
              <a:gd name="T24" fmla="*/ 2147483647 w 266"/>
              <a:gd name="T25" fmla="*/ 2147483647 h 326"/>
              <a:gd name="T26" fmla="*/ 2147483647 w 266"/>
              <a:gd name="T27" fmla="*/ 2147483647 h 326"/>
              <a:gd name="T28" fmla="*/ 2147483647 w 266"/>
              <a:gd name="T29" fmla="*/ 2147483647 h 326"/>
              <a:gd name="T30" fmla="*/ 2147483647 w 266"/>
              <a:gd name="T31" fmla="*/ 2147483647 h 326"/>
              <a:gd name="T32" fmla="*/ 2147483647 w 266"/>
              <a:gd name="T33" fmla="*/ 2147483647 h 326"/>
              <a:gd name="T34" fmla="*/ 2147483647 w 266"/>
              <a:gd name="T35" fmla="*/ 2147483647 h 326"/>
              <a:gd name="T36" fmla="*/ 2147483647 w 266"/>
              <a:gd name="T37" fmla="*/ 2147483647 h 326"/>
              <a:gd name="T38" fmla="*/ 2147483647 w 266"/>
              <a:gd name="T39" fmla="*/ 2147483647 h 326"/>
              <a:gd name="T40" fmla="*/ 2147483647 w 266"/>
              <a:gd name="T41" fmla="*/ 2147483647 h 326"/>
              <a:gd name="T42" fmla="*/ 2147483647 w 266"/>
              <a:gd name="T43" fmla="*/ 2147483647 h 326"/>
              <a:gd name="T44" fmla="*/ 2147483647 w 266"/>
              <a:gd name="T45" fmla="*/ 2147483647 h 326"/>
              <a:gd name="T46" fmla="*/ 2147483647 w 266"/>
              <a:gd name="T47" fmla="*/ 2147483647 h 326"/>
              <a:gd name="T48" fmla="*/ 2147483647 w 266"/>
              <a:gd name="T49" fmla="*/ 2147483647 h 326"/>
              <a:gd name="T50" fmla="*/ 2147483647 w 266"/>
              <a:gd name="T51" fmla="*/ 2147483647 h 326"/>
              <a:gd name="T52" fmla="*/ 2147483647 w 266"/>
              <a:gd name="T53" fmla="*/ 2147483647 h 326"/>
              <a:gd name="T54" fmla="*/ 2147483647 w 266"/>
              <a:gd name="T55" fmla="*/ 2147483647 h 326"/>
              <a:gd name="T56" fmla="*/ 2147483647 w 266"/>
              <a:gd name="T57" fmla="*/ 2147483647 h 326"/>
              <a:gd name="T58" fmla="*/ 2147483647 w 266"/>
              <a:gd name="T59" fmla="*/ 2147483647 h 326"/>
              <a:gd name="T60" fmla="*/ 2147483647 w 266"/>
              <a:gd name="T61" fmla="*/ 2147483647 h 326"/>
              <a:gd name="T62" fmla="*/ 2147483647 w 266"/>
              <a:gd name="T63" fmla="*/ 2147483647 h 326"/>
              <a:gd name="T64" fmla="*/ 2147483647 w 266"/>
              <a:gd name="T65" fmla="*/ 2147483647 h 326"/>
              <a:gd name="T66" fmla="*/ 2147483647 w 266"/>
              <a:gd name="T67" fmla="*/ 2147483647 h 326"/>
              <a:gd name="T68" fmla="*/ 2147483647 w 266"/>
              <a:gd name="T69" fmla="*/ 2147483647 h 326"/>
              <a:gd name="T70" fmla="*/ 2147483647 w 266"/>
              <a:gd name="T71" fmla="*/ 2147483647 h 326"/>
              <a:gd name="T72" fmla="*/ 2147483647 w 266"/>
              <a:gd name="T73" fmla="*/ 2147483647 h 326"/>
              <a:gd name="T74" fmla="*/ 2147483647 w 266"/>
              <a:gd name="T75" fmla="*/ 2147483647 h 326"/>
              <a:gd name="T76" fmla="*/ 2147483647 w 266"/>
              <a:gd name="T77" fmla="*/ 2147483647 h 326"/>
              <a:gd name="T78" fmla="*/ 2147483647 w 266"/>
              <a:gd name="T79" fmla="*/ 2147483647 h 326"/>
              <a:gd name="T80" fmla="*/ 2147483647 w 266"/>
              <a:gd name="T81" fmla="*/ 2147483647 h 326"/>
              <a:gd name="T82" fmla="*/ 2147483647 w 266"/>
              <a:gd name="T83" fmla="*/ 2147483647 h 326"/>
              <a:gd name="T84" fmla="*/ 2147483647 w 266"/>
              <a:gd name="T85" fmla="*/ 2147483647 h 326"/>
              <a:gd name="T86" fmla="*/ 2147483647 w 266"/>
              <a:gd name="T87" fmla="*/ 2147483647 h 326"/>
              <a:gd name="T88" fmla="*/ 2147483647 w 266"/>
              <a:gd name="T89" fmla="*/ 2147483647 h 326"/>
              <a:gd name="T90" fmla="*/ 2147483647 w 266"/>
              <a:gd name="T91" fmla="*/ 2147483647 h 326"/>
              <a:gd name="T92" fmla="*/ 2147483647 w 266"/>
              <a:gd name="T93" fmla="*/ 2147483647 h 326"/>
              <a:gd name="T94" fmla="*/ 2147483647 w 266"/>
              <a:gd name="T95" fmla="*/ 2147483647 h 326"/>
              <a:gd name="T96" fmla="*/ 2147483647 w 266"/>
              <a:gd name="T97" fmla="*/ 2147483647 h 326"/>
              <a:gd name="T98" fmla="*/ 2147483647 w 266"/>
              <a:gd name="T99" fmla="*/ 2147483647 h 326"/>
              <a:gd name="T100" fmla="*/ 2147483647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9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951538" y="3020814"/>
            <a:ext cx="206375" cy="123825"/>
          </a:xfrm>
          <a:custGeom>
            <a:avLst/>
            <a:gdLst>
              <a:gd name="T0" fmla="*/ 2147483647 w 471"/>
              <a:gd name="T1" fmla="*/ 0 h 237"/>
              <a:gd name="T2" fmla="*/ 2147483647 w 471"/>
              <a:gd name="T3" fmla="*/ 2147483647 h 237"/>
              <a:gd name="T4" fmla="*/ 2147483647 w 471"/>
              <a:gd name="T5" fmla="*/ 2147483647 h 237"/>
              <a:gd name="T6" fmla="*/ 2147483647 w 471"/>
              <a:gd name="T7" fmla="*/ 2147483647 h 237"/>
              <a:gd name="T8" fmla="*/ 2147483647 w 471"/>
              <a:gd name="T9" fmla="*/ 2147483647 h 237"/>
              <a:gd name="T10" fmla="*/ 2147483647 w 471"/>
              <a:gd name="T11" fmla="*/ 2147483647 h 237"/>
              <a:gd name="T12" fmla="*/ 2147483647 w 471"/>
              <a:gd name="T13" fmla="*/ 2147483647 h 237"/>
              <a:gd name="T14" fmla="*/ 2147483647 w 471"/>
              <a:gd name="T15" fmla="*/ 2147483647 h 237"/>
              <a:gd name="T16" fmla="*/ 2147483647 w 471"/>
              <a:gd name="T17" fmla="*/ 2147483647 h 237"/>
              <a:gd name="T18" fmla="*/ 2147483647 w 471"/>
              <a:gd name="T19" fmla="*/ 2147483647 h 237"/>
              <a:gd name="T20" fmla="*/ 2147483647 w 471"/>
              <a:gd name="T21" fmla="*/ 2147483647 h 237"/>
              <a:gd name="T22" fmla="*/ 2147483647 w 471"/>
              <a:gd name="T23" fmla="*/ 2147483647 h 237"/>
              <a:gd name="T24" fmla="*/ 2147483647 w 471"/>
              <a:gd name="T25" fmla="*/ 2147483647 h 237"/>
              <a:gd name="T26" fmla="*/ 2147483647 w 471"/>
              <a:gd name="T27" fmla="*/ 2147483647 h 237"/>
              <a:gd name="T28" fmla="*/ 2147483647 w 471"/>
              <a:gd name="T29" fmla="*/ 2147483647 h 237"/>
              <a:gd name="T30" fmla="*/ 2147483647 w 471"/>
              <a:gd name="T31" fmla="*/ 2147483647 h 237"/>
              <a:gd name="T32" fmla="*/ 2147483647 w 471"/>
              <a:gd name="T33" fmla="*/ 2147483647 h 237"/>
              <a:gd name="T34" fmla="*/ 2147483647 w 471"/>
              <a:gd name="T35" fmla="*/ 2147483647 h 237"/>
              <a:gd name="T36" fmla="*/ 2147483647 w 471"/>
              <a:gd name="T37" fmla="*/ 2147483647 h 237"/>
              <a:gd name="T38" fmla="*/ 2147483647 w 471"/>
              <a:gd name="T39" fmla="*/ 2147483647 h 237"/>
              <a:gd name="T40" fmla="*/ 2147483647 w 471"/>
              <a:gd name="T41" fmla="*/ 2147483647 h 237"/>
              <a:gd name="T42" fmla="*/ 2147483647 w 471"/>
              <a:gd name="T43" fmla="*/ 2147483647 h 237"/>
              <a:gd name="T44" fmla="*/ 2147483647 w 471"/>
              <a:gd name="T45" fmla="*/ 2147483647 h 237"/>
              <a:gd name="T46" fmla="*/ 2147483647 w 471"/>
              <a:gd name="T47" fmla="*/ 2147483647 h 237"/>
              <a:gd name="T48" fmla="*/ 2147483647 w 471"/>
              <a:gd name="T49" fmla="*/ 2147483647 h 237"/>
              <a:gd name="T50" fmla="*/ 2147483647 w 471"/>
              <a:gd name="T51" fmla="*/ 2147483647 h 237"/>
              <a:gd name="T52" fmla="*/ 2147483647 w 471"/>
              <a:gd name="T53" fmla="*/ 2147483647 h 237"/>
              <a:gd name="T54" fmla="*/ 2147483647 w 471"/>
              <a:gd name="T55" fmla="*/ 2147483647 h 237"/>
              <a:gd name="T56" fmla="*/ 2147483647 w 471"/>
              <a:gd name="T57" fmla="*/ 2147483647 h 237"/>
              <a:gd name="T58" fmla="*/ 2147483647 w 471"/>
              <a:gd name="T59" fmla="*/ 2147483647 h 237"/>
              <a:gd name="T60" fmla="*/ 2147483647 w 471"/>
              <a:gd name="T61" fmla="*/ 2147483647 h 237"/>
              <a:gd name="T62" fmla="*/ 2147483647 w 471"/>
              <a:gd name="T63" fmla="*/ 2147483647 h 237"/>
              <a:gd name="T64" fmla="*/ 2147483647 w 471"/>
              <a:gd name="T65" fmla="*/ 2147483647 h 237"/>
              <a:gd name="T66" fmla="*/ 2147483647 w 471"/>
              <a:gd name="T67" fmla="*/ 2147483647 h 237"/>
              <a:gd name="T68" fmla="*/ 2147483647 w 471"/>
              <a:gd name="T69" fmla="*/ 2147483647 h 237"/>
              <a:gd name="T70" fmla="*/ 2147483647 w 471"/>
              <a:gd name="T71" fmla="*/ 2147483647 h 237"/>
              <a:gd name="T72" fmla="*/ 2147483647 w 471"/>
              <a:gd name="T73" fmla="*/ 2147483647 h 237"/>
              <a:gd name="T74" fmla="*/ 214748364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50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167438" y="3076377"/>
            <a:ext cx="73025" cy="65087"/>
          </a:xfrm>
          <a:custGeom>
            <a:avLst/>
            <a:gdLst>
              <a:gd name="T0" fmla="*/ 2147483647 w 167"/>
              <a:gd name="T1" fmla="*/ 2147483647 h 123"/>
              <a:gd name="T2" fmla="*/ 2147483647 w 167"/>
              <a:gd name="T3" fmla="*/ 2147483647 h 123"/>
              <a:gd name="T4" fmla="*/ 2147483647 w 167"/>
              <a:gd name="T5" fmla="*/ 2147483647 h 123"/>
              <a:gd name="T6" fmla="*/ 2147483647 w 167"/>
              <a:gd name="T7" fmla="*/ 2147483647 h 123"/>
              <a:gd name="T8" fmla="*/ 2147483647 w 167"/>
              <a:gd name="T9" fmla="*/ 2147483647 h 123"/>
              <a:gd name="T10" fmla="*/ 2147483647 w 167"/>
              <a:gd name="T11" fmla="*/ 2147483647 h 123"/>
              <a:gd name="T12" fmla="*/ 2147483647 w 167"/>
              <a:gd name="T13" fmla="*/ 2147483647 h 123"/>
              <a:gd name="T14" fmla="*/ 2147483647 w 167"/>
              <a:gd name="T15" fmla="*/ 2147483647 h 123"/>
              <a:gd name="T16" fmla="*/ 2147483647 w 167"/>
              <a:gd name="T17" fmla="*/ 2147483647 h 123"/>
              <a:gd name="T18" fmla="*/ 2147483647 w 167"/>
              <a:gd name="T19" fmla="*/ 2147483647 h 123"/>
              <a:gd name="T20" fmla="*/ 2147483647 w 167"/>
              <a:gd name="T21" fmla="*/ 2147483647 h 123"/>
              <a:gd name="T22" fmla="*/ 2147483647 w 167"/>
              <a:gd name="T23" fmla="*/ 2147483647 h 123"/>
              <a:gd name="T24" fmla="*/ 2147483647 w 167"/>
              <a:gd name="T25" fmla="*/ 2147483647 h 123"/>
              <a:gd name="T26" fmla="*/ 2147483647 w 167"/>
              <a:gd name="T27" fmla="*/ 2147483647 h 123"/>
              <a:gd name="T28" fmla="*/ 2147483647 w 167"/>
              <a:gd name="T29" fmla="*/ 2147483647 h 123"/>
              <a:gd name="T30" fmla="*/ 2147483647 w 167"/>
              <a:gd name="T31" fmla="*/ 2147483647 h 123"/>
              <a:gd name="T32" fmla="*/ 2147483647 w 167"/>
              <a:gd name="T33" fmla="*/ 2147483647 h 123"/>
              <a:gd name="T34" fmla="*/ 2147483647 w 167"/>
              <a:gd name="T35" fmla="*/ 2147483647 h 123"/>
              <a:gd name="T36" fmla="*/ 2147483647 w 167"/>
              <a:gd name="T37" fmla="*/ 2147483647 h 123"/>
              <a:gd name="T38" fmla="*/ 2147483647 w 167"/>
              <a:gd name="T39" fmla="*/ 2147483647 h 123"/>
              <a:gd name="T40" fmla="*/ 2147483647 w 167"/>
              <a:gd name="T41" fmla="*/ 2147483647 h 123"/>
              <a:gd name="T42" fmla="*/ 2147483647 w 167"/>
              <a:gd name="T43" fmla="*/ 2147483647 h 123"/>
              <a:gd name="T44" fmla="*/ 2147483647 w 167"/>
              <a:gd name="T45" fmla="*/ 2147483647 h 123"/>
              <a:gd name="T46" fmla="*/ 2147483647 w 167"/>
              <a:gd name="T47" fmla="*/ 2147483647 h 123"/>
              <a:gd name="T48" fmla="*/ 0 w 167"/>
              <a:gd name="T49" fmla="*/ 2147483647 h 123"/>
              <a:gd name="T50" fmla="*/ 2147483647 w 167"/>
              <a:gd name="T51" fmla="*/ 2147483647 h 123"/>
              <a:gd name="T52" fmla="*/ 2147483647 w 167"/>
              <a:gd name="T53" fmla="*/ 2147483647 h 123"/>
              <a:gd name="T54" fmla="*/ 2147483647 w 167"/>
              <a:gd name="T55" fmla="*/ 2147483647 h 123"/>
              <a:gd name="T56" fmla="*/ 2147483647 w 167"/>
              <a:gd name="T57" fmla="*/ 2147483647 h 123"/>
              <a:gd name="T58" fmla="*/ 2147483647 w 167"/>
              <a:gd name="T59" fmla="*/ 2147483647 h 123"/>
              <a:gd name="T60" fmla="*/ 2147483647 w 167"/>
              <a:gd name="T61" fmla="*/ 2147483647 h 123"/>
              <a:gd name="T62" fmla="*/ 2147483647 w 167"/>
              <a:gd name="T63" fmla="*/ 2147483647 h 123"/>
              <a:gd name="T64" fmla="*/ 2147483647 w 167"/>
              <a:gd name="T65" fmla="*/ 2147483647 h 123"/>
              <a:gd name="T66" fmla="*/ 2147483647 w 167"/>
              <a:gd name="T67" fmla="*/ 2147483647 h 123"/>
              <a:gd name="T68" fmla="*/ 2147483647 w 167"/>
              <a:gd name="T69" fmla="*/ 2147483647 h 123"/>
              <a:gd name="T70" fmla="*/ 2147483647 w 167"/>
              <a:gd name="T71" fmla="*/ 2147483647 h 123"/>
              <a:gd name="T72" fmla="*/ 2147483647 w 167"/>
              <a:gd name="T73" fmla="*/ 0 h 123"/>
              <a:gd name="T74" fmla="*/ 2147483647 w 167"/>
              <a:gd name="T75" fmla="*/ 2147483647 h 123"/>
              <a:gd name="T76" fmla="*/ 2147483647 w 167"/>
              <a:gd name="T77" fmla="*/ 2147483647 h 123"/>
              <a:gd name="T78" fmla="*/ 2147483647 w 167"/>
              <a:gd name="T79" fmla="*/ 2147483647 h 123"/>
              <a:gd name="T80" fmla="*/ 2147483647 w 167"/>
              <a:gd name="T81" fmla="*/ 2147483647 h 123"/>
              <a:gd name="T82" fmla="*/ 2147483647 w 167"/>
              <a:gd name="T83" fmla="*/ 2147483647 h 123"/>
              <a:gd name="T84" fmla="*/ 2147483647 w 167"/>
              <a:gd name="T85" fmla="*/ 2147483647 h 123"/>
              <a:gd name="T86" fmla="*/ 2147483647 w 167"/>
              <a:gd name="T87" fmla="*/ 2147483647 h 123"/>
              <a:gd name="T88" fmla="*/ 2147483647 w 167"/>
              <a:gd name="T89" fmla="*/ 2147483647 h 123"/>
              <a:gd name="T90" fmla="*/ 2147483647 w 167"/>
              <a:gd name="T91" fmla="*/ 2147483647 h 123"/>
              <a:gd name="T92" fmla="*/ 2147483647 w 167"/>
              <a:gd name="T93" fmla="*/ 2147483647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51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157913" y="3147814"/>
            <a:ext cx="133350" cy="166688"/>
          </a:xfrm>
          <a:custGeom>
            <a:avLst/>
            <a:gdLst>
              <a:gd name="T0" fmla="*/ 2147483647 w 306"/>
              <a:gd name="T1" fmla="*/ 2147483647 h 321"/>
              <a:gd name="T2" fmla="*/ 2147483647 w 306"/>
              <a:gd name="T3" fmla="*/ 2147483647 h 321"/>
              <a:gd name="T4" fmla="*/ 2147483647 w 306"/>
              <a:gd name="T5" fmla="*/ 2147483647 h 321"/>
              <a:gd name="T6" fmla="*/ 2147483647 w 306"/>
              <a:gd name="T7" fmla="*/ 2147483647 h 321"/>
              <a:gd name="T8" fmla="*/ 2147483647 w 306"/>
              <a:gd name="T9" fmla="*/ 2147483647 h 321"/>
              <a:gd name="T10" fmla="*/ 2147483647 w 306"/>
              <a:gd name="T11" fmla="*/ 2147483647 h 321"/>
              <a:gd name="T12" fmla="*/ 2147483647 w 306"/>
              <a:gd name="T13" fmla="*/ 2147483647 h 321"/>
              <a:gd name="T14" fmla="*/ 2147483647 w 306"/>
              <a:gd name="T15" fmla="*/ 2147483647 h 321"/>
              <a:gd name="T16" fmla="*/ 2147483647 w 306"/>
              <a:gd name="T17" fmla="*/ 2147483647 h 321"/>
              <a:gd name="T18" fmla="*/ 2147483647 w 306"/>
              <a:gd name="T19" fmla="*/ 2147483647 h 321"/>
              <a:gd name="T20" fmla="*/ 2147483647 w 306"/>
              <a:gd name="T21" fmla="*/ 2147483647 h 321"/>
              <a:gd name="T22" fmla="*/ 2147483647 w 306"/>
              <a:gd name="T23" fmla="*/ 2147483647 h 321"/>
              <a:gd name="T24" fmla="*/ 2147483647 w 306"/>
              <a:gd name="T25" fmla="*/ 2147483647 h 321"/>
              <a:gd name="T26" fmla="*/ 2147483647 w 306"/>
              <a:gd name="T27" fmla="*/ 2147483647 h 321"/>
              <a:gd name="T28" fmla="*/ 2147483647 w 306"/>
              <a:gd name="T29" fmla="*/ 2147483647 h 321"/>
              <a:gd name="T30" fmla="*/ 2147483647 w 306"/>
              <a:gd name="T31" fmla="*/ 2147483647 h 321"/>
              <a:gd name="T32" fmla="*/ 2147483647 w 306"/>
              <a:gd name="T33" fmla="*/ 2147483647 h 321"/>
              <a:gd name="T34" fmla="*/ 2147483647 w 306"/>
              <a:gd name="T35" fmla="*/ 2147483647 h 321"/>
              <a:gd name="T36" fmla="*/ 2147483647 w 306"/>
              <a:gd name="T37" fmla="*/ 2147483647 h 321"/>
              <a:gd name="T38" fmla="*/ 2147483647 w 306"/>
              <a:gd name="T39" fmla="*/ 2147483647 h 321"/>
              <a:gd name="T40" fmla="*/ 2147483647 w 306"/>
              <a:gd name="T41" fmla="*/ 2147483647 h 321"/>
              <a:gd name="T42" fmla="*/ 2147483647 w 306"/>
              <a:gd name="T43" fmla="*/ 2147483647 h 321"/>
              <a:gd name="T44" fmla="*/ 2147483647 w 306"/>
              <a:gd name="T45" fmla="*/ 0 h 321"/>
              <a:gd name="T46" fmla="*/ 2147483647 w 306"/>
              <a:gd name="T47" fmla="*/ 0 h 321"/>
              <a:gd name="T48" fmla="*/ 2147483647 w 306"/>
              <a:gd name="T49" fmla="*/ 2147483647 h 321"/>
              <a:gd name="T50" fmla="*/ 2147483647 w 306"/>
              <a:gd name="T51" fmla="*/ 2147483647 h 321"/>
              <a:gd name="T52" fmla="*/ 2147483647 w 306"/>
              <a:gd name="T53" fmla="*/ 2147483647 h 321"/>
              <a:gd name="T54" fmla="*/ 2147483647 w 306"/>
              <a:gd name="T55" fmla="*/ 2147483647 h 321"/>
              <a:gd name="T56" fmla="*/ 2147483647 w 306"/>
              <a:gd name="T57" fmla="*/ 2147483647 h 321"/>
              <a:gd name="T58" fmla="*/ 2147483647 w 306"/>
              <a:gd name="T59" fmla="*/ 2147483647 h 321"/>
              <a:gd name="T60" fmla="*/ 2147483647 w 306"/>
              <a:gd name="T61" fmla="*/ 2147483647 h 321"/>
              <a:gd name="T62" fmla="*/ 2147483647 w 306"/>
              <a:gd name="T63" fmla="*/ 2147483647 h 321"/>
              <a:gd name="T64" fmla="*/ 2147483647 w 306"/>
              <a:gd name="T65" fmla="*/ 2147483647 h 321"/>
              <a:gd name="T66" fmla="*/ 2147483647 w 306"/>
              <a:gd name="T67" fmla="*/ 2147483647 h 321"/>
              <a:gd name="T68" fmla="*/ 2147483647 w 306"/>
              <a:gd name="T69" fmla="*/ 2147483647 h 321"/>
              <a:gd name="T70" fmla="*/ 2147483647 w 306"/>
              <a:gd name="T71" fmla="*/ 2147483647 h 321"/>
              <a:gd name="T72" fmla="*/ 2147483647 w 306"/>
              <a:gd name="T73" fmla="*/ 2147483647 h 321"/>
              <a:gd name="T74" fmla="*/ 2147483647 w 306"/>
              <a:gd name="T75" fmla="*/ 2147483647 h 321"/>
              <a:gd name="T76" fmla="*/ 2147483647 w 306"/>
              <a:gd name="T77" fmla="*/ 2147483647 h 321"/>
              <a:gd name="T78" fmla="*/ 2147483647 w 306"/>
              <a:gd name="T79" fmla="*/ 2147483647 h 321"/>
              <a:gd name="T80" fmla="*/ 2147483647 w 306"/>
              <a:gd name="T81" fmla="*/ 2147483647 h 321"/>
              <a:gd name="T82" fmla="*/ 2147483647 w 306"/>
              <a:gd name="T83" fmla="*/ 2147483647 h 321"/>
              <a:gd name="T84" fmla="*/ 2147483647 w 306"/>
              <a:gd name="T85" fmla="*/ 2147483647 h 321"/>
              <a:gd name="T86" fmla="*/ 2147483647 w 306"/>
              <a:gd name="T87" fmla="*/ 2147483647 h 321"/>
              <a:gd name="T88" fmla="*/ 2147483647 w 306"/>
              <a:gd name="T89" fmla="*/ 2147483647 h 321"/>
              <a:gd name="T90" fmla="*/ 2147483647 w 306"/>
              <a:gd name="T91" fmla="*/ 2147483647 h 321"/>
              <a:gd name="T92" fmla="*/ 2147483647 w 306"/>
              <a:gd name="T93" fmla="*/ 2147483647 h 321"/>
              <a:gd name="T94" fmla="*/ 2147483647 w 306"/>
              <a:gd name="T95" fmla="*/ 2147483647 h 321"/>
              <a:gd name="T96" fmla="*/ 2147483647 w 306"/>
              <a:gd name="T97" fmla="*/ 2147483647 h 321"/>
              <a:gd name="T98" fmla="*/ 2147483647 w 306"/>
              <a:gd name="T99" fmla="*/ 2147483647 h 321"/>
              <a:gd name="T100" fmla="*/ 2147483647 w 306"/>
              <a:gd name="T101" fmla="*/ 2147483647 h 321"/>
              <a:gd name="T102" fmla="*/ 2147483647 w 306"/>
              <a:gd name="T103" fmla="*/ 2147483647 h 321"/>
              <a:gd name="T104" fmla="*/ 2147483647 w 306"/>
              <a:gd name="T105" fmla="*/ 2147483647 h 321"/>
              <a:gd name="T106" fmla="*/ 2147483647 w 306"/>
              <a:gd name="T107" fmla="*/ 2147483647 h 321"/>
              <a:gd name="T108" fmla="*/ 2147483647 w 306"/>
              <a:gd name="T109" fmla="*/ 2147483647 h 321"/>
              <a:gd name="T110" fmla="*/ 2147483647 w 306"/>
              <a:gd name="T111" fmla="*/ 2147483647 h 321"/>
              <a:gd name="T112" fmla="*/ 2147483647 w 306"/>
              <a:gd name="T113" fmla="*/ 2147483647 h 321"/>
              <a:gd name="T114" fmla="*/ 2147483647 w 306"/>
              <a:gd name="T115" fmla="*/ 2147483647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52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475413" y="3263702"/>
            <a:ext cx="201612" cy="269875"/>
          </a:xfrm>
          <a:custGeom>
            <a:avLst/>
            <a:gdLst>
              <a:gd name="T0" fmla="*/ 2147483647 w 471"/>
              <a:gd name="T1" fmla="*/ 2147483647 h 518"/>
              <a:gd name="T2" fmla="*/ 2147483647 w 471"/>
              <a:gd name="T3" fmla="*/ 2147483647 h 518"/>
              <a:gd name="T4" fmla="*/ 2147483647 w 471"/>
              <a:gd name="T5" fmla="*/ 2147483647 h 518"/>
              <a:gd name="T6" fmla="*/ 2147483647 w 471"/>
              <a:gd name="T7" fmla="*/ 2147483647 h 518"/>
              <a:gd name="T8" fmla="*/ 2147483647 w 471"/>
              <a:gd name="T9" fmla="*/ 2147483647 h 518"/>
              <a:gd name="T10" fmla="*/ 2147483647 w 471"/>
              <a:gd name="T11" fmla="*/ 2147483647 h 518"/>
              <a:gd name="T12" fmla="*/ 2147483647 w 471"/>
              <a:gd name="T13" fmla="*/ 2147483647 h 518"/>
              <a:gd name="T14" fmla="*/ 2147483647 w 471"/>
              <a:gd name="T15" fmla="*/ 2147483647 h 518"/>
              <a:gd name="T16" fmla="*/ 2147483647 w 471"/>
              <a:gd name="T17" fmla="*/ 2147483647 h 518"/>
              <a:gd name="T18" fmla="*/ 2147483647 w 471"/>
              <a:gd name="T19" fmla="*/ 2147483647 h 518"/>
              <a:gd name="T20" fmla="*/ 2147483647 w 471"/>
              <a:gd name="T21" fmla="*/ 2147483647 h 518"/>
              <a:gd name="T22" fmla="*/ 2147483647 w 471"/>
              <a:gd name="T23" fmla="*/ 2147483647 h 518"/>
              <a:gd name="T24" fmla="*/ 2147483647 w 471"/>
              <a:gd name="T25" fmla="*/ 2147483647 h 518"/>
              <a:gd name="T26" fmla="*/ 2147483647 w 471"/>
              <a:gd name="T27" fmla="*/ 2147483647 h 518"/>
              <a:gd name="T28" fmla="*/ 2147483647 w 471"/>
              <a:gd name="T29" fmla="*/ 2147483647 h 518"/>
              <a:gd name="T30" fmla="*/ 2147483647 w 471"/>
              <a:gd name="T31" fmla="*/ 2147483647 h 518"/>
              <a:gd name="T32" fmla="*/ 2147483647 w 471"/>
              <a:gd name="T33" fmla="*/ 2147483647 h 518"/>
              <a:gd name="T34" fmla="*/ 2147483647 w 471"/>
              <a:gd name="T35" fmla="*/ 2147483647 h 518"/>
              <a:gd name="T36" fmla="*/ 2147483647 w 471"/>
              <a:gd name="T37" fmla="*/ 2147483647 h 518"/>
              <a:gd name="T38" fmla="*/ 2147483647 w 471"/>
              <a:gd name="T39" fmla="*/ 2147483647 h 518"/>
              <a:gd name="T40" fmla="*/ 2147483647 w 471"/>
              <a:gd name="T41" fmla="*/ 2147483647 h 518"/>
              <a:gd name="T42" fmla="*/ 2147483647 w 471"/>
              <a:gd name="T43" fmla="*/ 2147483647 h 518"/>
              <a:gd name="T44" fmla="*/ 2147483647 w 471"/>
              <a:gd name="T45" fmla="*/ 2147483647 h 518"/>
              <a:gd name="T46" fmla="*/ 2147483647 w 471"/>
              <a:gd name="T47" fmla="*/ 2147483647 h 518"/>
              <a:gd name="T48" fmla="*/ 2147483647 w 471"/>
              <a:gd name="T49" fmla="*/ 2147483647 h 518"/>
              <a:gd name="T50" fmla="*/ 2147483647 w 471"/>
              <a:gd name="T51" fmla="*/ 2147483647 h 518"/>
              <a:gd name="T52" fmla="*/ 2147483647 w 471"/>
              <a:gd name="T53" fmla="*/ 2147483647 h 518"/>
              <a:gd name="T54" fmla="*/ 2147483647 w 471"/>
              <a:gd name="T55" fmla="*/ 2147483647 h 518"/>
              <a:gd name="T56" fmla="*/ 2147483647 w 471"/>
              <a:gd name="T57" fmla="*/ 2147483647 h 518"/>
              <a:gd name="T58" fmla="*/ 2147483647 w 471"/>
              <a:gd name="T59" fmla="*/ 2147483647 h 518"/>
              <a:gd name="T60" fmla="*/ 2147483647 w 471"/>
              <a:gd name="T61" fmla="*/ 2147483647 h 518"/>
              <a:gd name="T62" fmla="*/ 2147483647 w 471"/>
              <a:gd name="T63" fmla="*/ 2147483647 h 518"/>
              <a:gd name="T64" fmla="*/ 2147483647 w 471"/>
              <a:gd name="T65" fmla="*/ 2147483647 h 518"/>
              <a:gd name="T66" fmla="*/ 2147483647 w 471"/>
              <a:gd name="T67" fmla="*/ 2147483647 h 518"/>
              <a:gd name="T68" fmla="*/ 2147483647 w 471"/>
              <a:gd name="T69" fmla="*/ 2147483647 h 518"/>
              <a:gd name="T70" fmla="*/ 2147483647 w 471"/>
              <a:gd name="T71" fmla="*/ 2147483647 h 518"/>
              <a:gd name="T72" fmla="*/ 2147483647 w 471"/>
              <a:gd name="T73" fmla="*/ 2147483647 h 518"/>
              <a:gd name="T74" fmla="*/ 2147483647 w 471"/>
              <a:gd name="T75" fmla="*/ 2147483647 h 518"/>
              <a:gd name="T76" fmla="*/ 2147483647 w 471"/>
              <a:gd name="T77" fmla="*/ 2147483647 h 518"/>
              <a:gd name="T78" fmla="*/ 2147483647 w 471"/>
              <a:gd name="T79" fmla="*/ 2147483647 h 518"/>
              <a:gd name="T80" fmla="*/ 2147483647 w 471"/>
              <a:gd name="T81" fmla="*/ 2147483647 h 518"/>
              <a:gd name="T82" fmla="*/ 2147483647 w 471"/>
              <a:gd name="T83" fmla="*/ 2147483647 h 518"/>
              <a:gd name="T84" fmla="*/ 2147483647 w 471"/>
              <a:gd name="T85" fmla="*/ 2147483647 h 518"/>
              <a:gd name="T86" fmla="*/ 2147483647 w 471"/>
              <a:gd name="T87" fmla="*/ 2147483647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53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557963" y="3514527"/>
            <a:ext cx="133350" cy="130175"/>
          </a:xfrm>
          <a:custGeom>
            <a:avLst/>
            <a:gdLst>
              <a:gd name="T0" fmla="*/ 2147483647 w 293"/>
              <a:gd name="T1" fmla="*/ 2147483647 h 246"/>
              <a:gd name="T2" fmla="*/ 2147483647 w 293"/>
              <a:gd name="T3" fmla="*/ 2147483647 h 246"/>
              <a:gd name="T4" fmla="*/ 2147483647 w 293"/>
              <a:gd name="T5" fmla="*/ 2147483647 h 246"/>
              <a:gd name="T6" fmla="*/ 2147483647 w 293"/>
              <a:gd name="T7" fmla="*/ 2147483647 h 246"/>
              <a:gd name="T8" fmla="*/ 2147483647 w 293"/>
              <a:gd name="T9" fmla="*/ 2147483647 h 246"/>
              <a:gd name="T10" fmla="*/ 2147483647 w 293"/>
              <a:gd name="T11" fmla="*/ 2147483647 h 246"/>
              <a:gd name="T12" fmla="*/ 2147483647 w 293"/>
              <a:gd name="T13" fmla="*/ 2147483647 h 246"/>
              <a:gd name="T14" fmla="*/ 2147483647 w 293"/>
              <a:gd name="T15" fmla="*/ 2147483647 h 246"/>
              <a:gd name="T16" fmla="*/ 2147483647 w 293"/>
              <a:gd name="T17" fmla="*/ 2147483647 h 246"/>
              <a:gd name="T18" fmla="*/ 2147483647 w 293"/>
              <a:gd name="T19" fmla="*/ 2147483647 h 246"/>
              <a:gd name="T20" fmla="*/ 2147483647 w 293"/>
              <a:gd name="T21" fmla="*/ 2147483647 h 246"/>
              <a:gd name="T22" fmla="*/ 2147483647 w 293"/>
              <a:gd name="T23" fmla="*/ 2147483647 h 246"/>
              <a:gd name="T24" fmla="*/ 2147483647 w 293"/>
              <a:gd name="T25" fmla="*/ 2147483647 h 246"/>
              <a:gd name="T26" fmla="*/ 2147483647 w 293"/>
              <a:gd name="T27" fmla="*/ 2147483647 h 246"/>
              <a:gd name="T28" fmla="*/ 2147483647 w 293"/>
              <a:gd name="T29" fmla="*/ 2147483647 h 246"/>
              <a:gd name="T30" fmla="*/ 2147483647 w 293"/>
              <a:gd name="T31" fmla="*/ 2147483647 h 246"/>
              <a:gd name="T32" fmla="*/ 2147483647 w 293"/>
              <a:gd name="T33" fmla="*/ 2147483647 h 246"/>
              <a:gd name="T34" fmla="*/ 2147483647 w 293"/>
              <a:gd name="T35" fmla="*/ 2147483647 h 246"/>
              <a:gd name="T36" fmla="*/ 2147483647 w 293"/>
              <a:gd name="T37" fmla="*/ 2147483647 h 246"/>
              <a:gd name="T38" fmla="*/ 2147483647 w 293"/>
              <a:gd name="T39" fmla="*/ 2147483647 h 246"/>
              <a:gd name="T40" fmla="*/ 2147483647 w 293"/>
              <a:gd name="T41" fmla="*/ 2147483647 h 246"/>
              <a:gd name="T42" fmla="*/ 2147483647 w 293"/>
              <a:gd name="T43" fmla="*/ 2147483647 h 246"/>
              <a:gd name="T44" fmla="*/ 2147483647 w 293"/>
              <a:gd name="T45" fmla="*/ 2147483647 h 246"/>
              <a:gd name="T46" fmla="*/ 2147483647 w 293"/>
              <a:gd name="T47" fmla="*/ 2147483647 h 246"/>
              <a:gd name="T48" fmla="*/ 2147483647 w 293"/>
              <a:gd name="T49" fmla="*/ 2147483647 h 246"/>
              <a:gd name="T50" fmla="*/ 2147483647 w 293"/>
              <a:gd name="T51" fmla="*/ 2147483647 h 246"/>
              <a:gd name="T52" fmla="*/ 2147483647 w 293"/>
              <a:gd name="T53" fmla="*/ 2147483647 h 246"/>
              <a:gd name="T54" fmla="*/ 2147483647 w 293"/>
              <a:gd name="T55" fmla="*/ 2147483647 h 246"/>
              <a:gd name="T56" fmla="*/ 2147483647 w 293"/>
              <a:gd name="T57" fmla="*/ 2147483647 h 246"/>
              <a:gd name="T58" fmla="*/ 2147483647 w 293"/>
              <a:gd name="T59" fmla="*/ 2147483647 h 246"/>
              <a:gd name="T60" fmla="*/ 2147483647 w 293"/>
              <a:gd name="T61" fmla="*/ 2147483647 h 246"/>
              <a:gd name="T62" fmla="*/ 0 w 293"/>
              <a:gd name="T63" fmla="*/ 2147483647 h 246"/>
              <a:gd name="T64" fmla="*/ 2147483647 w 293"/>
              <a:gd name="T65" fmla="*/ 2147483647 h 246"/>
              <a:gd name="T66" fmla="*/ 2147483647 w 293"/>
              <a:gd name="T67" fmla="*/ 2147483647 h 246"/>
              <a:gd name="T68" fmla="*/ 2147483647 w 293"/>
              <a:gd name="T69" fmla="*/ 2147483647 h 246"/>
              <a:gd name="T70" fmla="*/ 2147483647 w 293"/>
              <a:gd name="T71" fmla="*/ 2147483647 h 246"/>
              <a:gd name="T72" fmla="*/ 2147483647 w 293"/>
              <a:gd name="T73" fmla="*/ 2147483647 h 246"/>
              <a:gd name="T74" fmla="*/ 2147483647 w 293"/>
              <a:gd name="T75" fmla="*/ 2147483647 h 246"/>
              <a:gd name="T76" fmla="*/ 2147483647 w 293"/>
              <a:gd name="T77" fmla="*/ 2147483647 h 246"/>
              <a:gd name="T78" fmla="*/ 2147483647 w 293"/>
              <a:gd name="T79" fmla="*/ 2147483647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54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959600" y="2750939"/>
            <a:ext cx="85725" cy="130175"/>
          </a:xfrm>
          <a:custGeom>
            <a:avLst/>
            <a:gdLst>
              <a:gd name="T0" fmla="*/ 2147483647 w 200"/>
              <a:gd name="T1" fmla="*/ 2147483647 h 246"/>
              <a:gd name="T2" fmla="*/ 2147483647 w 200"/>
              <a:gd name="T3" fmla="*/ 2147483647 h 246"/>
              <a:gd name="T4" fmla="*/ 2147483647 w 200"/>
              <a:gd name="T5" fmla="*/ 2147483647 h 246"/>
              <a:gd name="T6" fmla="*/ 2147483647 w 200"/>
              <a:gd name="T7" fmla="*/ 2147483647 h 246"/>
              <a:gd name="T8" fmla="*/ 2147483647 w 200"/>
              <a:gd name="T9" fmla="*/ 2147483647 h 246"/>
              <a:gd name="T10" fmla="*/ 2147483647 w 200"/>
              <a:gd name="T11" fmla="*/ 2147483647 h 246"/>
              <a:gd name="T12" fmla="*/ 2147483647 w 200"/>
              <a:gd name="T13" fmla="*/ 2147483647 h 246"/>
              <a:gd name="T14" fmla="*/ 2147483647 w 200"/>
              <a:gd name="T15" fmla="*/ 2147483647 h 246"/>
              <a:gd name="T16" fmla="*/ 2147483647 w 200"/>
              <a:gd name="T17" fmla="*/ 2147483647 h 246"/>
              <a:gd name="T18" fmla="*/ 2147483647 w 200"/>
              <a:gd name="T19" fmla="*/ 2147483647 h 246"/>
              <a:gd name="T20" fmla="*/ 2147483647 w 200"/>
              <a:gd name="T21" fmla="*/ 2147483647 h 246"/>
              <a:gd name="T22" fmla="*/ 2147483647 w 200"/>
              <a:gd name="T23" fmla="*/ 2147483647 h 246"/>
              <a:gd name="T24" fmla="*/ 2147483647 w 200"/>
              <a:gd name="T25" fmla="*/ 2147483647 h 246"/>
              <a:gd name="T26" fmla="*/ 2147483647 w 200"/>
              <a:gd name="T27" fmla="*/ 2147483647 h 246"/>
              <a:gd name="T28" fmla="*/ 2147483647 w 200"/>
              <a:gd name="T29" fmla="*/ 2147483647 h 246"/>
              <a:gd name="T30" fmla="*/ 2147483647 w 200"/>
              <a:gd name="T31" fmla="*/ 2147483647 h 246"/>
              <a:gd name="T32" fmla="*/ 2147483647 w 200"/>
              <a:gd name="T33" fmla="*/ 2147483647 h 246"/>
              <a:gd name="T34" fmla="*/ 2147483647 w 200"/>
              <a:gd name="T35" fmla="*/ 2147483647 h 246"/>
              <a:gd name="T36" fmla="*/ 2147483647 w 200"/>
              <a:gd name="T37" fmla="*/ 2147483647 h 246"/>
              <a:gd name="T38" fmla="*/ 2147483647 w 200"/>
              <a:gd name="T39" fmla="*/ 2147483647 h 246"/>
              <a:gd name="T40" fmla="*/ 2147483647 w 200"/>
              <a:gd name="T41" fmla="*/ 2147483647 h 246"/>
              <a:gd name="T42" fmla="*/ 2147483647 w 200"/>
              <a:gd name="T43" fmla="*/ 2147483647 h 246"/>
              <a:gd name="T44" fmla="*/ 2147483647 w 200"/>
              <a:gd name="T45" fmla="*/ 2147483647 h 246"/>
              <a:gd name="T46" fmla="*/ 2147483647 w 200"/>
              <a:gd name="T47" fmla="*/ 2147483647 h 246"/>
              <a:gd name="T48" fmla="*/ 2147483647 w 200"/>
              <a:gd name="T49" fmla="*/ 2147483647 h 246"/>
              <a:gd name="T50" fmla="*/ 2147483647 w 200"/>
              <a:gd name="T51" fmla="*/ 2147483647 h 246"/>
              <a:gd name="T52" fmla="*/ 2147483647 w 200"/>
              <a:gd name="T53" fmla="*/ 2147483647 h 246"/>
              <a:gd name="T54" fmla="*/ 2147483647 w 200"/>
              <a:gd name="T55" fmla="*/ 2147483647 h 246"/>
              <a:gd name="T56" fmla="*/ 2147483647 w 200"/>
              <a:gd name="T57" fmla="*/ 2147483647 h 246"/>
              <a:gd name="T58" fmla="*/ 2147483647 w 200"/>
              <a:gd name="T59" fmla="*/ 2147483647 h 246"/>
              <a:gd name="T60" fmla="*/ 2147483647 w 200"/>
              <a:gd name="T61" fmla="*/ 2147483647 h 246"/>
              <a:gd name="T62" fmla="*/ 2147483647 w 200"/>
              <a:gd name="T63" fmla="*/ 2147483647 h 246"/>
              <a:gd name="T64" fmla="*/ 2147483647 w 200"/>
              <a:gd name="T65" fmla="*/ 2147483647 h 246"/>
              <a:gd name="T66" fmla="*/ 2147483647 w 200"/>
              <a:gd name="T67" fmla="*/ 2147483647 h 246"/>
              <a:gd name="T68" fmla="*/ 2147483647 w 200"/>
              <a:gd name="T69" fmla="*/ 2147483647 h 246"/>
              <a:gd name="T70" fmla="*/ 2147483647 w 200"/>
              <a:gd name="T71" fmla="*/ 2147483647 h 246"/>
              <a:gd name="T72" fmla="*/ 2147483647 w 200"/>
              <a:gd name="T73" fmla="*/ 2147483647 h 246"/>
              <a:gd name="T74" fmla="*/ 2147483647 w 200"/>
              <a:gd name="T75" fmla="*/ 2147483647 h 246"/>
              <a:gd name="T76" fmla="*/ 2147483647 w 200"/>
              <a:gd name="T77" fmla="*/ 2147483647 h 246"/>
              <a:gd name="T78" fmla="*/ 2147483647 w 200"/>
              <a:gd name="T79" fmla="*/ 2147483647 h 246"/>
              <a:gd name="T80" fmla="*/ 2147483647 w 200"/>
              <a:gd name="T81" fmla="*/ 2147483647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55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527925" y="4047927"/>
            <a:ext cx="231775" cy="254000"/>
          </a:xfrm>
          <a:custGeom>
            <a:avLst/>
            <a:gdLst>
              <a:gd name="T0" fmla="*/ 2147483647 w 538"/>
              <a:gd name="T1" fmla="*/ 2147483647 h 487"/>
              <a:gd name="T2" fmla="*/ 2147483647 w 538"/>
              <a:gd name="T3" fmla="*/ 2147483647 h 487"/>
              <a:gd name="T4" fmla="*/ 2147483647 w 538"/>
              <a:gd name="T5" fmla="*/ 2147483647 h 487"/>
              <a:gd name="T6" fmla="*/ 2147483647 w 538"/>
              <a:gd name="T7" fmla="*/ 2147483647 h 487"/>
              <a:gd name="T8" fmla="*/ 2147483647 w 538"/>
              <a:gd name="T9" fmla="*/ 2147483647 h 487"/>
              <a:gd name="T10" fmla="*/ 2147483647 w 538"/>
              <a:gd name="T11" fmla="*/ 2147483647 h 487"/>
              <a:gd name="T12" fmla="*/ 2147483647 w 538"/>
              <a:gd name="T13" fmla="*/ 2147483647 h 487"/>
              <a:gd name="T14" fmla="*/ 2147483647 w 538"/>
              <a:gd name="T15" fmla="*/ 2147483647 h 487"/>
              <a:gd name="T16" fmla="*/ 2147483647 w 538"/>
              <a:gd name="T17" fmla="*/ 2147483647 h 487"/>
              <a:gd name="T18" fmla="*/ 2147483647 w 538"/>
              <a:gd name="T19" fmla="*/ 2147483647 h 487"/>
              <a:gd name="T20" fmla="*/ 2147483647 w 538"/>
              <a:gd name="T21" fmla="*/ 2147483647 h 487"/>
              <a:gd name="T22" fmla="*/ 2147483647 w 538"/>
              <a:gd name="T23" fmla="*/ 2147483647 h 487"/>
              <a:gd name="T24" fmla="*/ 2147483647 w 538"/>
              <a:gd name="T25" fmla="*/ 2147483647 h 487"/>
              <a:gd name="T26" fmla="*/ 2147483647 w 538"/>
              <a:gd name="T27" fmla="*/ 2147483647 h 487"/>
              <a:gd name="T28" fmla="*/ 2147483647 w 538"/>
              <a:gd name="T29" fmla="*/ 2147483647 h 487"/>
              <a:gd name="T30" fmla="*/ 2147483647 w 538"/>
              <a:gd name="T31" fmla="*/ 2147483647 h 487"/>
              <a:gd name="T32" fmla="*/ 2147483647 w 538"/>
              <a:gd name="T33" fmla="*/ 2147483647 h 487"/>
              <a:gd name="T34" fmla="*/ 2147483647 w 538"/>
              <a:gd name="T35" fmla="*/ 2147483647 h 487"/>
              <a:gd name="T36" fmla="*/ 2147483647 w 538"/>
              <a:gd name="T37" fmla="*/ 2147483647 h 487"/>
              <a:gd name="T38" fmla="*/ 2147483647 w 538"/>
              <a:gd name="T39" fmla="*/ 2147483647 h 487"/>
              <a:gd name="T40" fmla="*/ 2147483647 w 538"/>
              <a:gd name="T41" fmla="*/ 2147483647 h 487"/>
              <a:gd name="T42" fmla="*/ 2147483647 w 538"/>
              <a:gd name="T43" fmla="*/ 2147483647 h 487"/>
              <a:gd name="T44" fmla="*/ 2147483647 w 538"/>
              <a:gd name="T45" fmla="*/ 2147483647 h 487"/>
              <a:gd name="T46" fmla="*/ 2147483647 w 538"/>
              <a:gd name="T47" fmla="*/ 2147483647 h 487"/>
              <a:gd name="T48" fmla="*/ 2147483647 w 538"/>
              <a:gd name="T49" fmla="*/ 2147483647 h 487"/>
              <a:gd name="T50" fmla="*/ 2147483647 w 538"/>
              <a:gd name="T51" fmla="*/ 2147483647 h 487"/>
              <a:gd name="T52" fmla="*/ 2147483647 w 538"/>
              <a:gd name="T53" fmla="*/ 2147483647 h 487"/>
              <a:gd name="T54" fmla="*/ 2147483647 w 538"/>
              <a:gd name="T55" fmla="*/ 2147483647 h 487"/>
              <a:gd name="T56" fmla="*/ 2147483647 w 538"/>
              <a:gd name="T57" fmla="*/ 2147483647 h 487"/>
              <a:gd name="T58" fmla="*/ 2147483647 w 538"/>
              <a:gd name="T59" fmla="*/ 2147483647 h 487"/>
              <a:gd name="T60" fmla="*/ 2147483647 w 538"/>
              <a:gd name="T61" fmla="*/ 2147483647 h 487"/>
              <a:gd name="T62" fmla="*/ 2147483647 w 538"/>
              <a:gd name="T63" fmla="*/ 2147483647 h 487"/>
              <a:gd name="T64" fmla="*/ 2147483647 w 538"/>
              <a:gd name="T65" fmla="*/ 2147483647 h 487"/>
              <a:gd name="T66" fmla="*/ 2147483647 w 538"/>
              <a:gd name="T67" fmla="*/ 2147483647 h 487"/>
              <a:gd name="T68" fmla="*/ 2147483647 w 538"/>
              <a:gd name="T69" fmla="*/ 2147483647 h 487"/>
              <a:gd name="T70" fmla="*/ 2147483647 w 538"/>
              <a:gd name="T71" fmla="*/ 2147483647 h 487"/>
              <a:gd name="T72" fmla="*/ 2147483647 w 538"/>
              <a:gd name="T73" fmla="*/ 2147483647 h 487"/>
              <a:gd name="T74" fmla="*/ 2147483647 w 538"/>
              <a:gd name="T75" fmla="*/ 2147483647 h 487"/>
              <a:gd name="T76" fmla="*/ 2147483647 w 538"/>
              <a:gd name="T77" fmla="*/ 2147483647 h 487"/>
              <a:gd name="T78" fmla="*/ 2147483647 w 538"/>
              <a:gd name="T79" fmla="*/ 2147483647 h 487"/>
              <a:gd name="T80" fmla="*/ 2147483647 w 538"/>
              <a:gd name="T81" fmla="*/ 2147483647 h 487"/>
              <a:gd name="T82" fmla="*/ 2147483647 w 538"/>
              <a:gd name="T83" fmla="*/ 2147483647 h 487"/>
              <a:gd name="T84" fmla="*/ 2147483647 w 538"/>
              <a:gd name="T85" fmla="*/ 2147483647 h 487"/>
              <a:gd name="T86" fmla="*/ 2147483647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56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720013" y="4032052"/>
            <a:ext cx="106362" cy="128587"/>
          </a:xfrm>
          <a:custGeom>
            <a:avLst/>
            <a:gdLst>
              <a:gd name="T0" fmla="*/ 2147483647 w 253"/>
              <a:gd name="T1" fmla="*/ 2147483647 h 246"/>
              <a:gd name="T2" fmla="*/ 2147483647 w 253"/>
              <a:gd name="T3" fmla="*/ 2147483647 h 246"/>
              <a:gd name="T4" fmla="*/ 2147483647 w 253"/>
              <a:gd name="T5" fmla="*/ 2147483647 h 246"/>
              <a:gd name="T6" fmla="*/ 2147483647 w 253"/>
              <a:gd name="T7" fmla="*/ 2147483647 h 246"/>
              <a:gd name="T8" fmla="*/ 2147483647 w 253"/>
              <a:gd name="T9" fmla="*/ 2147483647 h 246"/>
              <a:gd name="T10" fmla="*/ 2147483647 w 253"/>
              <a:gd name="T11" fmla="*/ 2147483647 h 246"/>
              <a:gd name="T12" fmla="*/ 2147483647 w 253"/>
              <a:gd name="T13" fmla="*/ 2147483647 h 246"/>
              <a:gd name="T14" fmla="*/ 2147483647 w 253"/>
              <a:gd name="T15" fmla="*/ 2147483647 h 246"/>
              <a:gd name="T16" fmla="*/ 2147483647 w 253"/>
              <a:gd name="T17" fmla="*/ 2147483647 h 246"/>
              <a:gd name="T18" fmla="*/ 2147483647 w 253"/>
              <a:gd name="T19" fmla="*/ 2147483647 h 246"/>
              <a:gd name="T20" fmla="*/ 2147483647 w 253"/>
              <a:gd name="T21" fmla="*/ 2147483647 h 246"/>
              <a:gd name="T22" fmla="*/ 2147483647 w 253"/>
              <a:gd name="T23" fmla="*/ 2147483647 h 246"/>
              <a:gd name="T24" fmla="*/ 2147483647 w 253"/>
              <a:gd name="T25" fmla="*/ 2147483647 h 246"/>
              <a:gd name="T26" fmla="*/ 2147483647 w 253"/>
              <a:gd name="T27" fmla="*/ 2147483647 h 246"/>
              <a:gd name="T28" fmla="*/ 2147483647 w 253"/>
              <a:gd name="T29" fmla="*/ 2147483647 h 246"/>
              <a:gd name="T30" fmla="*/ 2147483647 w 253"/>
              <a:gd name="T31" fmla="*/ 2147483647 h 246"/>
              <a:gd name="T32" fmla="*/ 2147483647 w 253"/>
              <a:gd name="T33" fmla="*/ 2147483647 h 246"/>
              <a:gd name="T34" fmla="*/ 2147483647 w 253"/>
              <a:gd name="T35" fmla="*/ 2147483647 h 246"/>
              <a:gd name="T36" fmla="*/ 2147483647 w 253"/>
              <a:gd name="T37" fmla="*/ 2147483647 h 246"/>
              <a:gd name="T38" fmla="*/ 2147483647 w 253"/>
              <a:gd name="T39" fmla="*/ 2147483647 h 246"/>
              <a:gd name="T40" fmla="*/ 2147483647 w 253"/>
              <a:gd name="T41" fmla="*/ 2147483647 h 246"/>
              <a:gd name="T42" fmla="*/ 2147483647 w 253"/>
              <a:gd name="T43" fmla="*/ 2147483647 h 246"/>
              <a:gd name="T44" fmla="*/ 2147483647 w 253"/>
              <a:gd name="T45" fmla="*/ 2147483647 h 246"/>
              <a:gd name="T46" fmla="*/ 2147483647 w 253"/>
              <a:gd name="T47" fmla="*/ 2147483647 h 246"/>
              <a:gd name="T48" fmla="*/ 2147483647 w 253"/>
              <a:gd name="T49" fmla="*/ 2147483647 h 246"/>
              <a:gd name="T50" fmla="*/ 2147483647 w 253"/>
              <a:gd name="T51" fmla="*/ 2147483647 h 246"/>
              <a:gd name="T52" fmla="*/ 2147483647 w 253"/>
              <a:gd name="T53" fmla="*/ 2147483647 h 246"/>
              <a:gd name="T54" fmla="*/ 2147483647 w 253"/>
              <a:gd name="T55" fmla="*/ 2147483647 h 246"/>
              <a:gd name="T56" fmla="*/ 2147483647 w 253"/>
              <a:gd name="T57" fmla="*/ 2147483647 h 246"/>
              <a:gd name="T58" fmla="*/ 2147483647 w 253"/>
              <a:gd name="T59" fmla="*/ 2147483647 h 246"/>
              <a:gd name="T60" fmla="*/ 2147483647 w 253"/>
              <a:gd name="T61" fmla="*/ 2147483647 h 246"/>
              <a:gd name="T62" fmla="*/ 2147483647 w 253"/>
              <a:gd name="T63" fmla="*/ 2147483647 h 246"/>
              <a:gd name="T64" fmla="*/ 2147483647 w 253"/>
              <a:gd name="T65" fmla="*/ 2147483647 h 246"/>
              <a:gd name="T66" fmla="*/ 2147483647 w 253"/>
              <a:gd name="T67" fmla="*/ 2147483647 h 246"/>
              <a:gd name="T68" fmla="*/ 2147483647 w 253"/>
              <a:gd name="T69" fmla="*/ 2147483647 h 246"/>
              <a:gd name="T70" fmla="*/ 2147483647 w 253"/>
              <a:gd name="T71" fmla="*/ 2147483647 h 246"/>
              <a:gd name="T72" fmla="*/ 2147483647 w 253"/>
              <a:gd name="T73" fmla="*/ 2147483647 h 246"/>
              <a:gd name="T74" fmla="*/ 2147483647 w 253"/>
              <a:gd name="T75" fmla="*/ 2147483647 h 246"/>
              <a:gd name="T76" fmla="*/ 2147483647 w 253"/>
              <a:gd name="T77" fmla="*/ 2147483647 h 246"/>
              <a:gd name="T78" fmla="*/ 2147483647 w 253"/>
              <a:gd name="T79" fmla="*/ 2147483647 h 246"/>
              <a:gd name="T80" fmla="*/ 2147483647 w 253"/>
              <a:gd name="T81" fmla="*/ 2147483647 h 246"/>
              <a:gd name="T82" fmla="*/ 2147483647 w 253"/>
              <a:gd name="T83" fmla="*/ 2147483647 h 246"/>
              <a:gd name="T84" fmla="*/ 2147483647 w 253"/>
              <a:gd name="T85" fmla="*/ 2147483647 h 246"/>
              <a:gd name="T86" fmla="*/ 2147483647 w 253"/>
              <a:gd name="T87" fmla="*/ 2147483647 h 246"/>
              <a:gd name="T88" fmla="*/ 2147483647 w 253"/>
              <a:gd name="T89" fmla="*/ 2147483647 h 246"/>
              <a:gd name="T90" fmla="*/ 2147483647 w 253"/>
              <a:gd name="T91" fmla="*/ 2147483647 h 246"/>
              <a:gd name="T92" fmla="*/ 2147483647 w 253"/>
              <a:gd name="T93" fmla="*/ 2147483647 h 246"/>
              <a:gd name="T94" fmla="*/ 2147483647 w 253"/>
              <a:gd name="T95" fmla="*/ 2147483647 h 246"/>
              <a:gd name="T96" fmla="*/ 2147483647 w 253"/>
              <a:gd name="T97" fmla="*/ 2147483647 h 246"/>
              <a:gd name="T98" fmla="*/ 2147483647 w 253"/>
              <a:gd name="T99" fmla="*/ 2147483647 h 246"/>
              <a:gd name="T100" fmla="*/ 2147483647 w 253"/>
              <a:gd name="T101" fmla="*/ 2147483647 h 246"/>
              <a:gd name="T102" fmla="*/ 2147483647 w 253"/>
              <a:gd name="T103" fmla="*/ 2147483647 h 246"/>
              <a:gd name="T104" fmla="*/ 2147483647 w 253"/>
              <a:gd name="T105" fmla="*/ 2147483647 h 246"/>
              <a:gd name="T106" fmla="*/ 2147483647 w 253"/>
              <a:gd name="T107" fmla="*/ 2147483647 h 246"/>
              <a:gd name="T108" fmla="*/ 2147483647 w 253"/>
              <a:gd name="T109" fmla="*/ 2147483647 h 246"/>
              <a:gd name="T110" fmla="*/ 2147483647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57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5995988" y="3665339"/>
            <a:ext cx="63500" cy="119063"/>
          </a:xfrm>
          <a:custGeom>
            <a:avLst/>
            <a:gdLst>
              <a:gd name="T0" fmla="*/ 2147483647 w 141"/>
              <a:gd name="T1" fmla="*/ 2147483647 h 228"/>
              <a:gd name="T2" fmla="*/ 2147483647 w 141"/>
              <a:gd name="T3" fmla="*/ 2147483647 h 228"/>
              <a:gd name="T4" fmla="*/ 2147483647 w 141"/>
              <a:gd name="T5" fmla="*/ 2147483647 h 228"/>
              <a:gd name="T6" fmla="*/ 2147483647 w 141"/>
              <a:gd name="T7" fmla="*/ 2147483647 h 228"/>
              <a:gd name="T8" fmla="*/ 2147483647 w 141"/>
              <a:gd name="T9" fmla="*/ 2147483647 h 228"/>
              <a:gd name="T10" fmla="*/ 2147483647 w 141"/>
              <a:gd name="T11" fmla="*/ 2147483647 h 228"/>
              <a:gd name="T12" fmla="*/ 2147483647 w 141"/>
              <a:gd name="T13" fmla="*/ 2147483647 h 228"/>
              <a:gd name="T14" fmla="*/ 2147483647 w 141"/>
              <a:gd name="T15" fmla="*/ 2147483647 h 228"/>
              <a:gd name="T16" fmla="*/ 0 w 141"/>
              <a:gd name="T17" fmla="*/ 2147483647 h 228"/>
              <a:gd name="T18" fmla="*/ 2147483647 w 141"/>
              <a:gd name="T19" fmla="*/ 2147483647 h 228"/>
              <a:gd name="T20" fmla="*/ 2147483647 w 141"/>
              <a:gd name="T21" fmla="*/ 2147483647 h 228"/>
              <a:gd name="T22" fmla="*/ 2147483647 w 141"/>
              <a:gd name="T23" fmla="*/ 2147483647 h 228"/>
              <a:gd name="T24" fmla="*/ 2147483647 w 141"/>
              <a:gd name="T25" fmla="*/ 2147483647 h 228"/>
              <a:gd name="T26" fmla="*/ 2147483647 w 141"/>
              <a:gd name="T27" fmla="*/ 2147483647 h 228"/>
              <a:gd name="T28" fmla="*/ 2147483647 w 141"/>
              <a:gd name="T29" fmla="*/ 0 h 228"/>
              <a:gd name="T30" fmla="*/ 2147483647 w 141"/>
              <a:gd name="T31" fmla="*/ 2147483647 h 228"/>
              <a:gd name="T32" fmla="*/ 2147483647 w 141"/>
              <a:gd name="T33" fmla="*/ 2147483647 h 228"/>
              <a:gd name="T34" fmla="*/ 2147483647 w 141"/>
              <a:gd name="T35" fmla="*/ 2147483647 h 228"/>
              <a:gd name="T36" fmla="*/ 2147483647 w 141"/>
              <a:gd name="T37" fmla="*/ 2147483647 h 228"/>
              <a:gd name="T38" fmla="*/ 2147483647 w 141"/>
              <a:gd name="T39" fmla="*/ 2147483647 h 228"/>
              <a:gd name="T40" fmla="*/ 2147483647 w 141"/>
              <a:gd name="T41" fmla="*/ 2147483647 h 228"/>
              <a:gd name="T42" fmla="*/ 2147483647 w 141"/>
              <a:gd name="T43" fmla="*/ 2147483647 h 228"/>
              <a:gd name="T44" fmla="*/ 2147483647 w 141"/>
              <a:gd name="T45" fmla="*/ 2147483647 h 228"/>
              <a:gd name="T46" fmla="*/ 2147483647 w 141"/>
              <a:gd name="T47" fmla="*/ 2147483647 h 228"/>
              <a:gd name="T48" fmla="*/ 2147483647 w 141"/>
              <a:gd name="T49" fmla="*/ 2147483647 h 228"/>
              <a:gd name="T50" fmla="*/ 2147483647 w 141"/>
              <a:gd name="T51" fmla="*/ 2147483647 h 228"/>
              <a:gd name="T52" fmla="*/ 2147483647 w 141"/>
              <a:gd name="T53" fmla="*/ 2147483647 h 228"/>
              <a:gd name="T54" fmla="*/ 2147483647 w 141"/>
              <a:gd name="T55" fmla="*/ 2147483647 h 228"/>
              <a:gd name="T56" fmla="*/ 2147483647 w 141"/>
              <a:gd name="T57" fmla="*/ 2147483647 h 228"/>
              <a:gd name="T58" fmla="*/ 2147483647 w 141"/>
              <a:gd name="T59" fmla="*/ 2147483647 h 228"/>
              <a:gd name="T60" fmla="*/ 2147483647 w 141"/>
              <a:gd name="T61" fmla="*/ 2147483647 h 228"/>
              <a:gd name="T62" fmla="*/ 2147483647 w 141"/>
              <a:gd name="T63" fmla="*/ 2147483647 h 228"/>
              <a:gd name="T64" fmla="*/ 2147483647 w 141"/>
              <a:gd name="T65" fmla="*/ 2147483647 h 228"/>
              <a:gd name="T66" fmla="*/ 2147483647 w 141"/>
              <a:gd name="T67" fmla="*/ 2147483647 h 228"/>
              <a:gd name="T68" fmla="*/ 2147483647 w 141"/>
              <a:gd name="T69" fmla="*/ 2147483647 h 228"/>
              <a:gd name="T70" fmla="*/ 2147483647 w 141"/>
              <a:gd name="T71" fmla="*/ 2147483647 h 228"/>
              <a:gd name="T72" fmla="*/ 2147483647 w 141"/>
              <a:gd name="T73" fmla="*/ 2147483647 h 228"/>
              <a:gd name="T74" fmla="*/ 2147483647 w 141"/>
              <a:gd name="T75" fmla="*/ 2147483647 h 228"/>
              <a:gd name="T76" fmla="*/ 2147483647 w 141"/>
              <a:gd name="T77" fmla="*/ 2147483647 h 228"/>
              <a:gd name="T78" fmla="*/ 2147483647 w 141"/>
              <a:gd name="T79" fmla="*/ 2147483647 h 228"/>
              <a:gd name="T80" fmla="*/ 2147483647 w 141"/>
              <a:gd name="T81" fmla="*/ 2147483647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258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935788" y="3376414"/>
            <a:ext cx="233362" cy="439738"/>
            <a:chOff x="5062" y="2295"/>
            <a:chExt cx="177" cy="279"/>
          </a:xfrm>
        </p:grpSpPr>
        <p:sp>
          <p:nvSpPr>
            <p:cNvPr id="2505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0 w 60"/>
                <a:gd name="T1" fmla="*/ 1 h 110"/>
                <a:gd name="T2" fmla="*/ 0 w 60"/>
                <a:gd name="T3" fmla="*/ 1 h 110"/>
                <a:gd name="T4" fmla="*/ 1 w 60"/>
                <a:gd name="T5" fmla="*/ 1 h 110"/>
                <a:gd name="T6" fmla="*/ 1 w 60"/>
                <a:gd name="T7" fmla="*/ 1 h 110"/>
                <a:gd name="T8" fmla="*/ 1 w 60"/>
                <a:gd name="T9" fmla="*/ 1 h 110"/>
                <a:gd name="T10" fmla="*/ 1 w 60"/>
                <a:gd name="T11" fmla="*/ 1 h 110"/>
                <a:gd name="T12" fmla="*/ 1 w 60"/>
                <a:gd name="T13" fmla="*/ 1 h 110"/>
                <a:gd name="T14" fmla="*/ 1 w 60"/>
                <a:gd name="T15" fmla="*/ 1 h 110"/>
                <a:gd name="T16" fmla="*/ 1 w 60"/>
                <a:gd name="T17" fmla="*/ 1 h 110"/>
                <a:gd name="T18" fmla="*/ 1 w 60"/>
                <a:gd name="T19" fmla="*/ 1 h 110"/>
                <a:gd name="T20" fmla="*/ 1 w 60"/>
                <a:gd name="T21" fmla="*/ 1 h 110"/>
                <a:gd name="T22" fmla="*/ 1 w 60"/>
                <a:gd name="T23" fmla="*/ 0 h 110"/>
                <a:gd name="T24" fmla="*/ 1 w 60"/>
                <a:gd name="T25" fmla="*/ 0 h 110"/>
                <a:gd name="T26" fmla="*/ 1 w 60"/>
                <a:gd name="T27" fmla="*/ 0 h 110"/>
                <a:gd name="T28" fmla="*/ 1 w 60"/>
                <a:gd name="T29" fmla="*/ 0 h 110"/>
                <a:gd name="T30" fmla="*/ 0 w 60"/>
                <a:gd name="T31" fmla="*/ 0 h 110"/>
                <a:gd name="T32" fmla="*/ 0 w 60"/>
                <a:gd name="T33" fmla="*/ 0 h 110"/>
                <a:gd name="T34" fmla="*/ 0 w 60"/>
                <a:gd name="T35" fmla="*/ 0 h 110"/>
                <a:gd name="T36" fmla="*/ 0 w 60"/>
                <a:gd name="T37" fmla="*/ 0 h 110"/>
                <a:gd name="T38" fmla="*/ 0 w 60"/>
                <a:gd name="T39" fmla="*/ 0 h 110"/>
                <a:gd name="T40" fmla="*/ 0 w 60"/>
                <a:gd name="T41" fmla="*/ 0 h 110"/>
                <a:gd name="T42" fmla="*/ 0 w 60"/>
                <a:gd name="T43" fmla="*/ 0 h 110"/>
                <a:gd name="T44" fmla="*/ 0 w 60"/>
                <a:gd name="T45" fmla="*/ 0 h 110"/>
                <a:gd name="T46" fmla="*/ 0 w 60"/>
                <a:gd name="T47" fmla="*/ 1 h 110"/>
                <a:gd name="T48" fmla="*/ 0 w 60"/>
                <a:gd name="T49" fmla="*/ 1 h 110"/>
                <a:gd name="T50" fmla="*/ 0 w 60"/>
                <a:gd name="T51" fmla="*/ 1 h 110"/>
                <a:gd name="T52" fmla="*/ 0 w 60"/>
                <a:gd name="T53" fmla="*/ 1 h 110"/>
                <a:gd name="T54" fmla="*/ 0 w 60"/>
                <a:gd name="T55" fmla="*/ 1 h 110"/>
                <a:gd name="T56" fmla="*/ 0 w 60"/>
                <a:gd name="T57" fmla="*/ 1 h 110"/>
                <a:gd name="T58" fmla="*/ 0 w 60"/>
                <a:gd name="T59" fmla="*/ 1 h 110"/>
                <a:gd name="T60" fmla="*/ 0 w 60"/>
                <a:gd name="T61" fmla="*/ 1 h 110"/>
                <a:gd name="T62" fmla="*/ 0 w 60"/>
                <a:gd name="T63" fmla="*/ 1 h 110"/>
                <a:gd name="T64" fmla="*/ 0 w 60"/>
                <a:gd name="T65" fmla="*/ 1 h 110"/>
                <a:gd name="T66" fmla="*/ 0 w 60"/>
                <a:gd name="T67" fmla="*/ 1 h 110"/>
                <a:gd name="T68" fmla="*/ 0 w 60"/>
                <a:gd name="T69" fmla="*/ 1 h 110"/>
                <a:gd name="T70" fmla="*/ 0 w 60"/>
                <a:gd name="T71" fmla="*/ 1 h 110"/>
                <a:gd name="T72" fmla="*/ 0 w 60"/>
                <a:gd name="T73" fmla="*/ 1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06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0 h 75"/>
                <a:gd name="T2" fmla="*/ 0 w 72"/>
                <a:gd name="T3" fmla="*/ 0 h 75"/>
                <a:gd name="T4" fmla="*/ 0 w 72"/>
                <a:gd name="T5" fmla="*/ 0 h 75"/>
                <a:gd name="T6" fmla="*/ 0 w 72"/>
                <a:gd name="T7" fmla="*/ 0 h 75"/>
                <a:gd name="T8" fmla="*/ 0 w 72"/>
                <a:gd name="T9" fmla="*/ 0 h 75"/>
                <a:gd name="T10" fmla="*/ 0 w 72"/>
                <a:gd name="T11" fmla="*/ 1 h 75"/>
                <a:gd name="T12" fmla="*/ 1 w 72"/>
                <a:gd name="T13" fmla="*/ 1 h 75"/>
                <a:gd name="T14" fmla="*/ 1 w 72"/>
                <a:gd name="T15" fmla="*/ 1 h 75"/>
                <a:gd name="T16" fmla="*/ 1 w 72"/>
                <a:gd name="T17" fmla="*/ 1 h 75"/>
                <a:gd name="T18" fmla="*/ 1 w 72"/>
                <a:gd name="T19" fmla="*/ 1 h 75"/>
                <a:gd name="T20" fmla="*/ 1 w 72"/>
                <a:gd name="T21" fmla="*/ 1 h 75"/>
                <a:gd name="T22" fmla="*/ 1 w 72"/>
                <a:gd name="T23" fmla="*/ 0 h 75"/>
                <a:gd name="T24" fmla="*/ 1 w 72"/>
                <a:gd name="T25" fmla="*/ 0 h 75"/>
                <a:gd name="T26" fmla="*/ 1 w 72"/>
                <a:gd name="T27" fmla="*/ 0 h 75"/>
                <a:gd name="T28" fmla="*/ 1 w 72"/>
                <a:gd name="T29" fmla="*/ 0 h 75"/>
                <a:gd name="T30" fmla="*/ 1 w 72"/>
                <a:gd name="T31" fmla="*/ 0 h 75"/>
                <a:gd name="T32" fmla="*/ 1 w 72"/>
                <a:gd name="T33" fmla="*/ 0 h 75"/>
                <a:gd name="T34" fmla="*/ 0 w 72"/>
                <a:gd name="T35" fmla="*/ 0 h 75"/>
                <a:gd name="T36" fmla="*/ 0 w 72"/>
                <a:gd name="T37" fmla="*/ 0 h 75"/>
                <a:gd name="T38" fmla="*/ 0 w 72"/>
                <a:gd name="T39" fmla="*/ 0 h 75"/>
                <a:gd name="T40" fmla="*/ 0 w 72"/>
                <a:gd name="T41" fmla="*/ 0 h 75"/>
                <a:gd name="T42" fmla="*/ 0 w 72"/>
                <a:gd name="T43" fmla="*/ 0 h 75"/>
                <a:gd name="T44" fmla="*/ 0 w 72"/>
                <a:gd name="T45" fmla="*/ 0 h 75"/>
                <a:gd name="T46" fmla="*/ 0 w 72"/>
                <a:gd name="T47" fmla="*/ 0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07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0 w 15"/>
                <a:gd name="T1" fmla="*/ 1 h 49"/>
                <a:gd name="T2" fmla="*/ 0 w 15"/>
                <a:gd name="T3" fmla="*/ 0 h 49"/>
                <a:gd name="T4" fmla="*/ 0 w 15"/>
                <a:gd name="T5" fmla="*/ 0 h 49"/>
                <a:gd name="T6" fmla="*/ 0 w 15"/>
                <a:gd name="T7" fmla="*/ 0 h 49"/>
                <a:gd name="T8" fmla="*/ 0 w 15"/>
                <a:gd name="T9" fmla="*/ 0 h 49"/>
                <a:gd name="T10" fmla="*/ 0 w 15"/>
                <a:gd name="T11" fmla="*/ 0 h 49"/>
                <a:gd name="T12" fmla="*/ 0 w 15"/>
                <a:gd name="T13" fmla="*/ 0 h 49"/>
                <a:gd name="T14" fmla="*/ 0 w 15"/>
                <a:gd name="T15" fmla="*/ 0 h 49"/>
                <a:gd name="T16" fmla="*/ 0 w 15"/>
                <a:gd name="T17" fmla="*/ 0 h 49"/>
                <a:gd name="T18" fmla="*/ 0 w 15"/>
                <a:gd name="T19" fmla="*/ 0 h 49"/>
                <a:gd name="T20" fmla="*/ 0 w 15"/>
                <a:gd name="T21" fmla="*/ 0 h 49"/>
                <a:gd name="T22" fmla="*/ 0 w 15"/>
                <a:gd name="T23" fmla="*/ 0 h 49"/>
                <a:gd name="T24" fmla="*/ 0 w 15"/>
                <a:gd name="T25" fmla="*/ 1 h 49"/>
                <a:gd name="T26" fmla="*/ 0 w 15"/>
                <a:gd name="T27" fmla="*/ 1 h 49"/>
                <a:gd name="T28" fmla="*/ 0 w 15"/>
                <a:gd name="T29" fmla="*/ 1 h 49"/>
                <a:gd name="T30" fmla="*/ 0 w 15"/>
                <a:gd name="T31" fmla="*/ 1 h 49"/>
                <a:gd name="T32" fmla="*/ 0 w 15"/>
                <a:gd name="T33" fmla="*/ 1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08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0 w 47"/>
                <a:gd name="T1" fmla="*/ 0 h 40"/>
                <a:gd name="T2" fmla="*/ 0 w 47"/>
                <a:gd name="T3" fmla="*/ 0 h 40"/>
                <a:gd name="T4" fmla="*/ 0 w 47"/>
                <a:gd name="T5" fmla="*/ 0 h 40"/>
                <a:gd name="T6" fmla="*/ 0 w 47"/>
                <a:gd name="T7" fmla="*/ 0 h 40"/>
                <a:gd name="T8" fmla="*/ 0 w 47"/>
                <a:gd name="T9" fmla="*/ 0 h 40"/>
                <a:gd name="T10" fmla="*/ 0 w 47"/>
                <a:gd name="T11" fmla="*/ 0 h 40"/>
                <a:gd name="T12" fmla="*/ 0 w 47"/>
                <a:gd name="T13" fmla="*/ 0 h 40"/>
                <a:gd name="T14" fmla="*/ 0 w 47"/>
                <a:gd name="T15" fmla="*/ 0 h 40"/>
                <a:gd name="T16" fmla="*/ 0 w 47"/>
                <a:gd name="T17" fmla="*/ 0 h 40"/>
                <a:gd name="T18" fmla="*/ 1 w 47"/>
                <a:gd name="T19" fmla="*/ 0 h 40"/>
                <a:gd name="T20" fmla="*/ 1 w 47"/>
                <a:gd name="T21" fmla="*/ 0 h 40"/>
                <a:gd name="T22" fmla="*/ 0 w 47"/>
                <a:gd name="T23" fmla="*/ 0 h 40"/>
                <a:gd name="T24" fmla="*/ 0 w 47"/>
                <a:gd name="T25" fmla="*/ 0 h 40"/>
                <a:gd name="T26" fmla="*/ 0 w 47"/>
                <a:gd name="T27" fmla="*/ 0 h 40"/>
                <a:gd name="T28" fmla="*/ 0 w 47"/>
                <a:gd name="T29" fmla="*/ 0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09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0 w 39"/>
                <a:gd name="T3" fmla="*/ 0 h 31"/>
                <a:gd name="T4" fmla="*/ 0 w 39"/>
                <a:gd name="T5" fmla="*/ 0 h 31"/>
                <a:gd name="T6" fmla="*/ 0 w 39"/>
                <a:gd name="T7" fmla="*/ 0 h 31"/>
                <a:gd name="T8" fmla="*/ 0 w 39"/>
                <a:gd name="T9" fmla="*/ 0 h 31"/>
                <a:gd name="T10" fmla="*/ 0 w 39"/>
                <a:gd name="T11" fmla="*/ 0 h 31"/>
                <a:gd name="T12" fmla="*/ 0 w 39"/>
                <a:gd name="T13" fmla="*/ 0 h 31"/>
                <a:gd name="T14" fmla="*/ 0 w 39"/>
                <a:gd name="T15" fmla="*/ 0 h 31"/>
                <a:gd name="T16" fmla="*/ 0 w 39"/>
                <a:gd name="T17" fmla="*/ 0 h 31"/>
                <a:gd name="T18" fmla="*/ 0 w 39"/>
                <a:gd name="T19" fmla="*/ 0 h 31"/>
                <a:gd name="T20" fmla="*/ 0 w 39"/>
                <a:gd name="T21" fmla="*/ 0 h 31"/>
                <a:gd name="T22" fmla="*/ 0 w 39"/>
                <a:gd name="T23" fmla="*/ 0 h 31"/>
                <a:gd name="T24" fmla="*/ 0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10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0 w 34"/>
                <a:gd name="T3" fmla="*/ 0 h 19"/>
                <a:gd name="T4" fmla="*/ 0 w 34"/>
                <a:gd name="T5" fmla="*/ 0 h 19"/>
                <a:gd name="T6" fmla="*/ 0 w 34"/>
                <a:gd name="T7" fmla="*/ 0 h 19"/>
                <a:gd name="T8" fmla="*/ 0 w 34"/>
                <a:gd name="T9" fmla="*/ 0 h 19"/>
                <a:gd name="T10" fmla="*/ 0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11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0 w 19"/>
                <a:gd name="T3" fmla="*/ 0 h 12"/>
                <a:gd name="T4" fmla="*/ 0 w 19"/>
                <a:gd name="T5" fmla="*/ 0 h 12"/>
                <a:gd name="T6" fmla="*/ 0 w 19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12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1 w 126"/>
                <a:gd name="T1" fmla="*/ 0 h 166"/>
                <a:gd name="T2" fmla="*/ 1 w 126"/>
                <a:gd name="T3" fmla="*/ 0 h 166"/>
                <a:gd name="T4" fmla="*/ 1 w 126"/>
                <a:gd name="T5" fmla="*/ 0 h 166"/>
                <a:gd name="T6" fmla="*/ 2 w 126"/>
                <a:gd name="T7" fmla="*/ 0 h 166"/>
                <a:gd name="T8" fmla="*/ 2 w 126"/>
                <a:gd name="T9" fmla="*/ 0 h 166"/>
                <a:gd name="T10" fmla="*/ 2 w 126"/>
                <a:gd name="T11" fmla="*/ 0 h 166"/>
                <a:gd name="T12" fmla="*/ 2 w 126"/>
                <a:gd name="T13" fmla="*/ 0 h 166"/>
                <a:gd name="T14" fmla="*/ 2 w 126"/>
                <a:gd name="T15" fmla="*/ 0 h 166"/>
                <a:gd name="T16" fmla="*/ 1 w 126"/>
                <a:gd name="T17" fmla="*/ 1 h 166"/>
                <a:gd name="T18" fmla="*/ 1 w 126"/>
                <a:gd name="T19" fmla="*/ 1 h 166"/>
                <a:gd name="T20" fmla="*/ 1 w 126"/>
                <a:gd name="T21" fmla="*/ 1 h 166"/>
                <a:gd name="T22" fmla="*/ 1 w 126"/>
                <a:gd name="T23" fmla="*/ 1 h 166"/>
                <a:gd name="T24" fmla="*/ 1 w 126"/>
                <a:gd name="T25" fmla="*/ 1 h 166"/>
                <a:gd name="T26" fmla="*/ 1 w 126"/>
                <a:gd name="T27" fmla="*/ 2 h 166"/>
                <a:gd name="T28" fmla="*/ 0 w 126"/>
                <a:gd name="T29" fmla="*/ 2 h 166"/>
                <a:gd name="T30" fmla="*/ 0 w 126"/>
                <a:gd name="T31" fmla="*/ 2 h 166"/>
                <a:gd name="T32" fmla="*/ 0 w 126"/>
                <a:gd name="T33" fmla="*/ 2 h 166"/>
                <a:gd name="T34" fmla="*/ 0 w 126"/>
                <a:gd name="T35" fmla="*/ 2 h 166"/>
                <a:gd name="T36" fmla="*/ 0 w 126"/>
                <a:gd name="T37" fmla="*/ 2 h 166"/>
                <a:gd name="T38" fmla="*/ 0 w 126"/>
                <a:gd name="T39" fmla="*/ 2 h 166"/>
                <a:gd name="T40" fmla="*/ 0 w 126"/>
                <a:gd name="T41" fmla="*/ 2 h 166"/>
                <a:gd name="T42" fmla="*/ 0 w 126"/>
                <a:gd name="T43" fmla="*/ 2 h 166"/>
                <a:gd name="T44" fmla="*/ 0 w 126"/>
                <a:gd name="T45" fmla="*/ 2 h 166"/>
                <a:gd name="T46" fmla="*/ 0 w 126"/>
                <a:gd name="T47" fmla="*/ 2 h 166"/>
                <a:gd name="T48" fmla="*/ 0 w 126"/>
                <a:gd name="T49" fmla="*/ 2 h 166"/>
                <a:gd name="T50" fmla="*/ 0 w 126"/>
                <a:gd name="T51" fmla="*/ 2 h 166"/>
                <a:gd name="T52" fmla="*/ 0 w 126"/>
                <a:gd name="T53" fmla="*/ 1 h 166"/>
                <a:gd name="T54" fmla="*/ 0 w 126"/>
                <a:gd name="T55" fmla="*/ 1 h 166"/>
                <a:gd name="T56" fmla="*/ 0 w 126"/>
                <a:gd name="T57" fmla="*/ 1 h 166"/>
                <a:gd name="T58" fmla="*/ 0 w 126"/>
                <a:gd name="T59" fmla="*/ 1 h 166"/>
                <a:gd name="T60" fmla="*/ 1 w 126"/>
                <a:gd name="T61" fmla="*/ 1 h 166"/>
                <a:gd name="T62" fmla="*/ 1 w 126"/>
                <a:gd name="T63" fmla="*/ 1 h 166"/>
                <a:gd name="T64" fmla="*/ 1 w 126"/>
                <a:gd name="T65" fmla="*/ 1 h 166"/>
                <a:gd name="T66" fmla="*/ 1 w 126"/>
                <a:gd name="T67" fmla="*/ 1 h 166"/>
                <a:gd name="T68" fmla="*/ 1 w 126"/>
                <a:gd name="T69" fmla="*/ 1 h 166"/>
                <a:gd name="T70" fmla="*/ 1 w 126"/>
                <a:gd name="T71" fmla="*/ 0 h 166"/>
                <a:gd name="T72" fmla="*/ 1 w 126"/>
                <a:gd name="T73" fmla="*/ 0 h 166"/>
                <a:gd name="T74" fmla="*/ 1 w 126"/>
                <a:gd name="T75" fmla="*/ 0 h 166"/>
                <a:gd name="T76" fmla="*/ 1 w 126"/>
                <a:gd name="T77" fmla="*/ 0 h 166"/>
                <a:gd name="T78" fmla="*/ 1 w 126"/>
                <a:gd name="T79" fmla="*/ 0 h 166"/>
                <a:gd name="T80" fmla="*/ 1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13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0 w 259"/>
                <a:gd name="T1" fmla="*/ 2 h 259"/>
                <a:gd name="T2" fmla="*/ 0 w 259"/>
                <a:gd name="T3" fmla="*/ 2 h 259"/>
                <a:gd name="T4" fmla="*/ 0 w 259"/>
                <a:gd name="T5" fmla="*/ 2 h 259"/>
                <a:gd name="T6" fmla="*/ 0 w 259"/>
                <a:gd name="T7" fmla="*/ 2 h 259"/>
                <a:gd name="T8" fmla="*/ 0 w 259"/>
                <a:gd name="T9" fmla="*/ 2 h 259"/>
                <a:gd name="T10" fmla="*/ 0 w 259"/>
                <a:gd name="T11" fmla="*/ 1 h 259"/>
                <a:gd name="T12" fmla="*/ 1 w 259"/>
                <a:gd name="T13" fmla="*/ 1 h 259"/>
                <a:gd name="T14" fmla="*/ 1 w 259"/>
                <a:gd name="T15" fmla="*/ 1 h 259"/>
                <a:gd name="T16" fmla="*/ 1 w 259"/>
                <a:gd name="T17" fmla="*/ 1 h 259"/>
                <a:gd name="T18" fmla="*/ 1 w 259"/>
                <a:gd name="T19" fmla="*/ 1 h 259"/>
                <a:gd name="T20" fmla="*/ 1 w 259"/>
                <a:gd name="T21" fmla="*/ 1 h 259"/>
                <a:gd name="T22" fmla="*/ 1 w 259"/>
                <a:gd name="T23" fmla="*/ 1 h 259"/>
                <a:gd name="T24" fmla="*/ 1 w 259"/>
                <a:gd name="T25" fmla="*/ 1 h 259"/>
                <a:gd name="T26" fmla="*/ 1 w 259"/>
                <a:gd name="T27" fmla="*/ 1 h 259"/>
                <a:gd name="T28" fmla="*/ 2 w 259"/>
                <a:gd name="T29" fmla="*/ 1 h 259"/>
                <a:gd name="T30" fmla="*/ 2 w 259"/>
                <a:gd name="T31" fmla="*/ 1 h 259"/>
                <a:gd name="T32" fmla="*/ 2 w 259"/>
                <a:gd name="T33" fmla="*/ 1 h 259"/>
                <a:gd name="T34" fmla="*/ 2 w 259"/>
                <a:gd name="T35" fmla="*/ 1 h 259"/>
                <a:gd name="T36" fmla="*/ 2 w 259"/>
                <a:gd name="T37" fmla="*/ 0 h 259"/>
                <a:gd name="T38" fmla="*/ 2 w 259"/>
                <a:gd name="T39" fmla="*/ 0 h 259"/>
                <a:gd name="T40" fmla="*/ 2 w 259"/>
                <a:gd name="T41" fmla="*/ 0 h 259"/>
                <a:gd name="T42" fmla="*/ 3 w 259"/>
                <a:gd name="T43" fmla="*/ 0 h 259"/>
                <a:gd name="T44" fmla="*/ 3 w 259"/>
                <a:gd name="T45" fmla="*/ 0 h 259"/>
                <a:gd name="T46" fmla="*/ 3 w 259"/>
                <a:gd name="T47" fmla="*/ 1 h 259"/>
                <a:gd name="T48" fmla="*/ 3 w 259"/>
                <a:gd name="T49" fmla="*/ 1 h 259"/>
                <a:gd name="T50" fmla="*/ 3 w 259"/>
                <a:gd name="T51" fmla="*/ 1 h 259"/>
                <a:gd name="T52" fmla="*/ 3 w 259"/>
                <a:gd name="T53" fmla="*/ 1 h 259"/>
                <a:gd name="T54" fmla="*/ 3 w 259"/>
                <a:gd name="T55" fmla="*/ 1 h 259"/>
                <a:gd name="T56" fmla="*/ 3 w 259"/>
                <a:gd name="T57" fmla="*/ 1 h 259"/>
                <a:gd name="T58" fmla="*/ 3 w 259"/>
                <a:gd name="T59" fmla="*/ 1 h 259"/>
                <a:gd name="T60" fmla="*/ 3 w 259"/>
                <a:gd name="T61" fmla="*/ 2 h 259"/>
                <a:gd name="T62" fmla="*/ 3 w 259"/>
                <a:gd name="T63" fmla="*/ 2 h 259"/>
                <a:gd name="T64" fmla="*/ 3 w 259"/>
                <a:gd name="T65" fmla="*/ 3 h 259"/>
                <a:gd name="T66" fmla="*/ 3 w 259"/>
                <a:gd name="T67" fmla="*/ 3 h 259"/>
                <a:gd name="T68" fmla="*/ 3 w 259"/>
                <a:gd name="T69" fmla="*/ 3 h 259"/>
                <a:gd name="T70" fmla="*/ 3 w 259"/>
                <a:gd name="T71" fmla="*/ 2 h 259"/>
                <a:gd name="T72" fmla="*/ 3 w 259"/>
                <a:gd name="T73" fmla="*/ 2 h 259"/>
                <a:gd name="T74" fmla="*/ 2 w 259"/>
                <a:gd name="T75" fmla="*/ 2 h 259"/>
                <a:gd name="T76" fmla="*/ 2 w 259"/>
                <a:gd name="T77" fmla="*/ 2 h 259"/>
                <a:gd name="T78" fmla="*/ 2 w 259"/>
                <a:gd name="T79" fmla="*/ 3 h 259"/>
                <a:gd name="T80" fmla="*/ 2 w 259"/>
                <a:gd name="T81" fmla="*/ 3 h 259"/>
                <a:gd name="T82" fmla="*/ 1 w 259"/>
                <a:gd name="T83" fmla="*/ 3 h 259"/>
                <a:gd name="T84" fmla="*/ 1 w 259"/>
                <a:gd name="T85" fmla="*/ 3 h 259"/>
                <a:gd name="T86" fmla="*/ 1 w 259"/>
                <a:gd name="T87" fmla="*/ 3 h 259"/>
                <a:gd name="T88" fmla="*/ 1 w 259"/>
                <a:gd name="T89" fmla="*/ 2 h 259"/>
                <a:gd name="T90" fmla="*/ 1 w 259"/>
                <a:gd name="T91" fmla="*/ 2 h 259"/>
                <a:gd name="T92" fmla="*/ 1 w 259"/>
                <a:gd name="T93" fmla="*/ 2 h 259"/>
                <a:gd name="T94" fmla="*/ 1 w 259"/>
                <a:gd name="T95" fmla="*/ 2 h 259"/>
                <a:gd name="T96" fmla="*/ 1 w 259"/>
                <a:gd name="T97" fmla="*/ 2 h 259"/>
                <a:gd name="T98" fmla="*/ 0 w 259"/>
                <a:gd name="T99" fmla="*/ 2 h 259"/>
                <a:gd name="T100" fmla="*/ 0 w 259"/>
                <a:gd name="T101" fmla="*/ 2 h 259"/>
                <a:gd name="T102" fmla="*/ 0 w 259"/>
                <a:gd name="T103" fmla="*/ 2 h 259"/>
                <a:gd name="T104" fmla="*/ 0 w 259"/>
                <a:gd name="T105" fmla="*/ 2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14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1 w 72"/>
                <a:gd name="T1" fmla="*/ 1 h 92"/>
                <a:gd name="T2" fmla="*/ 1 w 72"/>
                <a:gd name="T3" fmla="*/ 1 h 92"/>
                <a:gd name="T4" fmla="*/ 1 w 72"/>
                <a:gd name="T5" fmla="*/ 1 h 92"/>
                <a:gd name="T6" fmla="*/ 1 w 72"/>
                <a:gd name="T7" fmla="*/ 1 h 92"/>
                <a:gd name="T8" fmla="*/ 1 w 72"/>
                <a:gd name="T9" fmla="*/ 1 h 92"/>
                <a:gd name="T10" fmla="*/ 1 w 72"/>
                <a:gd name="T11" fmla="*/ 1 h 92"/>
                <a:gd name="T12" fmla="*/ 0 w 72"/>
                <a:gd name="T13" fmla="*/ 1 h 92"/>
                <a:gd name="T14" fmla="*/ 0 w 72"/>
                <a:gd name="T15" fmla="*/ 1 h 92"/>
                <a:gd name="T16" fmla="*/ 0 w 72"/>
                <a:gd name="T17" fmla="*/ 0 h 92"/>
                <a:gd name="T18" fmla="*/ 0 w 72"/>
                <a:gd name="T19" fmla="*/ 0 h 92"/>
                <a:gd name="T20" fmla="*/ 0 w 72"/>
                <a:gd name="T21" fmla="*/ 0 h 92"/>
                <a:gd name="T22" fmla="*/ 0 w 72"/>
                <a:gd name="T23" fmla="*/ 0 h 92"/>
                <a:gd name="T24" fmla="*/ 0 w 72"/>
                <a:gd name="T25" fmla="*/ 0 h 92"/>
                <a:gd name="T26" fmla="*/ 0 w 72"/>
                <a:gd name="T27" fmla="*/ 0 h 92"/>
                <a:gd name="T28" fmla="*/ 1 w 72"/>
                <a:gd name="T29" fmla="*/ 0 h 92"/>
                <a:gd name="T30" fmla="*/ 1 w 72"/>
                <a:gd name="T31" fmla="*/ 0 h 92"/>
                <a:gd name="T32" fmla="*/ 1 w 72"/>
                <a:gd name="T33" fmla="*/ 0 h 92"/>
                <a:gd name="T34" fmla="*/ 1 w 72"/>
                <a:gd name="T35" fmla="*/ 1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15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0 w 46"/>
                <a:gd name="T1" fmla="*/ 0 h 62"/>
                <a:gd name="T2" fmla="*/ 0 w 46"/>
                <a:gd name="T3" fmla="*/ 0 h 62"/>
                <a:gd name="T4" fmla="*/ 0 w 46"/>
                <a:gd name="T5" fmla="*/ 0 h 62"/>
                <a:gd name="T6" fmla="*/ 1 w 46"/>
                <a:gd name="T7" fmla="*/ 0 h 62"/>
                <a:gd name="T8" fmla="*/ 1 w 46"/>
                <a:gd name="T9" fmla="*/ 0 h 62"/>
                <a:gd name="T10" fmla="*/ 1 w 46"/>
                <a:gd name="T11" fmla="*/ 0 h 62"/>
                <a:gd name="T12" fmla="*/ 1 w 46"/>
                <a:gd name="T13" fmla="*/ 0 h 62"/>
                <a:gd name="T14" fmla="*/ 1 w 46"/>
                <a:gd name="T15" fmla="*/ 0 h 62"/>
                <a:gd name="T16" fmla="*/ 1 w 46"/>
                <a:gd name="T17" fmla="*/ 0 h 62"/>
                <a:gd name="T18" fmla="*/ 1 w 46"/>
                <a:gd name="T19" fmla="*/ 1 h 62"/>
                <a:gd name="T20" fmla="*/ 1 w 46"/>
                <a:gd name="T21" fmla="*/ 1 h 62"/>
                <a:gd name="T22" fmla="*/ 1 w 46"/>
                <a:gd name="T23" fmla="*/ 1 h 62"/>
                <a:gd name="T24" fmla="*/ 1 w 46"/>
                <a:gd name="T25" fmla="*/ 1 h 62"/>
                <a:gd name="T26" fmla="*/ 0 w 46"/>
                <a:gd name="T27" fmla="*/ 1 h 62"/>
                <a:gd name="T28" fmla="*/ 0 w 46"/>
                <a:gd name="T29" fmla="*/ 1 h 62"/>
                <a:gd name="T30" fmla="*/ 0 w 46"/>
                <a:gd name="T31" fmla="*/ 1 h 62"/>
                <a:gd name="T32" fmla="*/ 0 w 46"/>
                <a:gd name="T33" fmla="*/ 1 h 62"/>
                <a:gd name="T34" fmla="*/ 0 w 46"/>
                <a:gd name="T35" fmla="*/ 1 h 62"/>
                <a:gd name="T36" fmla="*/ 0 w 46"/>
                <a:gd name="T37" fmla="*/ 1 h 62"/>
                <a:gd name="T38" fmla="*/ 0 w 46"/>
                <a:gd name="T39" fmla="*/ 1 h 62"/>
                <a:gd name="T40" fmla="*/ 0 w 46"/>
                <a:gd name="T41" fmla="*/ 1 h 62"/>
                <a:gd name="T42" fmla="*/ 0 w 46"/>
                <a:gd name="T43" fmla="*/ 1 h 62"/>
                <a:gd name="T44" fmla="*/ 0 w 46"/>
                <a:gd name="T45" fmla="*/ 1 h 62"/>
                <a:gd name="T46" fmla="*/ 0 w 46"/>
                <a:gd name="T47" fmla="*/ 0 h 62"/>
                <a:gd name="T48" fmla="*/ 0 w 46"/>
                <a:gd name="T49" fmla="*/ 0 h 62"/>
                <a:gd name="T50" fmla="*/ 0 w 46"/>
                <a:gd name="T51" fmla="*/ 0 h 62"/>
                <a:gd name="T52" fmla="*/ 0 w 46"/>
                <a:gd name="T53" fmla="*/ 0 h 62"/>
                <a:gd name="T54" fmla="*/ 0 w 46"/>
                <a:gd name="T55" fmla="*/ 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16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1 w 152"/>
                <a:gd name="T1" fmla="*/ 0 h 296"/>
                <a:gd name="T2" fmla="*/ 1 w 152"/>
                <a:gd name="T3" fmla="*/ 0 h 296"/>
                <a:gd name="T4" fmla="*/ 1 w 152"/>
                <a:gd name="T5" fmla="*/ 0 h 296"/>
                <a:gd name="T6" fmla="*/ 1 w 152"/>
                <a:gd name="T7" fmla="*/ 0 h 296"/>
                <a:gd name="T8" fmla="*/ 1 w 152"/>
                <a:gd name="T9" fmla="*/ 0 h 296"/>
                <a:gd name="T10" fmla="*/ 1 w 152"/>
                <a:gd name="T11" fmla="*/ 0 h 296"/>
                <a:gd name="T12" fmla="*/ 1 w 152"/>
                <a:gd name="T13" fmla="*/ 0 h 296"/>
                <a:gd name="T14" fmla="*/ 1 w 152"/>
                <a:gd name="T15" fmla="*/ 0 h 296"/>
                <a:gd name="T16" fmla="*/ 2 w 152"/>
                <a:gd name="T17" fmla="*/ 1 h 296"/>
                <a:gd name="T18" fmla="*/ 2 w 152"/>
                <a:gd name="T19" fmla="*/ 1 h 296"/>
                <a:gd name="T20" fmla="*/ 2 w 152"/>
                <a:gd name="T21" fmla="*/ 1 h 296"/>
                <a:gd name="T22" fmla="*/ 2 w 152"/>
                <a:gd name="T23" fmla="*/ 1 h 296"/>
                <a:gd name="T24" fmla="*/ 2 w 152"/>
                <a:gd name="T25" fmla="*/ 1 h 296"/>
                <a:gd name="T26" fmla="*/ 2 w 152"/>
                <a:gd name="T27" fmla="*/ 2 h 296"/>
                <a:gd name="T28" fmla="*/ 1 w 152"/>
                <a:gd name="T29" fmla="*/ 2 h 296"/>
                <a:gd name="T30" fmla="*/ 1 w 152"/>
                <a:gd name="T31" fmla="*/ 2 h 296"/>
                <a:gd name="T32" fmla="*/ 1 w 152"/>
                <a:gd name="T33" fmla="*/ 2 h 296"/>
                <a:gd name="T34" fmla="*/ 1 w 152"/>
                <a:gd name="T35" fmla="*/ 3 h 296"/>
                <a:gd name="T36" fmla="*/ 1 w 152"/>
                <a:gd name="T37" fmla="*/ 3 h 296"/>
                <a:gd name="T38" fmla="*/ 1 w 152"/>
                <a:gd name="T39" fmla="*/ 3 h 296"/>
                <a:gd name="T40" fmla="*/ 2 w 152"/>
                <a:gd name="T41" fmla="*/ 3 h 296"/>
                <a:gd name="T42" fmla="*/ 2 w 152"/>
                <a:gd name="T43" fmla="*/ 3 h 296"/>
                <a:gd name="T44" fmla="*/ 2 w 152"/>
                <a:gd name="T45" fmla="*/ 3 h 296"/>
                <a:gd name="T46" fmla="*/ 2 w 152"/>
                <a:gd name="T47" fmla="*/ 3 h 296"/>
                <a:gd name="T48" fmla="*/ 1 w 152"/>
                <a:gd name="T49" fmla="*/ 4 h 296"/>
                <a:gd name="T50" fmla="*/ 1 w 152"/>
                <a:gd name="T51" fmla="*/ 4 h 296"/>
                <a:gd name="T52" fmla="*/ 1 w 152"/>
                <a:gd name="T53" fmla="*/ 4 h 296"/>
                <a:gd name="T54" fmla="*/ 1 w 152"/>
                <a:gd name="T55" fmla="*/ 3 h 296"/>
                <a:gd name="T56" fmla="*/ 1 w 152"/>
                <a:gd name="T57" fmla="*/ 3 h 296"/>
                <a:gd name="T58" fmla="*/ 1 w 152"/>
                <a:gd name="T59" fmla="*/ 3 h 296"/>
                <a:gd name="T60" fmla="*/ 1 w 152"/>
                <a:gd name="T61" fmla="*/ 3 h 296"/>
                <a:gd name="T62" fmla="*/ 1 w 152"/>
                <a:gd name="T63" fmla="*/ 3 h 296"/>
                <a:gd name="T64" fmla="*/ 1 w 152"/>
                <a:gd name="T65" fmla="*/ 3 h 296"/>
                <a:gd name="T66" fmla="*/ 0 w 152"/>
                <a:gd name="T67" fmla="*/ 3 h 296"/>
                <a:gd name="T68" fmla="*/ 0 w 152"/>
                <a:gd name="T69" fmla="*/ 3 h 296"/>
                <a:gd name="T70" fmla="*/ 0 w 152"/>
                <a:gd name="T71" fmla="*/ 3 h 296"/>
                <a:gd name="T72" fmla="*/ 0 w 152"/>
                <a:gd name="T73" fmla="*/ 2 h 296"/>
                <a:gd name="T74" fmla="*/ 0 w 152"/>
                <a:gd name="T75" fmla="*/ 2 h 296"/>
                <a:gd name="T76" fmla="*/ 0 w 152"/>
                <a:gd name="T77" fmla="*/ 2 h 296"/>
                <a:gd name="T78" fmla="*/ 0 w 152"/>
                <a:gd name="T79" fmla="*/ 2 h 296"/>
                <a:gd name="T80" fmla="*/ 0 w 152"/>
                <a:gd name="T81" fmla="*/ 1 h 296"/>
                <a:gd name="T82" fmla="*/ 0 w 152"/>
                <a:gd name="T83" fmla="*/ 1 h 296"/>
                <a:gd name="T84" fmla="*/ 0 w 152"/>
                <a:gd name="T85" fmla="*/ 0 h 296"/>
                <a:gd name="T86" fmla="*/ 0 w 152"/>
                <a:gd name="T87" fmla="*/ 0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17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0 w 26"/>
                <a:gd name="T1" fmla="*/ 0 h 38"/>
                <a:gd name="T2" fmla="*/ 0 w 26"/>
                <a:gd name="T3" fmla="*/ 0 h 38"/>
                <a:gd name="T4" fmla="*/ 0 w 26"/>
                <a:gd name="T5" fmla="*/ 0 h 38"/>
                <a:gd name="T6" fmla="*/ 0 w 26"/>
                <a:gd name="T7" fmla="*/ 0 h 38"/>
                <a:gd name="T8" fmla="*/ 0 w 26"/>
                <a:gd name="T9" fmla="*/ 0 h 38"/>
                <a:gd name="T10" fmla="*/ 0 w 26"/>
                <a:gd name="T11" fmla="*/ 0 h 38"/>
                <a:gd name="T12" fmla="*/ 0 w 26"/>
                <a:gd name="T13" fmla="*/ 0 h 38"/>
                <a:gd name="T14" fmla="*/ 0 w 26"/>
                <a:gd name="T15" fmla="*/ 0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18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0 h 31"/>
                <a:gd name="T2" fmla="*/ 0 w 34"/>
                <a:gd name="T3" fmla="*/ 0 h 31"/>
                <a:gd name="T4" fmla="*/ 0 w 34"/>
                <a:gd name="T5" fmla="*/ 0 h 31"/>
                <a:gd name="T6" fmla="*/ 0 w 34"/>
                <a:gd name="T7" fmla="*/ 0 h 31"/>
                <a:gd name="T8" fmla="*/ 0 w 34"/>
                <a:gd name="T9" fmla="*/ 0 h 31"/>
                <a:gd name="T10" fmla="*/ 0 w 34"/>
                <a:gd name="T11" fmla="*/ 0 h 31"/>
                <a:gd name="T12" fmla="*/ 0 w 34"/>
                <a:gd name="T13" fmla="*/ 0 h 31"/>
                <a:gd name="T14" fmla="*/ 0 w 34"/>
                <a:gd name="T15" fmla="*/ 0 h 31"/>
                <a:gd name="T16" fmla="*/ 0 w 34"/>
                <a:gd name="T17" fmla="*/ 0 h 31"/>
                <a:gd name="T18" fmla="*/ 0 w 34"/>
                <a:gd name="T19" fmla="*/ 0 h 31"/>
                <a:gd name="T20" fmla="*/ 0 w 34"/>
                <a:gd name="T21" fmla="*/ 0 h 31"/>
                <a:gd name="T22" fmla="*/ 0 w 34"/>
                <a:gd name="T23" fmla="*/ 0 h 31"/>
                <a:gd name="T24" fmla="*/ 0 w 34"/>
                <a:gd name="T25" fmla="*/ 0 h 31"/>
                <a:gd name="T26" fmla="*/ 0 w 34"/>
                <a:gd name="T27" fmla="*/ 0 h 31"/>
                <a:gd name="T28" fmla="*/ 0 w 34"/>
                <a:gd name="T29" fmla="*/ 0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19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0 h 37"/>
                <a:gd name="T2" fmla="*/ 0 w 20"/>
                <a:gd name="T3" fmla="*/ 0 h 37"/>
                <a:gd name="T4" fmla="*/ 0 w 20"/>
                <a:gd name="T5" fmla="*/ 0 h 37"/>
                <a:gd name="T6" fmla="*/ 0 w 20"/>
                <a:gd name="T7" fmla="*/ 0 h 37"/>
                <a:gd name="T8" fmla="*/ 0 w 20"/>
                <a:gd name="T9" fmla="*/ 0 h 37"/>
                <a:gd name="T10" fmla="*/ 0 w 20"/>
                <a:gd name="T11" fmla="*/ 0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20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21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w 13"/>
                <a:gd name="T7" fmla="*/ 0 h 18"/>
                <a:gd name="T8" fmla="*/ 0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22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23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0 w 27"/>
                <a:gd name="T3" fmla="*/ 0 h 31"/>
                <a:gd name="T4" fmla="*/ 0 w 27"/>
                <a:gd name="T5" fmla="*/ 0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24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0 w 20"/>
                <a:gd name="T1" fmla="*/ 0 h 1"/>
                <a:gd name="T2" fmla="*/ 0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25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0 h 13"/>
                <a:gd name="T2" fmla="*/ 0 w 34"/>
                <a:gd name="T3" fmla="*/ 0 h 13"/>
                <a:gd name="T4" fmla="*/ 0 w 34"/>
                <a:gd name="T5" fmla="*/ 0 h 13"/>
                <a:gd name="T6" fmla="*/ 0 w 34"/>
                <a:gd name="T7" fmla="*/ 0 h 13"/>
                <a:gd name="T8" fmla="*/ 0 w 34"/>
                <a:gd name="T9" fmla="*/ 0 h 13"/>
                <a:gd name="T10" fmla="*/ 0 w 34"/>
                <a:gd name="T11" fmla="*/ 0 h 13"/>
                <a:gd name="T12" fmla="*/ 0 w 34"/>
                <a:gd name="T13" fmla="*/ 0 h 13"/>
                <a:gd name="T14" fmla="*/ 0 w 34"/>
                <a:gd name="T15" fmla="*/ 0 h 13"/>
                <a:gd name="T16" fmla="*/ 0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26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0 w 34"/>
                <a:gd name="T1" fmla="*/ 0 h 18"/>
                <a:gd name="T2" fmla="*/ 0 w 34"/>
                <a:gd name="T3" fmla="*/ 0 h 18"/>
                <a:gd name="T4" fmla="*/ 0 w 34"/>
                <a:gd name="T5" fmla="*/ 0 h 18"/>
                <a:gd name="T6" fmla="*/ 0 w 34"/>
                <a:gd name="T7" fmla="*/ 0 h 18"/>
                <a:gd name="T8" fmla="*/ 0 w 34"/>
                <a:gd name="T9" fmla="*/ 0 h 18"/>
                <a:gd name="T10" fmla="*/ 0 w 34"/>
                <a:gd name="T11" fmla="*/ 0 h 18"/>
                <a:gd name="T12" fmla="*/ 0 w 34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1 w 59"/>
                <a:gd name="T1" fmla="*/ 0 h 25"/>
                <a:gd name="T2" fmla="*/ 1 w 59"/>
                <a:gd name="T3" fmla="*/ 0 h 25"/>
                <a:gd name="T4" fmla="*/ 1 w 59"/>
                <a:gd name="T5" fmla="*/ 0 h 25"/>
                <a:gd name="T6" fmla="*/ 1 w 59"/>
                <a:gd name="T7" fmla="*/ 0 h 25"/>
                <a:gd name="T8" fmla="*/ 0 w 59"/>
                <a:gd name="T9" fmla="*/ 0 h 25"/>
                <a:gd name="T10" fmla="*/ 0 w 59"/>
                <a:gd name="T11" fmla="*/ 0 h 25"/>
                <a:gd name="T12" fmla="*/ 0 w 59"/>
                <a:gd name="T13" fmla="*/ 0 h 25"/>
                <a:gd name="T14" fmla="*/ 0 w 59"/>
                <a:gd name="T15" fmla="*/ 0 h 25"/>
                <a:gd name="T16" fmla="*/ 0 w 59"/>
                <a:gd name="T17" fmla="*/ 0 h 25"/>
                <a:gd name="T18" fmla="*/ 0 w 59"/>
                <a:gd name="T19" fmla="*/ 0 h 25"/>
                <a:gd name="T20" fmla="*/ 0 w 59"/>
                <a:gd name="T21" fmla="*/ 0 h 25"/>
                <a:gd name="T22" fmla="*/ 0 w 59"/>
                <a:gd name="T23" fmla="*/ 0 h 25"/>
                <a:gd name="T24" fmla="*/ 0 w 59"/>
                <a:gd name="T25" fmla="*/ 0 h 25"/>
                <a:gd name="T26" fmla="*/ 1 w 59"/>
                <a:gd name="T27" fmla="*/ 0 h 25"/>
                <a:gd name="T28" fmla="*/ 1 w 59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259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280275" y="4195564"/>
            <a:ext cx="14288" cy="55563"/>
          </a:xfrm>
          <a:custGeom>
            <a:avLst/>
            <a:gdLst>
              <a:gd name="T0" fmla="*/ 0 w 33"/>
              <a:gd name="T1" fmla="*/ 2147483647 h 43"/>
              <a:gd name="T2" fmla="*/ 2147483647 w 33"/>
              <a:gd name="T3" fmla="*/ 2147483647 h 43"/>
              <a:gd name="T4" fmla="*/ 2147483647 w 33"/>
              <a:gd name="T5" fmla="*/ 2147483647 h 43"/>
              <a:gd name="T6" fmla="*/ 2147483647 w 33"/>
              <a:gd name="T7" fmla="*/ 2147483647 h 43"/>
              <a:gd name="T8" fmla="*/ 2147483647 w 33"/>
              <a:gd name="T9" fmla="*/ 2147483647 h 43"/>
              <a:gd name="T10" fmla="*/ 2147483647 w 33"/>
              <a:gd name="T11" fmla="*/ 2147483647 h 43"/>
              <a:gd name="T12" fmla="*/ 2147483647 w 33"/>
              <a:gd name="T13" fmla="*/ 2147483647 h 43"/>
              <a:gd name="T14" fmla="*/ 2147483647 w 33"/>
              <a:gd name="T15" fmla="*/ 2147483647 h 43"/>
              <a:gd name="T16" fmla="*/ 2147483647 w 33"/>
              <a:gd name="T17" fmla="*/ 0 h 43"/>
              <a:gd name="T18" fmla="*/ 2147483647 w 33"/>
              <a:gd name="T19" fmla="*/ 2147483647 h 43"/>
              <a:gd name="T20" fmla="*/ 2147483647 w 33"/>
              <a:gd name="T21" fmla="*/ 2147483647 h 43"/>
              <a:gd name="T22" fmla="*/ 2147483647 w 33"/>
              <a:gd name="T23" fmla="*/ 2147483647 h 43"/>
              <a:gd name="T24" fmla="*/ 2147483647 w 33"/>
              <a:gd name="T25" fmla="*/ 2147483647 h 43"/>
              <a:gd name="T26" fmla="*/ 2147483647 w 33"/>
              <a:gd name="T27" fmla="*/ 2147483647 h 43"/>
              <a:gd name="T28" fmla="*/ 2147483647 w 33"/>
              <a:gd name="T29" fmla="*/ 2147483647 h 43"/>
              <a:gd name="T30" fmla="*/ 2147483647 w 33"/>
              <a:gd name="T31" fmla="*/ 2147483647 h 43"/>
              <a:gd name="T32" fmla="*/ 2147483647 w 33"/>
              <a:gd name="T33" fmla="*/ 2147483647 h 43"/>
              <a:gd name="T34" fmla="*/ 0 w 33"/>
              <a:gd name="T35" fmla="*/ 2147483647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0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56475" y="4135239"/>
            <a:ext cx="22225" cy="58738"/>
          </a:xfrm>
          <a:custGeom>
            <a:avLst/>
            <a:gdLst>
              <a:gd name="T0" fmla="*/ 0 w 54"/>
              <a:gd name="T1" fmla="*/ 2147483647 h 92"/>
              <a:gd name="T2" fmla="*/ 2147483647 w 54"/>
              <a:gd name="T3" fmla="*/ 2147483647 h 92"/>
              <a:gd name="T4" fmla="*/ 2147483647 w 54"/>
              <a:gd name="T5" fmla="*/ 2147483647 h 92"/>
              <a:gd name="T6" fmla="*/ 2147483647 w 54"/>
              <a:gd name="T7" fmla="*/ 2147483647 h 92"/>
              <a:gd name="T8" fmla="*/ 2147483647 w 54"/>
              <a:gd name="T9" fmla="*/ 2147483647 h 92"/>
              <a:gd name="T10" fmla="*/ 2147483647 w 54"/>
              <a:gd name="T11" fmla="*/ 2147483647 h 92"/>
              <a:gd name="T12" fmla="*/ 2147483647 w 54"/>
              <a:gd name="T13" fmla="*/ 2147483647 h 92"/>
              <a:gd name="T14" fmla="*/ 2147483647 w 54"/>
              <a:gd name="T15" fmla="*/ 2147483647 h 92"/>
              <a:gd name="T16" fmla="*/ 2147483647 w 54"/>
              <a:gd name="T17" fmla="*/ 0 h 92"/>
              <a:gd name="T18" fmla="*/ 2147483647 w 54"/>
              <a:gd name="T19" fmla="*/ 2147483647 h 92"/>
              <a:gd name="T20" fmla="*/ 2147483647 w 54"/>
              <a:gd name="T21" fmla="*/ 2147483647 h 92"/>
              <a:gd name="T22" fmla="*/ 2147483647 w 54"/>
              <a:gd name="T23" fmla="*/ 2147483647 h 92"/>
              <a:gd name="T24" fmla="*/ 2147483647 w 54"/>
              <a:gd name="T25" fmla="*/ 2147483647 h 92"/>
              <a:gd name="T26" fmla="*/ 2147483647 w 54"/>
              <a:gd name="T27" fmla="*/ 2147483647 h 92"/>
              <a:gd name="T28" fmla="*/ 2147483647 w 54"/>
              <a:gd name="T29" fmla="*/ 2147483647 h 92"/>
              <a:gd name="T30" fmla="*/ 2147483647 w 54"/>
              <a:gd name="T31" fmla="*/ 2147483647 h 92"/>
              <a:gd name="T32" fmla="*/ 2147483647 w 54"/>
              <a:gd name="T33" fmla="*/ 2147483647 h 92"/>
              <a:gd name="T34" fmla="*/ 2147483647 w 54"/>
              <a:gd name="T35" fmla="*/ 2147483647 h 92"/>
              <a:gd name="T36" fmla="*/ 2147483647 w 54"/>
              <a:gd name="T37" fmla="*/ 2147483647 h 92"/>
              <a:gd name="T38" fmla="*/ 2147483647 w 54"/>
              <a:gd name="T39" fmla="*/ 2147483647 h 92"/>
              <a:gd name="T40" fmla="*/ 2147483647 w 54"/>
              <a:gd name="T41" fmla="*/ 2147483647 h 92"/>
              <a:gd name="T42" fmla="*/ 2147483647 w 54"/>
              <a:gd name="T43" fmla="*/ 2147483647 h 92"/>
              <a:gd name="T44" fmla="*/ 2147483647 w 54"/>
              <a:gd name="T45" fmla="*/ 2147483647 h 92"/>
              <a:gd name="T46" fmla="*/ 2147483647 w 54"/>
              <a:gd name="T47" fmla="*/ 2147483647 h 92"/>
              <a:gd name="T48" fmla="*/ 2147483647 w 54"/>
              <a:gd name="T49" fmla="*/ 2147483647 h 92"/>
              <a:gd name="T50" fmla="*/ 0 w 54"/>
              <a:gd name="T51" fmla="*/ 2147483647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1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404100" y="4014589"/>
            <a:ext cx="23813" cy="57150"/>
          </a:xfrm>
          <a:custGeom>
            <a:avLst/>
            <a:gdLst>
              <a:gd name="T0" fmla="*/ 0 w 60"/>
              <a:gd name="T1" fmla="*/ 0 h 18"/>
              <a:gd name="T2" fmla="*/ 2147483647 w 60"/>
              <a:gd name="T3" fmla="*/ 2147483647 h 18"/>
              <a:gd name="T4" fmla="*/ 2147483647 w 60"/>
              <a:gd name="T5" fmla="*/ 2147483647 h 18"/>
              <a:gd name="T6" fmla="*/ 2147483647 w 60"/>
              <a:gd name="T7" fmla="*/ 2147483647 h 18"/>
              <a:gd name="T8" fmla="*/ 2147483647 w 60"/>
              <a:gd name="T9" fmla="*/ 2147483647 h 18"/>
              <a:gd name="T10" fmla="*/ 2147483647 w 60"/>
              <a:gd name="T11" fmla="*/ 2147483647 h 18"/>
              <a:gd name="T12" fmla="*/ 2147483647 w 60"/>
              <a:gd name="T13" fmla="*/ 2147483647 h 18"/>
              <a:gd name="T14" fmla="*/ 2147483647 w 60"/>
              <a:gd name="T15" fmla="*/ 2147483647 h 18"/>
              <a:gd name="T16" fmla="*/ 2147483647 w 60"/>
              <a:gd name="T17" fmla="*/ 2147483647 h 18"/>
              <a:gd name="T18" fmla="*/ 2147483647 w 60"/>
              <a:gd name="T19" fmla="*/ 2147483647 h 18"/>
              <a:gd name="T20" fmla="*/ 0 w 60"/>
              <a:gd name="T21" fmla="*/ 2147483647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2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388225" y="3984427"/>
            <a:ext cx="25400" cy="57150"/>
          </a:xfrm>
          <a:custGeom>
            <a:avLst/>
            <a:gdLst>
              <a:gd name="T0" fmla="*/ 0 w 66"/>
              <a:gd name="T1" fmla="*/ 2147483647 h 18"/>
              <a:gd name="T2" fmla="*/ 2147483647 w 66"/>
              <a:gd name="T3" fmla="*/ 2147483647 h 18"/>
              <a:gd name="T4" fmla="*/ 2147483647 w 66"/>
              <a:gd name="T5" fmla="*/ 2147483647 h 18"/>
              <a:gd name="T6" fmla="*/ 2147483647 w 66"/>
              <a:gd name="T7" fmla="*/ 2147483647 h 18"/>
              <a:gd name="T8" fmla="*/ 2147483647 w 66"/>
              <a:gd name="T9" fmla="*/ 2147483647 h 18"/>
              <a:gd name="T10" fmla="*/ 2147483647 w 66"/>
              <a:gd name="T11" fmla="*/ 2147483647 h 18"/>
              <a:gd name="T12" fmla="*/ 2147483647 w 66"/>
              <a:gd name="T13" fmla="*/ 2147483647 h 18"/>
              <a:gd name="T14" fmla="*/ 2147483647 w 66"/>
              <a:gd name="T15" fmla="*/ 0 h 18"/>
              <a:gd name="T16" fmla="*/ 0 w 66"/>
              <a:gd name="T17" fmla="*/ 2147483647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3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213600" y="3881239"/>
            <a:ext cx="7938" cy="57150"/>
          </a:xfrm>
          <a:custGeom>
            <a:avLst/>
            <a:gdLst>
              <a:gd name="T0" fmla="*/ 0 w 17"/>
              <a:gd name="T1" fmla="*/ 2147483647 h 42"/>
              <a:gd name="T2" fmla="*/ 2147483647 w 17"/>
              <a:gd name="T3" fmla="*/ 2147483647 h 42"/>
              <a:gd name="T4" fmla="*/ 2147483647 w 17"/>
              <a:gd name="T5" fmla="*/ 2147483647 h 42"/>
              <a:gd name="T6" fmla="*/ 2147483647 w 17"/>
              <a:gd name="T7" fmla="*/ 2147483647 h 42"/>
              <a:gd name="T8" fmla="*/ 2147483647 w 17"/>
              <a:gd name="T9" fmla="*/ 2147483647 h 42"/>
              <a:gd name="T10" fmla="*/ 2147483647 w 17"/>
              <a:gd name="T11" fmla="*/ 2147483647 h 42"/>
              <a:gd name="T12" fmla="*/ 2147483647 w 17"/>
              <a:gd name="T13" fmla="*/ 2147483647 h 42"/>
              <a:gd name="T14" fmla="*/ 2147483647 w 17"/>
              <a:gd name="T15" fmla="*/ 0 h 42"/>
              <a:gd name="T16" fmla="*/ 0 w 17"/>
              <a:gd name="T17" fmla="*/ 2147483647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4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40575" y="4016177"/>
            <a:ext cx="30163" cy="58737"/>
          </a:xfrm>
          <a:custGeom>
            <a:avLst/>
            <a:gdLst>
              <a:gd name="T0" fmla="*/ 2147483647 w 72"/>
              <a:gd name="T1" fmla="*/ 2147483647 h 29"/>
              <a:gd name="T2" fmla="*/ 2147483647 w 72"/>
              <a:gd name="T3" fmla="*/ 2147483647 h 29"/>
              <a:gd name="T4" fmla="*/ 2147483647 w 72"/>
              <a:gd name="T5" fmla="*/ 2147483647 h 29"/>
              <a:gd name="T6" fmla="*/ 2147483647 w 72"/>
              <a:gd name="T7" fmla="*/ 2147483647 h 29"/>
              <a:gd name="T8" fmla="*/ 2147483647 w 72"/>
              <a:gd name="T9" fmla="*/ 2147483647 h 29"/>
              <a:gd name="T10" fmla="*/ 2147483647 w 72"/>
              <a:gd name="T11" fmla="*/ 2147483647 h 29"/>
              <a:gd name="T12" fmla="*/ 2147483647 w 72"/>
              <a:gd name="T13" fmla="*/ 2147483647 h 29"/>
              <a:gd name="T14" fmla="*/ 2147483647 w 72"/>
              <a:gd name="T15" fmla="*/ 2147483647 h 29"/>
              <a:gd name="T16" fmla="*/ 2147483647 w 72"/>
              <a:gd name="T17" fmla="*/ 2147483647 h 29"/>
              <a:gd name="T18" fmla="*/ 2147483647 w 72"/>
              <a:gd name="T19" fmla="*/ 0 h 29"/>
              <a:gd name="T20" fmla="*/ 2147483647 w 72"/>
              <a:gd name="T21" fmla="*/ 0 h 29"/>
              <a:gd name="T22" fmla="*/ 2147483647 w 72"/>
              <a:gd name="T23" fmla="*/ 2147483647 h 29"/>
              <a:gd name="T24" fmla="*/ 2147483647 w 72"/>
              <a:gd name="T25" fmla="*/ 2147483647 h 29"/>
              <a:gd name="T26" fmla="*/ 2147483647 w 72"/>
              <a:gd name="T27" fmla="*/ 2147483647 h 29"/>
              <a:gd name="T28" fmla="*/ 2147483647 w 72"/>
              <a:gd name="T29" fmla="*/ 2147483647 h 29"/>
              <a:gd name="T30" fmla="*/ 0 w 72"/>
              <a:gd name="T31" fmla="*/ 2147483647 h 29"/>
              <a:gd name="T32" fmla="*/ 2147483647 w 72"/>
              <a:gd name="T33" fmla="*/ 2147483647 h 29"/>
              <a:gd name="T34" fmla="*/ 2147483647 w 72"/>
              <a:gd name="T35" fmla="*/ 214748364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5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148513" y="4201914"/>
            <a:ext cx="19050" cy="55563"/>
          </a:xfrm>
          <a:custGeom>
            <a:avLst/>
            <a:gdLst>
              <a:gd name="T0" fmla="*/ 0 w 46"/>
              <a:gd name="T1" fmla="*/ 0 h 37"/>
              <a:gd name="T2" fmla="*/ 2147483647 w 46"/>
              <a:gd name="T3" fmla="*/ 2147483647 h 37"/>
              <a:gd name="T4" fmla="*/ 2147483647 w 46"/>
              <a:gd name="T5" fmla="*/ 2147483647 h 37"/>
              <a:gd name="T6" fmla="*/ 2147483647 w 46"/>
              <a:gd name="T7" fmla="*/ 2147483647 h 37"/>
              <a:gd name="T8" fmla="*/ 2147483647 w 46"/>
              <a:gd name="T9" fmla="*/ 2147483647 h 37"/>
              <a:gd name="T10" fmla="*/ 2147483647 w 46"/>
              <a:gd name="T11" fmla="*/ 2147483647 h 37"/>
              <a:gd name="T12" fmla="*/ 2147483647 w 46"/>
              <a:gd name="T13" fmla="*/ 2147483647 h 37"/>
              <a:gd name="T14" fmla="*/ 2147483647 w 46"/>
              <a:gd name="T15" fmla="*/ 2147483647 h 37"/>
              <a:gd name="T16" fmla="*/ 2147483647 w 46"/>
              <a:gd name="T17" fmla="*/ 2147483647 h 37"/>
              <a:gd name="T18" fmla="*/ 2147483647 w 46"/>
              <a:gd name="T19" fmla="*/ 2147483647 h 37"/>
              <a:gd name="T20" fmla="*/ 2147483647 w 46"/>
              <a:gd name="T21" fmla="*/ 2147483647 h 37"/>
              <a:gd name="T22" fmla="*/ 2147483647 w 46"/>
              <a:gd name="T23" fmla="*/ 2147483647 h 37"/>
              <a:gd name="T24" fmla="*/ 2147483647 w 46"/>
              <a:gd name="T25" fmla="*/ 2147483647 h 37"/>
              <a:gd name="T26" fmla="*/ 2147483647 w 46"/>
              <a:gd name="T27" fmla="*/ 2147483647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6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261225" y="4020939"/>
            <a:ext cx="11113" cy="57150"/>
          </a:xfrm>
          <a:custGeom>
            <a:avLst/>
            <a:gdLst>
              <a:gd name="T0" fmla="*/ 0 w 26"/>
              <a:gd name="T1" fmla="*/ 0 h 19"/>
              <a:gd name="T2" fmla="*/ 2147483647 w 26"/>
              <a:gd name="T3" fmla="*/ 2147483647 h 19"/>
              <a:gd name="T4" fmla="*/ 2147483647 w 26"/>
              <a:gd name="T5" fmla="*/ 2147483647 h 19"/>
              <a:gd name="T6" fmla="*/ 2147483647 w 26"/>
              <a:gd name="T7" fmla="*/ 0 h 19"/>
              <a:gd name="T8" fmla="*/ 2147483647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7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21525" y="4016177"/>
            <a:ext cx="19050" cy="58737"/>
          </a:xfrm>
          <a:custGeom>
            <a:avLst/>
            <a:gdLst>
              <a:gd name="T0" fmla="*/ 2147483647 w 43"/>
              <a:gd name="T1" fmla="*/ 0 h 31"/>
              <a:gd name="T2" fmla="*/ 2147483647 w 43"/>
              <a:gd name="T3" fmla="*/ 2147483647 h 31"/>
              <a:gd name="T4" fmla="*/ 0 w 43"/>
              <a:gd name="T5" fmla="*/ 2147483647 h 31"/>
              <a:gd name="T6" fmla="*/ 0 w 43"/>
              <a:gd name="T7" fmla="*/ 2147483647 h 31"/>
              <a:gd name="T8" fmla="*/ 0 w 43"/>
              <a:gd name="T9" fmla="*/ 2147483647 h 31"/>
              <a:gd name="T10" fmla="*/ 0 w 43"/>
              <a:gd name="T11" fmla="*/ 2147483647 h 31"/>
              <a:gd name="T12" fmla="*/ 2147483647 w 43"/>
              <a:gd name="T13" fmla="*/ 2147483647 h 31"/>
              <a:gd name="T14" fmla="*/ 2147483647 w 43"/>
              <a:gd name="T15" fmla="*/ 2147483647 h 31"/>
              <a:gd name="T16" fmla="*/ 2147483647 w 43"/>
              <a:gd name="T17" fmla="*/ 2147483647 h 31"/>
              <a:gd name="T18" fmla="*/ 2147483647 w 43"/>
              <a:gd name="T19" fmla="*/ 2147483647 h 31"/>
              <a:gd name="T20" fmla="*/ 2147483647 w 43"/>
              <a:gd name="T21" fmla="*/ 0 h 31"/>
              <a:gd name="T22" fmla="*/ 2147483647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8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165975" y="4063802"/>
            <a:ext cx="30163" cy="57150"/>
          </a:xfrm>
          <a:custGeom>
            <a:avLst/>
            <a:gdLst>
              <a:gd name="T0" fmla="*/ 2147483647 w 71"/>
              <a:gd name="T1" fmla="*/ 2147483647 h 49"/>
              <a:gd name="T2" fmla="*/ 2147483647 w 71"/>
              <a:gd name="T3" fmla="*/ 2147483647 h 49"/>
              <a:gd name="T4" fmla="*/ 2147483647 w 71"/>
              <a:gd name="T5" fmla="*/ 2147483647 h 49"/>
              <a:gd name="T6" fmla="*/ 2147483647 w 71"/>
              <a:gd name="T7" fmla="*/ 2147483647 h 49"/>
              <a:gd name="T8" fmla="*/ 2147483647 w 71"/>
              <a:gd name="T9" fmla="*/ 2147483647 h 49"/>
              <a:gd name="T10" fmla="*/ 2147483647 w 71"/>
              <a:gd name="T11" fmla="*/ 2147483647 h 49"/>
              <a:gd name="T12" fmla="*/ 2147483647 w 71"/>
              <a:gd name="T13" fmla="*/ 2147483647 h 49"/>
              <a:gd name="T14" fmla="*/ 2147483647 w 71"/>
              <a:gd name="T15" fmla="*/ 2147483647 h 49"/>
              <a:gd name="T16" fmla="*/ 2147483647 w 71"/>
              <a:gd name="T17" fmla="*/ 2147483647 h 49"/>
              <a:gd name="T18" fmla="*/ 2147483647 w 71"/>
              <a:gd name="T19" fmla="*/ 2147483647 h 49"/>
              <a:gd name="T20" fmla="*/ 2147483647 w 71"/>
              <a:gd name="T21" fmla="*/ 2147483647 h 49"/>
              <a:gd name="T22" fmla="*/ 2147483647 w 71"/>
              <a:gd name="T23" fmla="*/ 2147483647 h 49"/>
              <a:gd name="T24" fmla="*/ 2147483647 w 71"/>
              <a:gd name="T25" fmla="*/ 2147483647 h 49"/>
              <a:gd name="T26" fmla="*/ 2147483647 w 71"/>
              <a:gd name="T27" fmla="*/ 2147483647 h 49"/>
              <a:gd name="T28" fmla="*/ 2147483647 w 71"/>
              <a:gd name="T29" fmla="*/ 2147483647 h 49"/>
              <a:gd name="T30" fmla="*/ 2147483647 w 71"/>
              <a:gd name="T31" fmla="*/ 2147483647 h 49"/>
              <a:gd name="T32" fmla="*/ 2147483647 w 71"/>
              <a:gd name="T33" fmla="*/ 2147483647 h 49"/>
              <a:gd name="T34" fmla="*/ 2147483647 w 71"/>
              <a:gd name="T35" fmla="*/ 2147483647 h 49"/>
              <a:gd name="T36" fmla="*/ 2147483647 w 71"/>
              <a:gd name="T37" fmla="*/ 2147483647 h 49"/>
              <a:gd name="T38" fmla="*/ 2147483647 w 71"/>
              <a:gd name="T39" fmla="*/ 2147483647 h 49"/>
              <a:gd name="T40" fmla="*/ 2147483647 w 71"/>
              <a:gd name="T41" fmla="*/ 2147483647 h 49"/>
              <a:gd name="T42" fmla="*/ 2147483647 w 71"/>
              <a:gd name="T43" fmla="*/ 2147483647 h 49"/>
              <a:gd name="T44" fmla="*/ 2147483647 w 71"/>
              <a:gd name="T45" fmla="*/ 0 h 49"/>
              <a:gd name="T46" fmla="*/ 2147483647 w 71"/>
              <a:gd name="T47" fmla="*/ 2147483647 h 49"/>
              <a:gd name="T48" fmla="*/ 2147483647 w 71"/>
              <a:gd name="T49" fmla="*/ 2147483647 h 49"/>
              <a:gd name="T50" fmla="*/ 0 w 71"/>
              <a:gd name="T51" fmla="*/ 2147483647 h 49"/>
              <a:gd name="T52" fmla="*/ 0 w 71"/>
              <a:gd name="T53" fmla="*/ 2147483647 h 49"/>
              <a:gd name="T54" fmla="*/ 2147483647 w 71"/>
              <a:gd name="T55" fmla="*/ 2147483647 h 49"/>
              <a:gd name="T56" fmla="*/ 2147483647 w 71"/>
              <a:gd name="T57" fmla="*/ 2147483647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69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967538" y="4267002"/>
            <a:ext cx="46037" cy="58737"/>
          </a:xfrm>
          <a:custGeom>
            <a:avLst/>
            <a:gdLst>
              <a:gd name="T0" fmla="*/ 2147483647 w 112"/>
              <a:gd name="T1" fmla="*/ 2147483647 h 26"/>
              <a:gd name="T2" fmla="*/ 2147483647 w 112"/>
              <a:gd name="T3" fmla="*/ 2147483647 h 26"/>
              <a:gd name="T4" fmla="*/ 2147483647 w 112"/>
              <a:gd name="T5" fmla="*/ 2147483647 h 26"/>
              <a:gd name="T6" fmla="*/ 2147483647 w 112"/>
              <a:gd name="T7" fmla="*/ 2147483647 h 26"/>
              <a:gd name="T8" fmla="*/ 2147483647 w 112"/>
              <a:gd name="T9" fmla="*/ 2147483647 h 26"/>
              <a:gd name="T10" fmla="*/ 2147483647 w 112"/>
              <a:gd name="T11" fmla="*/ 2147483647 h 26"/>
              <a:gd name="T12" fmla="*/ 2147483647 w 112"/>
              <a:gd name="T13" fmla="*/ 2147483647 h 26"/>
              <a:gd name="T14" fmla="*/ 2147483647 w 112"/>
              <a:gd name="T15" fmla="*/ 2147483647 h 26"/>
              <a:gd name="T16" fmla="*/ 2147483647 w 112"/>
              <a:gd name="T17" fmla="*/ 2147483647 h 26"/>
              <a:gd name="T18" fmla="*/ 2147483647 w 112"/>
              <a:gd name="T19" fmla="*/ 2147483647 h 26"/>
              <a:gd name="T20" fmla="*/ 2147483647 w 112"/>
              <a:gd name="T21" fmla="*/ 2147483647 h 26"/>
              <a:gd name="T22" fmla="*/ 2147483647 w 112"/>
              <a:gd name="T23" fmla="*/ 2147483647 h 26"/>
              <a:gd name="T24" fmla="*/ 2147483647 w 112"/>
              <a:gd name="T25" fmla="*/ 2147483647 h 26"/>
              <a:gd name="T26" fmla="*/ 2147483647 w 112"/>
              <a:gd name="T27" fmla="*/ 2147483647 h 26"/>
              <a:gd name="T28" fmla="*/ 2147483647 w 112"/>
              <a:gd name="T29" fmla="*/ 2147483647 h 26"/>
              <a:gd name="T30" fmla="*/ 2147483647 w 112"/>
              <a:gd name="T31" fmla="*/ 2147483647 h 26"/>
              <a:gd name="T32" fmla="*/ 2147483647 w 112"/>
              <a:gd name="T33" fmla="*/ 2147483647 h 26"/>
              <a:gd name="T34" fmla="*/ 2147483647 w 112"/>
              <a:gd name="T35" fmla="*/ 2147483647 h 26"/>
              <a:gd name="T36" fmla="*/ 0 w 112"/>
              <a:gd name="T37" fmla="*/ 2147483647 h 26"/>
              <a:gd name="T38" fmla="*/ 2147483647 w 112"/>
              <a:gd name="T39" fmla="*/ 2147483647 h 26"/>
              <a:gd name="T40" fmla="*/ 2147483647 w 112"/>
              <a:gd name="T41" fmla="*/ 2147483647 h 26"/>
              <a:gd name="T42" fmla="*/ 2147483647 w 112"/>
              <a:gd name="T43" fmla="*/ 2147483647 h 26"/>
              <a:gd name="T44" fmla="*/ 2147483647 w 112"/>
              <a:gd name="T45" fmla="*/ 0 h 26"/>
              <a:gd name="T46" fmla="*/ 2147483647 w 112"/>
              <a:gd name="T47" fmla="*/ 2147483647 h 26"/>
              <a:gd name="T48" fmla="*/ 2147483647 w 112"/>
              <a:gd name="T49" fmla="*/ 2147483647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70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065963" y="4305102"/>
            <a:ext cx="14287" cy="58737"/>
          </a:xfrm>
          <a:custGeom>
            <a:avLst/>
            <a:gdLst>
              <a:gd name="T0" fmla="*/ 0 w 41"/>
              <a:gd name="T1" fmla="*/ 0 h 25"/>
              <a:gd name="T2" fmla="*/ 2147483647 w 41"/>
              <a:gd name="T3" fmla="*/ 0 h 25"/>
              <a:gd name="T4" fmla="*/ 2147483647 w 41"/>
              <a:gd name="T5" fmla="*/ 2147483647 h 25"/>
              <a:gd name="T6" fmla="*/ 2147483647 w 41"/>
              <a:gd name="T7" fmla="*/ 2147483647 h 25"/>
              <a:gd name="T8" fmla="*/ 2147483647 w 41"/>
              <a:gd name="T9" fmla="*/ 2147483647 h 25"/>
              <a:gd name="T10" fmla="*/ 0 w 41"/>
              <a:gd name="T11" fmla="*/ 214748364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71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899275" y="4236839"/>
            <a:ext cx="36513" cy="55563"/>
          </a:xfrm>
          <a:custGeom>
            <a:avLst/>
            <a:gdLst>
              <a:gd name="T0" fmla="*/ 0 w 81"/>
              <a:gd name="T1" fmla="*/ 2147483647 h 31"/>
              <a:gd name="T2" fmla="*/ 0 w 81"/>
              <a:gd name="T3" fmla="*/ 2147483647 h 31"/>
              <a:gd name="T4" fmla="*/ 0 w 81"/>
              <a:gd name="T5" fmla="*/ 2147483647 h 31"/>
              <a:gd name="T6" fmla="*/ 0 w 81"/>
              <a:gd name="T7" fmla="*/ 2147483647 h 31"/>
              <a:gd name="T8" fmla="*/ 2147483647 w 81"/>
              <a:gd name="T9" fmla="*/ 2147483647 h 31"/>
              <a:gd name="T10" fmla="*/ 2147483647 w 81"/>
              <a:gd name="T11" fmla="*/ 2147483647 h 31"/>
              <a:gd name="T12" fmla="*/ 2147483647 w 81"/>
              <a:gd name="T13" fmla="*/ 2147483647 h 31"/>
              <a:gd name="T14" fmla="*/ 2147483647 w 81"/>
              <a:gd name="T15" fmla="*/ 2147483647 h 31"/>
              <a:gd name="T16" fmla="*/ 2147483647 w 81"/>
              <a:gd name="T17" fmla="*/ 0 h 31"/>
              <a:gd name="T18" fmla="*/ 2147483647 w 81"/>
              <a:gd name="T19" fmla="*/ 2147483647 h 31"/>
              <a:gd name="T20" fmla="*/ 2147483647 w 81"/>
              <a:gd name="T21" fmla="*/ 2147483647 h 31"/>
              <a:gd name="T22" fmla="*/ 2147483647 w 81"/>
              <a:gd name="T23" fmla="*/ 2147483647 h 31"/>
              <a:gd name="T24" fmla="*/ 2147483647 w 81"/>
              <a:gd name="T25" fmla="*/ 2147483647 h 31"/>
              <a:gd name="T26" fmla="*/ 2147483647 w 81"/>
              <a:gd name="T27" fmla="*/ 2147483647 h 31"/>
              <a:gd name="T28" fmla="*/ 2147483647 w 81"/>
              <a:gd name="T29" fmla="*/ 2147483647 h 31"/>
              <a:gd name="T30" fmla="*/ 2147483647 w 81"/>
              <a:gd name="T31" fmla="*/ 2147483647 h 31"/>
              <a:gd name="T32" fmla="*/ 2147483647 w 81"/>
              <a:gd name="T33" fmla="*/ 2147483647 h 31"/>
              <a:gd name="T34" fmla="*/ 2147483647 w 81"/>
              <a:gd name="T35" fmla="*/ 2147483647 h 31"/>
              <a:gd name="T36" fmla="*/ 2147483647 w 81"/>
              <a:gd name="T37" fmla="*/ 2147483647 h 31"/>
              <a:gd name="T38" fmla="*/ 2147483647 w 81"/>
              <a:gd name="T39" fmla="*/ 2147483647 h 31"/>
              <a:gd name="T40" fmla="*/ 2147483647 w 81"/>
              <a:gd name="T41" fmla="*/ 2147483647 h 31"/>
              <a:gd name="T42" fmla="*/ 2147483647 w 81"/>
              <a:gd name="T43" fmla="*/ 2147483647 h 31"/>
              <a:gd name="T44" fmla="*/ 2147483647 w 81"/>
              <a:gd name="T45" fmla="*/ 2147483647 h 31"/>
              <a:gd name="T46" fmla="*/ 0 w 81"/>
              <a:gd name="T47" fmla="*/ 2147483647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72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43725" y="4222552"/>
            <a:ext cx="39688" cy="55562"/>
          </a:xfrm>
          <a:custGeom>
            <a:avLst/>
            <a:gdLst>
              <a:gd name="T0" fmla="*/ 2147483647 w 89"/>
              <a:gd name="T1" fmla="*/ 2147483647 h 49"/>
              <a:gd name="T2" fmla="*/ 2147483647 w 89"/>
              <a:gd name="T3" fmla="*/ 2147483647 h 49"/>
              <a:gd name="T4" fmla="*/ 2147483647 w 89"/>
              <a:gd name="T5" fmla="*/ 2147483647 h 49"/>
              <a:gd name="T6" fmla="*/ 2147483647 w 89"/>
              <a:gd name="T7" fmla="*/ 2147483647 h 49"/>
              <a:gd name="T8" fmla="*/ 2147483647 w 89"/>
              <a:gd name="T9" fmla="*/ 2147483647 h 49"/>
              <a:gd name="T10" fmla="*/ 2147483647 w 89"/>
              <a:gd name="T11" fmla="*/ 2147483647 h 49"/>
              <a:gd name="T12" fmla="*/ 2147483647 w 89"/>
              <a:gd name="T13" fmla="*/ 2147483647 h 49"/>
              <a:gd name="T14" fmla="*/ 2147483647 w 89"/>
              <a:gd name="T15" fmla="*/ 2147483647 h 49"/>
              <a:gd name="T16" fmla="*/ 2147483647 w 89"/>
              <a:gd name="T17" fmla="*/ 2147483647 h 49"/>
              <a:gd name="T18" fmla="*/ 2147483647 w 89"/>
              <a:gd name="T19" fmla="*/ 0 h 49"/>
              <a:gd name="T20" fmla="*/ 2147483647 w 89"/>
              <a:gd name="T21" fmla="*/ 2147483647 h 49"/>
              <a:gd name="T22" fmla="*/ 2147483647 w 89"/>
              <a:gd name="T23" fmla="*/ 2147483647 h 49"/>
              <a:gd name="T24" fmla="*/ 0 w 89"/>
              <a:gd name="T25" fmla="*/ 2147483647 h 49"/>
              <a:gd name="T26" fmla="*/ 0 w 89"/>
              <a:gd name="T27" fmla="*/ 2147483647 h 49"/>
              <a:gd name="T28" fmla="*/ 0 w 89"/>
              <a:gd name="T29" fmla="*/ 2147483647 h 49"/>
              <a:gd name="T30" fmla="*/ 2147483647 w 89"/>
              <a:gd name="T31" fmla="*/ 2147483647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73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996113" y="4232077"/>
            <a:ext cx="36512" cy="58737"/>
          </a:xfrm>
          <a:custGeom>
            <a:avLst/>
            <a:gdLst>
              <a:gd name="T0" fmla="*/ 0 w 86"/>
              <a:gd name="T1" fmla="*/ 2147483647 h 46"/>
              <a:gd name="T2" fmla="*/ 2147483647 w 86"/>
              <a:gd name="T3" fmla="*/ 2147483647 h 46"/>
              <a:gd name="T4" fmla="*/ 2147483647 w 86"/>
              <a:gd name="T5" fmla="*/ 2147483647 h 46"/>
              <a:gd name="T6" fmla="*/ 2147483647 w 86"/>
              <a:gd name="T7" fmla="*/ 2147483647 h 46"/>
              <a:gd name="T8" fmla="*/ 2147483647 w 86"/>
              <a:gd name="T9" fmla="*/ 2147483647 h 46"/>
              <a:gd name="T10" fmla="*/ 2147483647 w 86"/>
              <a:gd name="T11" fmla="*/ 2147483647 h 46"/>
              <a:gd name="T12" fmla="*/ 2147483647 w 86"/>
              <a:gd name="T13" fmla="*/ 2147483647 h 46"/>
              <a:gd name="T14" fmla="*/ 2147483647 w 86"/>
              <a:gd name="T15" fmla="*/ 2147483647 h 46"/>
              <a:gd name="T16" fmla="*/ 2147483647 w 86"/>
              <a:gd name="T17" fmla="*/ 2147483647 h 46"/>
              <a:gd name="T18" fmla="*/ 2147483647 w 86"/>
              <a:gd name="T19" fmla="*/ 2147483647 h 46"/>
              <a:gd name="T20" fmla="*/ 2147483647 w 86"/>
              <a:gd name="T21" fmla="*/ 2147483647 h 46"/>
              <a:gd name="T22" fmla="*/ 2147483647 w 86"/>
              <a:gd name="T23" fmla="*/ 2147483647 h 46"/>
              <a:gd name="T24" fmla="*/ 2147483647 w 86"/>
              <a:gd name="T25" fmla="*/ 2147483647 h 46"/>
              <a:gd name="T26" fmla="*/ 2147483647 w 86"/>
              <a:gd name="T27" fmla="*/ 2147483647 h 46"/>
              <a:gd name="T28" fmla="*/ 2147483647 w 86"/>
              <a:gd name="T29" fmla="*/ 2147483647 h 46"/>
              <a:gd name="T30" fmla="*/ 2147483647 w 86"/>
              <a:gd name="T31" fmla="*/ 2147483647 h 46"/>
              <a:gd name="T32" fmla="*/ 2147483647 w 86"/>
              <a:gd name="T33" fmla="*/ 2147483647 h 46"/>
              <a:gd name="T34" fmla="*/ 2147483647 w 86"/>
              <a:gd name="T35" fmla="*/ 2147483647 h 46"/>
              <a:gd name="T36" fmla="*/ 2147483647 w 86"/>
              <a:gd name="T37" fmla="*/ 2147483647 h 46"/>
              <a:gd name="T38" fmla="*/ 2147483647 w 86"/>
              <a:gd name="T39" fmla="*/ 2147483647 h 46"/>
              <a:gd name="T40" fmla="*/ 2147483647 w 86"/>
              <a:gd name="T41" fmla="*/ 2147483647 h 46"/>
              <a:gd name="T42" fmla="*/ 2147483647 w 86"/>
              <a:gd name="T43" fmla="*/ 0 h 46"/>
              <a:gd name="T44" fmla="*/ 2147483647 w 86"/>
              <a:gd name="T45" fmla="*/ 0 h 46"/>
              <a:gd name="T46" fmla="*/ 2147483647 w 86"/>
              <a:gd name="T47" fmla="*/ 2147483647 h 46"/>
              <a:gd name="T48" fmla="*/ 2147483647 w 86"/>
              <a:gd name="T49" fmla="*/ 2147483647 h 46"/>
              <a:gd name="T50" fmla="*/ 2147483647 w 86"/>
              <a:gd name="T51" fmla="*/ 2147483647 h 46"/>
              <a:gd name="T52" fmla="*/ 2147483647 w 86"/>
              <a:gd name="T53" fmla="*/ 2147483647 h 46"/>
              <a:gd name="T54" fmla="*/ 2147483647 w 86"/>
              <a:gd name="T55" fmla="*/ 2147483647 h 46"/>
              <a:gd name="T56" fmla="*/ 0 w 86"/>
              <a:gd name="T57" fmla="*/ 2147483647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74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48500" y="4236839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2147483647 h 18"/>
              <a:gd name="T4" fmla="*/ 2147483647 w 59"/>
              <a:gd name="T5" fmla="*/ 2147483647 h 18"/>
              <a:gd name="T6" fmla="*/ 2147483647 w 59"/>
              <a:gd name="T7" fmla="*/ 2147483647 h 18"/>
              <a:gd name="T8" fmla="*/ 2147483647 w 59"/>
              <a:gd name="T9" fmla="*/ 2147483647 h 18"/>
              <a:gd name="T10" fmla="*/ 2147483647 w 59"/>
              <a:gd name="T11" fmla="*/ 2147483647 h 18"/>
              <a:gd name="T12" fmla="*/ 2147483647 w 59"/>
              <a:gd name="T13" fmla="*/ 2147483647 h 18"/>
              <a:gd name="T14" fmla="*/ 2147483647 w 59"/>
              <a:gd name="T15" fmla="*/ 2147483647 h 18"/>
              <a:gd name="T16" fmla="*/ 2147483647 w 59"/>
              <a:gd name="T17" fmla="*/ 2147483647 h 18"/>
              <a:gd name="T18" fmla="*/ 2147483647 w 59"/>
              <a:gd name="T19" fmla="*/ 2147483647 h 18"/>
              <a:gd name="T20" fmla="*/ 2147483647 w 59"/>
              <a:gd name="T21" fmla="*/ 21474836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75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121525" y="4228902"/>
            <a:ext cx="1588" cy="55562"/>
          </a:xfrm>
          <a:custGeom>
            <a:avLst/>
            <a:gdLst>
              <a:gd name="T0" fmla="*/ 2147483647 w 4"/>
              <a:gd name="T1" fmla="*/ 2147483647 h 19"/>
              <a:gd name="T2" fmla="*/ 2147483647 w 4"/>
              <a:gd name="T3" fmla="*/ 0 h 19"/>
              <a:gd name="T4" fmla="*/ 2147483647 w 4"/>
              <a:gd name="T5" fmla="*/ 2147483647 h 19"/>
              <a:gd name="T6" fmla="*/ 2147483647 w 4"/>
              <a:gd name="T7" fmla="*/ 2147483647 h 19"/>
              <a:gd name="T8" fmla="*/ 0 w 4"/>
              <a:gd name="T9" fmla="*/ 2147483647 h 19"/>
              <a:gd name="T10" fmla="*/ 0 w 4"/>
              <a:gd name="T11" fmla="*/ 2147483647 h 19"/>
              <a:gd name="T12" fmla="*/ 0 w 4"/>
              <a:gd name="T13" fmla="*/ 2147483647 h 19"/>
              <a:gd name="T14" fmla="*/ 2147483647 w 4"/>
              <a:gd name="T15" fmla="*/ 2147483647 h 19"/>
              <a:gd name="T16" fmla="*/ 2147483647 w 4"/>
              <a:gd name="T17" fmla="*/ 2147483647 h 19"/>
              <a:gd name="T18" fmla="*/ 2147483647 w 4"/>
              <a:gd name="T19" fmla="*/ 2147483647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76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96075" y="4043164"/>
            <a:ext cx="20638" cy="58738"/>
          </a:xfrm>
          <a:custGeom>
            <a:avLst/>
            <a:gdLst>
              <a:gd name="T0" fmla="*/ 0 w 46"/>
              <a:gd name="T1" fmla="*/ 2147483647 h 50"/>
              <a:gd name="T2" fmla="*/ 2147483647 w 46"/>
              <a:gd name="T3" fmla="*/ 0 h 50"/>
              <a:gd name="T4" fmla="*/ 2147483647 w 46"/>
              <a:gd name="T5" fmla="*/ 2147483647 h 50"/>
              <a:gd name="T6" fmla="*/ 2147483647 w 46"/>
              <a:gd name="T7" fmla="*/ 2147483647 h 50"/>
              <a:gd name="T8" fmla="*/ 2147483647 w 46"/>
              <a:gd name="T9" fmla="*/ 2147483647 h 50"/>
              <a:gd name="T10" fmla="*/ 2147483647 w 46"/>
              <a:gd name="T11" fmla="*/ 2147483647 h 50"/>
              <a:gd name="T12" fmla="*/ 2147483647 w 46"/>
              <a:gd name="T13" fmla="*/ 2147483647 h 50"/>
              <a:gd name="T14" fmla="*/ 2147483647 w 46"/>
              <a:gd name="T15" fmla="*/ 2147483647 h 50"/>
              <a:gd name="T16" fmla="*/ 2147483647 w 46"/>
              <a:gd name="T17" fmla="*/ 2147483647 h 50"/>
              <a:gd name="T18" fmla="*/ 2147483647 w 46"/>
              <a:gd name="T19" fmla="*/ 2147483647 h 50"/>
              <a:gd name="T20" fmla="*/ 2147483647 w 46"/>
              <a:gd name="T21" fmla="*/ 2147483647 h 50"/>
              <a:gd name="T22" fmla="*/ 0 w 46"/>
              <a:gd name="T23" fmla="*/ 2147483647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77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42100" y="4016177"/>
            <a:ext cx="30163" cy="58737"/>
          </a:xfrm>
          <a:custGeom>
            <a:avLst/>
            <a:gdLst>
              <a:gd name="T0" fmla="*/ 0 w 66"/>
              <a:gd name="T1" fmla="*/ 0 h 80"/>
              <a:gd name="T2" fmla="*/ 2147483647 w 66"/>
              <a:gd name="T3" fmla="*/ 0 h 80"/>
              <a:gd name="T4" fmla="*/ 2147483647 w 66"/>
              <a:gd name="T5" fmla="*/ 0 h 80"/>
              <a:gd name="T6" fmla="*/ 2147483647 w 66"/>
              <a:gd name="T7" fmla="*/ 0 h 80"/>
              <a:gd name="T8" fmla="*/ 2147483647 w 66"/>
              <a:gd name="T9" fmla="*/ 0 h 80"/>
              <a:gd name="T10" fmla="*/ 2147483647 w 66"/>
              <a:gd name="T11" fmla="*/ 2147483647 h 80"/>
              <a:gd name="T12" fmla="*/ 2147483647 w 66"/>
              <a:gd name="T13" fmla="*/ 2147483647 h 80"/>
              <a:gd name="T14" fmla="*/ 2147483647 w 66"/>
              <a:gd name="T15" fmla="*/ 2147483647 h 80"/>
              <a:gd name="T16" fmla="*/ 2147483647 w 66"/>
              <a:gd name="T17" fmla="*/ 2147483647 h 80"/>
              <a:gd name="T18" fmla="*/ 2147483647 w 66"/>
              <a:gd name="T19" fmla="*/ 2147483647 h 80"/>
              <a:gd name="T20" fmla="*/ 2147483647 w 66"/>
              <a:gd name="T21" fmla="*/ 2147483647 h 80"/>
              <a:gd name="T22" fmla="*/ 2147483647 w 66"/>
              <a:gd name="T23" fmla="*/ 2147483647 h 80"/>
              <a:gd name="T24" fmla="*/ 2147483647 w 66"/>
              <a:gd name="T25" fmla="*/ 2147483647 h 80"/>
              <a:gd name="T26" fmla="*/ 2147483647 w 66"/>
              <a:gd name="T27" fmla="*/ 2147483647 h 80"/>
              <a:gd name="T28" fmla="*/ 2147483647 w 66"/>
              <a:gd name="T29" fmla="*/ 2147483647 h 80"/>
              <a:gd name="T30" fmla="*/ 2147483647 w 66"/>
              <a:gd name="T31" fmla="*/ 2147483647 h 80"/>
              <a:gd name="T32" fmla="*/ 2147483647 w 66"/>
              <a:gd name="T33" fmla="*/ 2147483647 h 80"/>
              <a:gd name="T34" fmla="*/ 0 w 66"/>
              <a:gd name="T35" fmla="*/ 2147483647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78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477000" y="4000302"/>
            <a:ext cx="7938" cy="57150"/>
          </a:xfrm>
          <a:custGeom>
            <a:avLst/>
            <a:gdLst>
              <a:gd name="T0" fmla="*/ 2147483647 w 20"/>
              <a:gd name="T1" fmla="*/ 2147483647 h 48"/>
              <a:gd name="T2" fmla="*/ 2147483647 w 20"/>
              <a:gd name="T3" fmla="*/ 2147483647 h 48"/>
              <a:gd name="T4" fmla="*/ 2147483647 w 20"/>
              <a:gd name="T5" fmla="*/ 2147483647 h 48"/>
              <a:gd name="T6" fmla="*/ 2147483647 w 20"/>
              <a:gd name="T7" fmla="*/ 2147483647 h 48"/>
              <a:gd name="T8" fmla="*/ 2147483647 w 20"/>
              <a:gd name="T9" fmla="*/ 2147483647 h 48"/>
              <a:gd name="T10" fmla="*/ 2147483647 w 20"/>
              <a:gd name="T11" fmla="*/ 2147483647 h 48"/>
              <a:gd name="T12" fmla="*/ 2147483647 w 20"/>
              <a:gd name="T13" fmla="*/ 2147483647 h 48"/>
              <a:gd name="T14" fmla="*/ 2147483647 w 20"/>
              <a:gd name="T15" fmla="*/ 2147483647 h 48"/>
              <a:gd name="T16" fmla="*/ 0 w 20"/>
              <a:gd name="T17" fmla="*/ 0 h 48"/>
              <a:gd name="T18" fmla="*/ 0 w 20"/>
              <a:gd name="T19" fmla="*/ 2147483647 h 48"/>
              <a:gd name="T20" fmla="*/ 2147483647 w 20"/>
              <a:gd name="T21" fmla="*/ 2147483647 h 48"/>
              <a:gd name="T22" fmla="*/ 2147483647 w 20"/>
              <a:gd name="T23" fmla="*/ 2147483647 h 48"/>
              <a:gd name="T24" fmla="*/ 2147483647 w 20"/>
              <a:gd name="T25" fmla="*/ 2147483647 h 48"/>
              <a:gd name="T26" fmla="*/ 2147483647 w 20"/>
              <a:gd name="T27" fmla="*/ 2147483647 h 48"/>
              <a:gd name="T28" fmla="*/ 2147483647 w 20"/>
              <a:gd name="T29" fmla="*/ 2147483647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79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502400" y="4036814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80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499225" y="4036814"/>
            <a:ext cx="7938" cy="57150"/>
          </a:xfrm>
          <a:custGeom>
            <a:avLst/>
            <a:gdLst>
              <a:gd name="T0" fmla="*/ 2147483647 w 20"/>
              <a:gd name="T1" fmla="*/ 2147483647 h 12"/>
              <a:gd name="T2" fmla="*/ 2147483647 w 20"/>
              <a:gd name="T3" fmla="*/ 2147483647 h 12"/>
              <a:gd name="T4" fmla="*/ 2147483647 w 20"/>
              <a:gd name="T5" fmla="*/ 2147483647 h 12"/>
              <a:gd name="T6" fmla="*/ 2147483647 w 20"/>
              <a:gd name="T7" fmla="*/ 2147483647 h 12"/>
              <a:gd name="T8" fmla="*/ 2147483647 w 20"/>
              <a:gd name="T9" fmla="*/ 2147483647 h 12"/>
              <a:gd name="T10" fmla="*/ 2147483647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81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400800" y="3881239"/>
            <a:ext cx="22225" cy="57150"/>
          </a:xfrm>
          <a:custGeom>
            <a:avLst/>
            <a:gdLst>
              <a:gd name="T0" fmla="*/ 2147483647 w 53"/>
              <a:gd name="T1" fmla="*/ 0 h 30"/>
              <a:gd name="T2" fmla="*/ 2147483647 w 53"/>
              <a:gd name="T3" fmla="*/ 2147483647 h 30"/>
              <a:gd name="T4" fmla="*/ 2147483647 w 53"/>
              <a:gd name="T5" fmla="*/ 2147483647 h 30"/>
              <a:gd name="T6" fmla="*/ 2147483647 w 53"/>
              <a:gd name="T7" fmla="*/ 2147483647 h 30"/>
              <a:gd name="T8" fmla="*/ 2147483647 w 53"/>
              <a:gd name="T9" fmla="*/ 2147483647 h 30"/>
              <a:gd name="T10" fmla="*/ 2147483647 w 53"/>
              <a:gd name="T11" fmla="*/ 2147483647 h 30"/>
              <a:gd name="T12" fmla="*/ 2147483647 w 53"/>
              <a:gd name="T13" fmla="*/ 2147483647 h 30"/>
              <a:gd name="T14" fmla="*/ 2147483647 w 53"/>
              <a:gd name="T15" fmla="*/ 2147483647 h 30"/>
              <a:gd name="T16" fmla="*/ 2147483647 w 53"/>
              <a:gd name="T17" fmla="*/ 2147483647 h 30"/>
              <a:gd name="T18" fmla="*/ 2147483647 w 53"/>
              <a:gd name="T19" fmla="*/ 2147483647 h 30"/>
              <a:gd name="T20" fmla="*/ 2147483647 w 53"/>
              <a:gd name="T21" fmla="*/ 2147483647 h 30"/>
              <a:gd name="T22" fmla="*/ 2147483647 w 53"/>
              <a:gd name="T23" fmla="*/ 2147483647 h 30"/>
              <a:gd name="T24" fmla="*/ 0 w 53"/>
              <a:gd name="T25" fmla="*/ 2147483647 h 30"/>
              <a:gd name="T26" fmla="*/ 2147483647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82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929438" y="4244777"/>
            <a:ext cx="11112" cy="57150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2147483647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0 h 31"/>
              <a:gd name="T12" fmla="*/ 2147483647 w 33"/>
              <a:gd name="T13" fmla="*/ 0 h 31"/>
              <a:gd name="T14" fmla="*/ 2147483647 w 33"/>
              <a:gd name="T15" fmla="*/ 0 h 31"/>
              <a:gd name="T16" fmla="*/ 2147483647 w 33"/>
              <a:gd name="T17" fmla="*/ 0 h 31"/>
              <a:gd name="T18" fmla="*/ 0 w 33"/>
              <a:gd name="T19" fmla="*/ 0 h 31"/>
              <a:gd name="T20" fmla="*/ 0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83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445375" y="4201914"/>
            <a:ext cx="28575" cy="55563"/>
          </a:xfrm>
          <a:custGeom>
            <a:avLst/>
            <a:gdLst>
              <a:gd name="T0" fmla="*/ 2147483647 w 65"/>
              <a:gd name="T1" fmla="*/ 2147483647 h 68"/>
              <a:gd name="T2" fmla="*/ 2147483647 w 65"/>
              <a:gd name="T3" fmla="*/ 2147483647 h 68"/>
              <a:gd name="T4" fmla="*/ 2147483647 w 65"/>
              <a:gd name="T5" fmla="*/ 2147483647 h 68"/>
              <a:gd name="T6" fmla="*/ 2147483647 w 65"/>
              <a:gd name="T7" fmla="*/ 2147483647 h 68"/>
              <a:gd name="T8" fmla="*/ 2147483647 w 65"/>
              <a:gd name="T9" fmla="*/ 2147483647 h 68"/>
              <a:gd name="T10" fmla="*/ 2147483647 w 65"/>
              <a:gd name="T11" fmla="*/ 2147483647 h 68"/>
              <a:gd name="T12" fmla="*/ 2147483647 w 65"/>
              <a:gd name="T13" fmla="*/ 2147483647 h 68"/>
              <a:gd name="T14" fmla="*/ 0 w 65"/>
              <a:gd name="T15" fmla="*/ 2147483647 h 68"/>
              <a:gd name="T16" fmla="*/ 0 w 65"/>
              <a:gd name="T17" fmla="*/ 2147483647 h 68"/>
              <a:gd name="T18" fmla="*/ 0 w 65"/>
              <a:gd name="T19" fmla="*/ 2147483647 h 68"/>
              <a:gd name="T20" fmla="*/ 2147483647 w 65"/>
              <a:gd name="T21" fmla="*/ 2147483647 h 68"/>
              <a:gd name="T22" fmla="*/ 2147483647 w 65"/>
              <a:gd name="T23" fmla="*/ 2147483647 h 68"/>
              <a:gd name="T24" fmla="*/ 2147483647 w 65"/>
              <a:gd name="T25" fmla="*/ 2147483647 h 68"/>
              <a:gd name="T26" fmla="*/ 2147483647 w 65"/>
              <a:gd name="T27" fmla="*/ 2147483647 h 68"/>
              <a:gd name="T28" fmla="*/ 2147483647 w 65"/>
              <a:gd name="T29" fmla="*/ 2147483647 h 68"/>
              <a:gd name="T30" fmla="*/ 2147483647 w 65"/>
              <a:gd name="T31" fmla="*/ 2147483647 h 68"/>
              <a:gd name="T32" fmla="*/ 2147483647 w 65"/>
              <a:gd name="T33" fmla="*/ 0 h 68"/>
              <a:gd name="T34" fmla="*/ 2147483647 w 65"/>
              <a:gd name="T35" fmla="*/ 0 h 68"/>
              <a:gd name="T36" fmla="*/ 2147483647 w 65"/>
              <a:gd name="T37" fmla="*/ 0 h 68"/>
              <a:gd name="T38" fmla="*/ 2147483647 w 65"/>
              <a:gd name="T39" fmla="*/ 2147483647 h 68"/>
              <a:gd name="T40" fmla="*/ 2147483647 w 65"/>
              <a:gd name="T41" fmla="*/ 2147483647 h 68"/>
              <a:gd name="T42" fmla="*/ 2147483647 w 65"/>
              <a:gd name="T43" fmla="*/ 2147483647 h 68"/>
              <a:gd name="T44" fmla="*/ 2147483647 w 65"/>
              <a:gd name="T45" fmla="*/ 2147483647 h 68"/>
              <a:gd name="T46" fmla="*/ 2147483647 w 65"/>
              <a:gd name="T47" fmla="*/ 2147483647 h 68"/>
              <a:gd name="T48" fmla="*/ 2147483647 w 65"/>
              <a:gd name="T49" fmla="*/ 2147483647 h 68"/>
              <a:gd name="T50" fmla="*/ 2147483647 w 65"/>
              <a:gd name="T51" fmla="*/ 2147483647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84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383338" y="3784402"/>
            <a:ext cx="274637" cy="368300"/>
          </a:xfrm>
          <a:custGeom>
            <a:avLst/>
            <a:gdLst>
              <a:gd name="T0" fmla="*/ 2147483647 w 625"/>
              <a:gd name="T1" fmla="*/ 2147483647 h 694"/>
              <a:gd name="T2" fmla="*/ 2147483647 w 625"/>
              <a:gd name="T3" fmla="*/ 2147483647 h 694"/>
              <a:gd name="T4" fmla="*/ 2147483647 w 625"/>
              <a:gd name="T5" fmla="*/ 2147483647 h 694"/>
              <a:gd name="T6" fmla="*/ 2147483647 w 625"/>
              <a:gd name="T7" fmla="*/ 2147483647 h 694"/>
              <a:gd name="T8" fmla="*/ 2147483647 w 625"/>
              <a:gd name="T9" fmla="*/ 2147483647 h 694"/>
              <a:gd name="T10" fmla="*/ 2147483647 w 625"/>
              <a:gd name="T11" fmla="*/ 2147483647 h 694"/>
              <a:gd name="T12" fmla="*/ 2147483647 w 625"/>
              <a:gd name="T13" fmla="*/ 2147483647 h 694"/>
              <a:gd name="T14" fmla="*/ 2147483647 w 625"/>
              <a:gd name="T15" fmla="*/ 2147483647 h 694"/>
              <a:gd name="T16" fmla="*/ 2147483647 w 625"/>
              <a:gd name="T17" fmla="*/ 2147483647 h 694"/>
              <a:gd name="T18" fmla="*/ 2147483647 w 625"/>
              <a:gd name="T19" fmla="*/ 2147483647 h 694"/>
              <a:gd name="T20" fmla="*/ 2147483647 w 625"/>
              <a:gd name="T21" fmla="*/ 2147483647 h 694"/>
              <a:gd name="T22" fmla="*/ 2147483647 w 625"/>
              <a:gd name="T23" fmla="*/ 2147483647 h 694"/>
              <a:gd name="T24" fmla="*/ 2147483647 w 625"/>
              <a:gd name="T25" fmla="*/ 2147483647 h 694"/>
              <a:gd name="T26" fmla="*/ 2147483647 w 625"/>
              <a:gd name="T27" fmla="*/ 2147483647 h 694"/>
              <a:gd name="T28" fmla="*/ 2147483647 w 625"/>
              <a:gd name="T29" fmla="*/ 2147483647 h 694"/>
              <a:gd name="T30" fmla="*/ 2147483647 w 625"/>
              <a:gd name="T31" fmla="*/ 2147483647 h 694"/>
              <a:gd name="T32" fmla="*/ 2147483647 w 625"/>
              <a:gd name="T33" fmla="*/ 2147483647 h 694"/>
              <a:gd name="T34" fmla="*/ 2147483647 w 625"/>
              <a:gd name="T35" fmla="*/ 2147483647 h 694"/>
              <a:gd name="T36" fmla="*/ 2147483647 w 625"/>
              <a:gd name="T37" fmla="*/ 2147483647 h 694"/>
              <a:gd name="T38" fmla="*/ 2147483647 w 625"/>
              <a:gd name="T39" fmla="*/ 2147483647 h 694"/>
              <a:gd name="T40" fmla="*/ 2147483647 w 625"/>
              <a:gd name="T41" fmla="*/ 2147483647 h 694"/>
              <a:gd name="T42" fmla="*/ 2147483647 w 625"/>
              <a:gd name="T43" fmla="*/ 2147483647 h 694"/>
              <a:gd name="T44" fmla="*/ 2147483647 w 625"/>
              <a:gd name="T45" fmla="*/ 2147483647 h 694"/>
              <a:gd name="T46" fmla="*/ 2147483647 w 625"/>
              <a:gd name="T47" fmla="*/ 2147483647 h 694"/>
              <a:gd name="T48" fmla="*/ 2147483647 w 625"/>
              <a:gd name="T49" fmla="*/ 2147483647 h 694"/>
              <a:gd name="T50" fmla="*/ 2147483647 w 625"/>
              <a:gd name="T51" fmla="*/ 2147483647 h 694"/>
              <a:gd name="T52" fmla="*/ 2147483647 w 625"/>
              <a:gd name="T53" fmla="*/ 2147483647 h 694"/>
              <a:gd name="T54" fmla="*/ 2147483647 w 625"/>
              <a:gd name="T55" fmla="*/ 2147483647 h 694"/>
              <a:gd name="T56" fmla="*/ 2147483647 w 625"/>
              <a:gd name="T57" fmla="*/ 2147483647 h 694"/>
              <a:gd name="T58" fmla="*/ 2147483647 w 625"/>
              <a:gd name="T59" fmla="*/ 2147483647 h 694"/>
              <a:gd name="T60" fmla="*/ 2147483647 w 625"/>
              <a:gd name="T61" fmla="*/ 2147483647 h 694"/>
              <a:gd name="T62" fmla="*/ 2147483647 w 625"/>
              <a:gd name="T63" fmla="*/ 2147483647 h 694"/>
              <a:gd name="T64" fmla="*/ 2147483647 w 625"/>
              <a:gd name="T65" fmla="*/ 2147483647 h 694"/>
              <a:gd name="T66" fmla="*/ 2147483647 w 625"/>
              <a:gd name="T67" fmla="*/ 2147483647 h 694"/>
              <a:gd name="T68" fmla="*/ 2147483647 w 625"/>
              <a:gd name="T69" fmla="*/ 2147483647 h 694"/>
              <a:gd name="T70" fmla="*/ 2147483647 w 625"/>
              <a:gd name="T71" fmla="*/ 2147483647 h 694"/>
              <a:gd name="T72" fmla="*/ 2147483647 w 625"/>
              <a:gd name="T73" fmla="*/ 2147483647 h 694"/>
              <a:gd name="T74" fmla="*/ 2147483647 w 625"/>
              <a:gd name="T75" fmla="*/ 2147483647 h 694"/>
              <a:gd name="T76" fmla="*/ 2147483647 w 625"/>
              <a:gd name="T77" fmla="*/ 2147483647 h 694"/>
              <a:gd name="T78" fmla="*/ 2147483647 w 625"/>
              <a:gd name="T79" fmla="*/ 2147483647 h 694"/>
              <a:gd name="T80" fmla="*/ 2147483647 w 625"/>
              <a:gd name="T81" fmla="*/ 2147483647 h 694"/>
              <a:gd name="T82" fmla="*/ 2147483647 w 625"/>
              <a:gd name="T83" fmla="*/ 2147483647 h 694"/>
              <a:gd name="T84" fmla="*/ 2147483647 w 625"/>
              <a:gd name="T85" fmla="*/ 2147483647 h 694"/>
              <a:gd name="T86" fmla="*/ 2147483647 w 625"/>
              <a:gd name="T87" fmla="*/ 2147483647 h 694"/>
              <a:gd name="T88" fmla="*/ 2147483647 w 625"/>
              <a:gd name="T89" fmla="*/ 2147483647 h 694"/>
              <a:gd name="T90" fmla="*/ 2147483647 w 625"/>
              <a:gd name="T91" fmla="*/ 2147483647 h 694"/>
              <a:gd name="T92" fmla="*/ 2147483647 w 625"/>
              <a:gd name="T93" fmla="*/ 2147483647 h 694"/>
              <a:gd name="T94" fmla="*/ 2147483647 w 625"/>
              <a:gd name="T95" fmla="*/ 2147483647 h 694"/>
              <a:gd name="T96" fmla="*/ 2147483647 w 625"/>
              <a:gd name="T97" fmla="*/ 2147483647 h 694"/>
              <a:gd name="T98" fmla="*/ 2147483647 w 625"/>
              <a:gd name="T99" fmla="*/ 2147483647 h 694"/>
              <a:gd name="T100" fmla="*/ 2147483647 w 625"/>
              <a:gd name="T101" fmla="*/ 2147483647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85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724650" y="3833614"/>
            <a:ext cx="254000" cy="257175"/>
          </a:xfrm>
          <a:custGeom>
            <a:avLst/>
            <a:gdLst>
              <a:gd name="T0" fmla="*/ 2147483647 w 585"/>
              <a:gd name="T1" fmla="*/ 2147483647 h 493"/>
              <a:gd name="T2" fmla="*/ 2147483647 w 585"/>
              <a:gd name="T3" fmla="*/ 2147483647 h 493"/>
              <a:gd name="T4" fmla="*/ 2147483647 w 585"/>
              <a:gd name="T5" fmla="*/ 2147483647 h 493"/>
              <a:gd name="T6" fmla="*/ 2147483647 w 585"/>
              <a:gd name="T7" fmla="*/ 2147483647 h 493"/>
              <a:gd name="T8" fmla="*/ 2147483647 w 585"/>
              <a:gd name="T9" fmla="*/ 2147483647 h 493"/>
              <a:gd name="T10" fmla="*/ 2147483647 w 585"/>
              <a:gd name="T11" fmla="*/ 2147483647 h 493"/>
              <a:gd name="T12" fmla="*/ 2147483647 w 585"/>
              <a:gd name="T13" fmla="*/ 2147483647 h 493"/>
              <a:gd name="T14" fmla="*/ 2147483647 w 585"/>
              <a:gd name="T15" fmla="*/ 2147483647 h 493"/>
              <a:gd name="T16" fmla="*/ 2147483647 w 585"/>
              <a:gd name="T17" fmla="*/ 2147483647 h 493"/>
              <a:gd name="T18" fmla="*/ 2147483647 w 585"/>
              <a:gd name="T19" fmla="*/ 2147483647 h 493"/>
              <a:gd name="T20" fmla="*/ 2147483647 w 585"/>
              <a:gd name="T21" fmla="*/ 2147483647 h 493"/>
              <a:gd name="T22" fmla="*/ 2147483647 w 585"/>
              <a:gd name="T23" fmla="*/ 2147483647 h 493"/>
              <a:gd name="T24" fmla="*/ 2147483647 w 585"/>
              <a:gd name="T25" fmla="*/ 2147483647 h 493"/>
              <a:gd name="T26" fmla="*/ 2147483647 w 585"/>
              <a:gd name="T27" fmla="*/ 2147483647 h 493"/>
              <a:gd name="T28" fmla="*/ 2147483647 w 585"/>
              <a:gd name="T29" fmla="*/ 2147483647 h 493"/>
              <a:gd name="T30" fmla="*/ 2147483647 w 585"/>
              <a:gd name="T31" fmla="*/ 2147483647 h 493"/>
              <a:gd name="T32" fmla="*/ 2147483647 w 585"/>
              <a:gd name="T33" fmla="*/ 2147483647 h 493"/>
              <a:gd name="T34" fmla="*/ 2147483647 w 585"/>
              <a:gd name="T35" fmla="*/ 2147483647 h 493"/>
              <a:gd name="T36" fmla="*/ 2147483647 w 585"/>
              <a:gd name="T37" fmla="*/ 2147483647 h 493"/>
              <a:gd name="T38" fmla="*/ 2147483647 w 585"/>
              <a:gd name="T39" fmla="*/ 2147483647 h 493"/>
              <a:gd name="T40" fmla="*/ 2147483647 w 585"/>
              <a:gd name="T41" fmla="*/ 2147483647 h 493"/>
              <a:gd name="T42" fmla="*/ 2147483647 w 585"/>
              <a:gd name="T43" fmla="*/ 2147483647 h 493"/>
              <a:gd name="T44" fmla="*/ 2147483647 w 585"/>
              <a:gd name="T45" fmla="*/ 2147483647 h 493"/>
              <a:gd name="T46" fmla="*/ 2147483647 w 585"/>
              <a:gd name="T47" fmla="*/ 2147483647 h 493"/>
              <a:gd name="T48" fmla="*/ 2147483647 w 585"/>
              <a:gd name="T49" fmla="*/ 2147483647 h 493"/>
              <a:gd name="T50" fmla="*/ 2147483647 w 585"/>
              <a:gd name="T51" fmla="*/ 2147483647 h 493"/>
              <a:gd name="T52" fmla="*/ 2147483647 w 585"/>
              <a:gd name="T53" fmla="*/ 2147483647 h 493"/>
              <a:gd name="T54" fmla="*/ 2147483647 w 585"/>
              <a:gd name="T55" fmla="*/ 2147483647 h 493"/>
              <a:gd name="T56" fmla="*/ 2147483647 w 585"/>
              <a:gd name="T57" fmla="*/ 2147483647 h 493"/>
              <a:gd name="T58" fmla="*/ 2147483647 w 585"/>
              <a:gd name="T59" fmla="*/ 2147483647 h 493"/>
              <a:gd name="T60" fmla="*/ 2147483647 w 585"/>
              <a:gd name="T61" fmla="*/ 2147483647 h 493"/>
              <a:gd name="T62" fmla="*/ 2147483647 w 585"/>
              <a:gd name="T63" fmla="*/ 2147483647 h 493"/>
              <a:gd name="T64" fmla="*/ 2147483647 w 585"/>
              <a:gd name="T65" fmla="*/ 2147483647 h 493"/>
              <a:gd name="T66" fmla="*/ 2147483647 w 585"/>
              <a:gd name="T67" fmla="*/ 2147483647 h 493"/>
              <a:gd name="T68" fmla="*/ 2147483647 w 585"/>
              <a:gd name="T69" fmla="*/ 2147483647 h 493"/>
              <a:gd name="T70" fmla="*/ 2147483647 w 585"/>
              <a:gd name="T71" fmla="*/ 2147483647 h 493"/>
              <a:gd name="T72" fmla="*/ 2147483647 w 585"/>
              <a:gd name="T73" fmla="*/ 2147483647 h 493"/>
              <a:gd name="T74" fmla="*/ 2147483647 w 585"/>
              <a:gd name="T75" fmla="*/ 2147483647 h 493"/>
              <a:gd name="T76" fmla="*/ 2147483647 w 585"/>
              <a:gd name="T77" fmla="*/ 2147483647 h 493"/>
              <a:gd name="T78" fmla="*/ 2147483647 w 585"/>
              <a:gd name="T79" fmla="*/ 2147483647 h 493"/>
              <a:gd name="T80" fmla="*/ 2147483647 w 585"/>
              <a:gd name="T81" fmla="*/ 2147483647 h 493"/>
              <a:gd name="T82" fmla="*/ 2147483647 w 585"/>
              <a:gd name="T83" fmla="*/ 2147483647 h 493"/>
              <a:gd name="T84" fmla="*/ 2147483647 w 585"/>
              <a:gd name="T85" fmla="*/ 2147483647 h 493"/>
              <a:gd name="T86" fmla="*/ 2147483647 w 585"/>
              <a:gd name="T87" fmla="*/ 2147483647 h 493"/>
              <a:gd name="T88" fmla="*/ 2147483647 w 585"/>
              <a:gd name="T89" fmla="*/ 2147483647 h 493"/>
              <a:gd name="T90" fmla="*/ 2147483647 w 585"/>
              <a:gd name="T91" fmla="*/ 2147483647 h 493"/>
              <a:gd name="T92" fmla="*/ 2147483647 w 585"/>
              <a:gd name="T93" fmla="*/ 2147483647 h 493"/>
              <a:gd name="T94" fmla="*/ 2147483647 w 585"/>
              <a:gd name="T95" fmla="*/ 2147483647 h 493"/>
              <a:gd name="T96" fmla="*/ 2147483647 w 585"/>
              <a:gd name="T97" fmla="*/ 2147483647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86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080250" y="4240014"/>
            <a:ext cx="92075" cy="57150"/>
          </a:xfrm>
          <a:custGeom>
            <a:avLst/>
            <a:gdLst>
              <a:gd name="T0" fmla="*/ 0 w 212"/>
              <a:gd name="T1" fmla="*/ 2147483647 h 105"/>
              <a:gd name="T2" fmla="*/ 2147483647 w 212"/>
              <a:gd name="T3" fmla="*/ 2147483647 h 105"/>
              <a:gd name="T4" fmla="*/ 2147483647 w 212"/>
              <a:gd name="T5" fmla="*/ 2147483647 h 105"/>
              <a:gd name="T6" fmla="*/ 2147483647 w 212"/>
              <a:gd name="T7" fmla="*/ 2147483647 h 105"/>
              <a:gd name="T8" fmla="*/ 2147483647 w 212"/>
              <a:gd name="T9" fmla="*/ 2147483647 h 105"/>
              <a:gd name="T10" fmla="*/ 2147483647 w 212"/>
              <a:gd name="T11" fmla="*/ 2147483647 h 105"/>
              <a:gd name="T12" fmla="*/ 2147483647 w 212"/>
              <a:gd name="T13" fmla="*/ 2147483647 h 105"/>
              <a:gd name="T14" fmla="*/ 2147483647 w 212"/>
              <a:gd name="T15" fmla="*/ 2147483647 h 105"/>
              <a:gd name="T16" fmla="*/ 2147483647 w 212"/>
              <a:gd name="T17" fmla="*/ 2147483647 h 105"/>
              <a:gd name="T18" fmla="*/ 2147483647 w 212"/>
              <a:gd name="T19" fmla="*/ 2147483647 h 105"/>
              <a:gd name="T20" fmla="*/ 2147483647 w 212"/>
              <a:gd name="T21" fmla="*/ 2147483647 h 105"/>
              <a:gd name="T22" fmla="*/ 2147483647 w 212"/>
              <a:gd name="T23" fmla="*/ 2147483647 h 105"/>
              <a:gd name="T24" fmla="*/ 2147483647 w 212"/>
              <a:gd name="T25" fmla="*/ 0 h 105"/>
              <a:gd name="T26" fmla="*/ 2147483647 w 212"/>
              <a:gd name="T27" fmla="*/ 0 h 105"/>
              <a:gd name="T28" fmla="*/ 2147483647 w 212"/>
              <a:gd name="T29" fmla="*/ 2147483647 h 105"/>
              <a:gd name="T30" fmla="*/ 2147483647 w 212"/>
              <a:gd name="T31" fmla="*/ 2147483647 h 105"/>
              <a:gd name="T32" fmla="*/ 2147483647 w 212"/>
              <a:gd name="T33" fmla="*/ 2147483647 h 105"/>
              <a:gd name="T34" fmla="*/ 2147483647 w 212"/>
              <a:gd name="T35" fmla="*/ 2147483647 h 105"/>
              <a:gd name="T36" fmla="*/ 2147483647 w 212"/>
              <a:gd name="T37" fmla="*/ 2147483647 h 105"/>
              <a:gd name="T38" fmla="*/ 2147483647 w 212"/>
              <a:gd name="T39" fmla="*/ 2147483647 h 105"/>
              <a:gd name="T40" fmla="*/ 2147483647 w 212"/>
              <a:gd name="T41" fmla="*/ 2147483647 h 105"/>
              <a:gd name="T42" fmla="*/ 2147483647 w 212"/>
              <a:gd name="T43" fmla="*/ 2147483647 h 105"/>
              <a:gd name="T44" fmla="*/ 2147483647 w 212"/>
              <a:gd name="T45" fmla="*/ 2147483647 h 105"/>
              <a:gd name="T46" fmla="*/ 0 w 212"/>
              <a:gd name="T47" fmla="*/ 2147483647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87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96138" y="3906639"/>
            <a:ext cx="42862" cy="88900"/>
          </a:xfrm>
          <a:custGeom>
            <a:avLst/>
            <a:gdLst>
              <a:gd name="T0" fmla="*/ 0 w 92"/>
              <a:gd name="T1" fmla="*/ 2147483647 h 166"/>
              <a:gd name="T2" fmla="*/ 0 w 92"/>
              <a:gd name="T3" fmla="*/ 2147483647 h 166"/>
              <a:gd name="T4" fmla="*/ 2147483647 w 92"/>
              <a:gd name="T5" fmla="*/ 2147483647 h 166"/>
              <a:gd name="T6" fmla="*/ 2147483647 w 92"/>
              <a:gd name="T7" fmla="*/ 2147483647 h 166"/>
              <a:gd name="T8" fmla="*/ 2147483647 w 92"/>
              <a:gd name="T9" fmla="*/ 2147483647 h 166"/>
              <a:gd name="T10" fmla="*/ 2147483647 w 92"/>
              <a:gd name="T11" fmla="*/ 2147483647 h 166"/>
              <a:gd name="T12" fmla="*/ 2147483647 w 92"/>
              <a:gd name="T13" fmla="*/ 2147483647 h 166"/>
              <a:gd name="T14" fmla="*/ 2147483647 w 92"/>
              <a:gd name="T15" fmla="*/ 2147483647 h 166"/>
              <a:gd name="T16" fmla="*/ 2147483647 w 92"/>
              <a:gd name="T17" fmla="*/ 2147483647 h 166"/>
              <a:gd name="T18" fmla="*/ 2147483647 w 92"/>
              <a:gd name="T19" fmla="*/ 2147483647 h 166"/>
              <a:gd name="T20" fmla="*/ 2147483647 w 92"/>
              <a:gd name="T21" fmla="*/ 2147483647 h 166"/>
              <a:gd name="T22" fmla="*/ 2147483647 w 92"/>
              <a:gd name="T23" fmla="*/ 2147483647 h 166"/>
              <a:gd name="T24" fmla="*/ 2147483647 w 92"/>
              <a:gd name="T25" fmla="*/ 2147483647 h 166"/>
              <a:gd name="T26" fmla="*/ 2147483647 w 92"/>
              <a:gd name="T27" fmla="*/ 2147483647 h 166"/>
              <a:gd name="T28" fmla="*/ 2147483647 w 92"/>
              <a:gd name="T29" fmla="*/ 2147483647 h 166"/>
              <a:gd name="T30" fmla="*/ 2147483647 w 92"/>
              <a:gd name="T31" fmla="*/ 2147483647 h 166"/>
              <a:gd name="T32" fmla="*/ 2147483647 w 92"/>
              <a:gd name="T33" fmla="*/ 2147483647 h 166"/>
              <a:gd name="T34" fmla="*/ 2147483647 w 92"/>
              <a:gd name="T35" fmla="*/ 2147483647 h 166"/>
              <a:gd name="T36" fmla="*/ 2147483647 w 92"/>
              <a:gd name="T37" fmla="*/ 2147483647 h 166"/>
              <a:gd name="T38" fmla="*/ 2147483647 w 92"/>
              <a:gd name="T39" fmla="*/ 2147483647 h 166"/>
              <a:gd name="T40" fmla="*/ 2147483647 w 92"/>
              <a:gd name="T41" fmla="*/ 2147483647 h 166"/>
              <a:gd name="T42" fmla="*/ 2147483647 w 92"/>
              <a:gd name="T43" fmla="*/ 2147483647 h 166"/>
              <a:gd name="T44" fmla="*/ 2147483647 w 92"/>
              <a:gd name="T45" fmla="*/ 2147483647 h 166"/>
              <a:gd name="T46" fmla="*/ 2147483647 w 92"/>
              <a:gd name="T47" fmla="*/ 2147483647 h 166"/>
              <a:gd name="T48" fmla="*/ 2147483647 w 92"/>
              <a:gd name="T49" fmla="*/ 2147483647 h 166"/>
              <a:gd name="T50" fmla="*/ 2147483647 w 92"/>
              <a:gd name="T51" fmla="*/ 2147483647 h 166"/>
              <a:gd name="T52" fmla="*/ 2147483647 w 92"/>
              <a:gd name="T53" fmla="*/ 2147483647 h 166"/>
              <a:gd name="T54" fmla="*/ 2147483647 w 92"/>
              <a:gd name="T55" fmla="*/ 2147483647 h 166"/>
              <a:gd name="T56" fmla="*/ 2147483647 w 92"/>
              <a:gd name="T57" fmla="*/ 2147483647 h 166"/>
              <a:gd name="T58" fmla="*/ 2147483647 w 92"/>
              <a:gd name="T59" fmla="*/ 2147483647 h 166"/>
              <a:gd name="T60" fmla="*/ 2147483647 w 92"/>
              <a:gd name="T61" fmla="*/ 2147483647 h 166"/>
              <a:gd name="T62" fmla="*/ 2147483647 w 92"/>
              <a:gd name="T63" fmla="*/ 2147483647 h 166"/>
              <a:gd name="T64" fmla="*/ 2147483647 w 92"/>
              <a:gd name="T65" fmla="*/ 2147483647 h 166"/>
              <a:gd name="T66" fmla="*/ 2147483647 w 92"/>
              <a:gd name="T67" fmla="*/ 2147483647 h 166"/>
              <a:gd name="T68" fmla="*/ 2147483647 w 92"/>
              <a:gd name="T69" fmla="*/ 2147483647 h 166"/>
              <a:gd name="T70" fmla="*/ 2147483647 w 92"/>
              <a:gd name="T71" fmla="*/ 2147483647 h 166"/>
              <a:gd name="T72" fmla="*/ 2147483647 w 92"/>
              <a:gd name="T73" fmla="*/ 2147483647 h 166"/>
              <a:gd name="T74" fmla="*/ 2147483647 w 92"/>
              <a:gd name="T75" fmla="*/ 2147483647 h 166"/>
              <a:gd name="T76" fmla="*/ 2147483647 w 92"/>
              <a:gd name="T77" fmla="*/ 2147483647 h 166"/>
              <a:gd name="T78" fmla="*/ 2147483647 w 92"/>
              <a:gd name="T79" fmla="*/ 2147483647 h 166"/>
              <a:gd name="T80" fmla="*/ 2147483647 w 92"/>
              <a:gd name="T81" fmla="*/ 2147483647 h 166"/>
              <a:gd name="T82" fmla="*/ 2147483647 w 92"/>
              <a:gd name="T83" fmla="*/ 2147483647 h 166"/>
              <a:gd name="T84" fmla="*/ 2147483647 w 92"/>
              <a:gd name="T85" fmla="*/ 2147483647 h 166"/>
              <a:gd name="T86" fmla="*/ 2147483647 w 92"/>
              <a:gd name="T87" fmla="*/ 2147483647 h 166"/>
              <a:gd name="T88" fmla="*/ 2147483647 w 92"/>
              <a:gd name="T89" fmla="*/ 2147483647 h 166"/>
              <a:gd name="T90" fmla="*/ 0 w 92"/>
              <a:gd name="T91" fmla="*/ 0 h 166"/>
              <a:gd name="T92" fmla="*/ 0 w 92"/>
              <a:gd name="T93" fmla="*/ 2147483647 h 166"/>
              <a:gd name="T94" fmla="*/ 0 w 92"/>
              <a:gd name="T95" fmla="*/ 2147483647 h 166"/>
              <a:gd name="T96" fmla="*/ 0 w 92"/>
              <a:gd name="T97" fmla="*/ 2147483647 h 166"/>
              <a:gd name="T98" fmla="*/ 0 w 92"/>
              <a:gd name="T99" fmla="*/ 2147483647 h 166"/>
              <a:gd name="T100" fmla="*/ 0 w 92"/>
              <a:gd name="T101" fmla="*/ 2147483647 h 166"/>
              <a:gd name="T102" fmla="*/ 0 w 92"/>
              <a:gd name="T103" fmla="*/ 2147483647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88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208838" y="4051102"/>
            <a:ext cx="71437" cy="55562"/>
          </a:xfrm>
          <a:custGeom>
            <a:avLst/>
            <a:gdLst>
              <a:gd name="T0" fmla="*/ 2147483647 w 166"/>
              <a:gd name="T1" fmla="*/ 0 h 62"/>
              <a:gd name="T2" fmla="*/ 2147483647 w 166"/>
              <a:gd name="T3" fmla="*/ 2147483647 h 62"/>
              <a:gd name="T4" fmla="*/ 2147483647 w 166"/>
              <a:gd name="T5" fmla="*/ 2147483647 h 62"/>
              <a:gd name="T6" fmla="*/ 2147483647 w 166"/>
              <a:gd name="T7" fmla="*/ 2147483647 h 62"/>
              <a:gd name="T8" fmla="*/ 2147483647 w 166"/>
              <a:gd name="T9" fmla="*/ 2147483647 h 62"/>
              <a:gd name="T10" fmla="*/ 2147483647 w 166"/>
              <a:gd name="T11" fmla="*/ 2147483647 h 62"/>
              <a:gd name="T12" fmla="*/ 2147483647 w 166"/>
              <a:gd name="T13" fmla="*/ 2147483647 h 62"/>
              <a:gd name="T14" fmla="*/ 2147483647 w 166"/>
              <a:gd name="T15" fmla="*/ 2147483647 h 62"/>
              <a:gd name="T16" fmla="*/ 2147483647 w 166"/>
              <a:gd name="T17" fmla="*/ 2147483647 h 62"/>
              <a:gd name="T18" fmla="*/ 2147483647 w 166"/>
              <a:gd name="T19" fmla="*/ 2147483647 h 62"/>
              <a:gd name="T20" fmla="*/ 2147483647 w 166"/>
              <a:gd name="T21" fmla="*/ 0 h 62"/>
              <a:gd name="T22" fmla="*/ 2147483647 w 166"/>
              <a:gd name="T23" fmla="*/ 2147483647 h 62"/>
              <a:gd name="T24" fmla="*/ 2147483647 w 166"/>
              <a:gd name="T25" fmla="*/ 2147483647 h 62"/>
              <a:gd name="T26" fmla="*/ 2147483647 w 166"/>
              <a:gd name="T27" fmla="*/ 2147483647 h 62"/>
              <a:gd name="T28" fmla="*/ 2147483647 w 166"/>
              <a:gd name="T29" fmla="*/ 2147483647 h 62"/>
              <a:gd name="T30" fmla="*/ 2147483647 w 166"/>
              <a:gd name="T31" fmla="*/ 2147483647 h 62"/>
              <a:gd name="T32" fmla="*/ 2147483647 w 166"/>
              <a:gd name="T33" fmla="*/ 2147483647 h 62"/>
              <a:gd name="T34" fmla="*/ 2147483647 w 166"/>
              <a:gd name="T35" fmla="*/ 2147483647 h 62"/>
              <a:gd name="T36" fmla="*/ 2147483647 w 166"/>
              <a:gd name="T37" fmla="*/ 2147483647 h 62"/>
              <a:gd name="T38" fmla="*/ 2147483647 w 166"/>
              <a:gd name="T39" fmla="*/ 2147483647 h 62"/>
              <a:gd name="T40" fmla="*/ 2147483647 w 166"/>
              <a:gd name="T41" fmla="*/ 2147483647 h 62"/>
              <a:gd name="T42" fmla="*/ 2147483647 w 166"/>
              <a:gd name="T43" fmla="*/ 2147483647 h 62"/>
              <a:gd name="T44" fmla="*/ 2147483647 w 166"/>
              <a:gd name="T45" fmla="*/ 2147483647 h 62"/>
              <a:gd name="T46" fmla="*/ 2147483647 w 166"/>
              <a:gd name="T47" fmla="*/ 2147483647 h 62"/>
              <a:gd name="T48" fmla="*/ 2147483647 w 166"/>
              <a:gd name="T49" fmla="*/ 2147483647 h 62"/>
              <a:gd name="T50" fmla="*/ 2147483647 w 166"/>
              <a:gd name="T51" fmla="*/ 2147483647 h 62"/>
              <a:gd name="T52" fmla="*/ 2147483647 w 166"/>
              <a:gd name="T53" fmla="*/ 2147483647 h 62"/>
              <a:gd name="T54" fmla="*/ 2147483647 w 166"/>
              <a:gd name="T55" fmla="*/ 2147483647 h 62"/>
              <a:gd name="T56" fmla="*/ 2147483647 w 166"/>
              <a:gd name="T57" fmla="*/ 2147483647 h 62"/>
              <a:gd name="T58" fmla="*/ 2147483647 w 166"/>
              <a:gd name="T59" fmla="*/ 2147483647 h 62"/>
              <a:gd name="T60" fmla="*/ 2147483647 w 166"/>
              <a:gd name="T61" fmla="*/ 2147483647 h 62"/>
              <a:gd name="T62" fmla="*/ 2147483647 w 166"/>
              <a:gd name="T63" fmla="*/ 2147483647 h 62"/>
              <a:gd name="T64" fmla="*/ 2147483647 w 166"/>
              <a:gd name="T65" fmla="*/ 2147483647 h 62"/>
              <a:gd name="T66" fmla="*/ 2147483647 w 166"/>
              <a:gd name="T67" fmla="*/ 2147483647 h 62"/>
              <a:gd name="T68" fmla="*/ 2147483647 w 166"/>
              <a:gd name="T69" fmla="*/ 2147483647 h 62"/>
              <a:gd name="T70" fmla="*/ 2147483647 w 166"/>
              <a:gd name="T71" fmla="*/ 2147483647 h 62"/>
              <a:gd name="T72" fmla="*/ 2147483647 w 166"/>
              <a:gd name="T73" fmla="*/ 2147483647 h 62"/>
              <a:gd name="T74" fmla="*/ 2147483647 w 166"/>
              <a:gd name="T75" fmla="*/ 2147483647 h 62"/>
              <a:gd name="T76" fmla="*/ 2147483647 w 166"/>
              <a:gd name="T77" fmla="*/ 2147483647 h 62"/>
              <a:gd name="T78" fmla="*/ 2147483647 w 166"/>
              <a:gd name="T79" fmla="*/ 2147483647 h 62"/>
              <a:gd name="T80" fmla="*/ 2147483647 w 166"/>
              <a:gd name="T81" fmla="*/ 2147483647 h 62"/>
              <a:gd name="T82" fmla="*/ 2147483647 w 166"/>
              <a:gd name="T83" fmla="*/ 2147483647 h 62"/>
              <a:gd name="T84" fmla="*/ 2147483647 w 166"/>
              <a:gd name="T85" fmla="*/ 2147483647 h 62"/>
              <a:gd name="T86" fmla="*/ 0 w 166"/>
              <a:gd name="T87" fmla="*/ 2147483647 h 62"/>
              <a:gd name="T88" fmla="*/ 2147483647 w 166"/>
              <a:gd name="T89" fmla="*/ 2147483647 h 62"/>
              <a:gd name="T90" fmla="*/ 2147483647 w 166"/>
              <a:gd name="T91" fmla="*/ 2147483647 h 62"/>
              <a:gd name="T92" fmla="*/ 2147483647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89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285038" y="3974902"/>
            <a:ext cx="85725" cy="63500"/>
          </a:xfrm>
          <a:custGeom>
            <a:avLst/>
            <a:gdLst>
              <a:gd name="T0" fmla="*/ 2147483647 w 193"/>
              <a:gd name="T1" fmla="*/ 2147483647 h 121"/>
              <a:gd name="T2" fmla="*/ 2147483647 w 193"/>
              <a:gd name="T3" fmla="*/ 2147483647 h 121"/>
              <a:gd name="T4" fmla="*/ 2147483647 w 193"/>
              <a:gd name="T5" fmla="*/ 2147483647 h 121"/>
              <a:gd name="T6" fmla="*/ 2147483647 w 193"/>
              <a:gd name="T7" fmla="*/ 2147483647 h 121"/>
              <a:gd name="T8" fmla="*/ 2147483647 w 193"/>
              <a:gd name="T9" fmla="*/ 2147483647 h 121"/>
              <a:gd name="T10" fmla="*/ 2147483647 w 193"/>
              <a:gd name="T11" fmla="*/ 2147483647 h 121"/>
              <a:gd name="T12" fmla="*/ 2147483647 w 193"/>
              <a:gd name="T13" fmla="*/ 2147483647 h 121"/>
              <a:gd name="T14" fmla="*/ 2147483647 w 193"/>
              <a:gd name="T15" fmla="*/ 2147483647 h 121"/>
              <a:gd name="T16" fmla="*/ 2147483647 w 193"/>
              <a:gd name="T17" fmla="*/ 2147483647 h 121"/>
              <a:gd name="T18" fmla="*/ 2147483647 w 193"/>
              <a:gd name="T19" fmla="*/ 2147483647 h 121"/>
              <a:gd name="T20" fmla="*/ 2147483647 w 193"/>
              <a:gd name="T21" fmla="*/ 2147483647 h 121"/>
              <a:gd name="T22" fmla="*/ 2147483647 w 193"/>
              <a:gd name="T23" fmla="*/ 2147483647 h 121"/>
              <a:gd name="T24" fmla="*/ 2147483647 w 193"/>
              <a:gd name="T25" fmla="*/ 2147483647 h 121"/>
              <a:gd name="T26" fmla="*/ 2147483647 w 193"/>
              <a:gd name="T27" fmla="*/ 2147483647 h 121"/>
              <a:gd name="T28" fmla="*/ 2147483647 w 193"/>
              <a:gd name="T29" fmla="*/ 2147483647 h 121"/>
              <a:gd name="T30" fmla="*/ 2147483647 w 193"/>
              <a:gd name="T31" fmla="*/ 2147483647 h 121"/>
              <a:gd name="T32" fmla="*/ 2147483647 w 193"/>
              <a:gd name="T33" fmla="*/ 2147483647 h 121"/>
              <a:gd name="T34" fmla="*/ 2147483647 w 193"/>
              <a:gd name="T35" fmla="*/ 2147483647 h 121"/>
              <a:gd name="T36" fmla="*/ 2147483647 w 193"/>
              <a:gd name="T37" fmla="*/ 2147483647 h 121"/>
              <a:gd name="T38" fmla="*/ 2147483647 w 193"/>
              <a:gd name="T39" fmla="*/ 2147483647 h 121"/>
              <a:gd name="T40" fmla="*/ 2147483647 w 193"/>
              <a:gd name="T41" fmla="*/ 2147483647 h 121"/>
              <a:gd name="T42" fmla="*/ 2147483647 w 193"/>
              <a:gd name="T43" fmla="*/ 2147483647 h 121"/>
              <a:gd name="T44" fmla="*/ 2147483647 w 193"/>
              <a:gd name="T45" fmla="*/ 2147483647 h 121"/>
              <a:gd name="T46" fmla="*/ 2147483647 w 193"/>
              <a:gd name="T47" fmla="*/ 2147483647 h 121"/>
              <a:gd name="T48" fmla="*/ 2147483647 w 193"/>
              <a:gd name="T49" fmla="*/ 2147483647 h 121"/>
              <a:gd name="T50" fmla="*/ 2147483647 w 193"/>
              <a:gd name="T51" fmla="*/ 2147483647 h 121"/>
              <a:gd name="T52" fmla="*/ 2147483647 w 193"/>
              <a:gd name="T53" fmla="*/ 2147483647 h 121"/>
              <a:gd name="T54" fmla="*/ 2147483647 w 193"/>
              <a:gd name="T55" fmla="*/ 2147483647 h 121"/>
              <a:gd name="T56" fmla="*/ 2147483647 w 193"/>
              <a:gd name="T57" fmla="*/ 2147483647 h 121"/>
              <a:gd name="T58" fmla="*/ 0 w 193"/>
              <a:gd name="T59" fmla="*/ 2147483647 h 121"/>
              <a:gd name="T60" fmla="*/ 2147483647 w 193"/>
              <a:gd name="T61" fmla="*/ 2147483647 h 121"/>
              <a:gd name="T62" fmla="*/ 2147483647 w 193"/>
              <a:gd name="T63" fmla="*/ 2147483647 h 121"/>
              <a:gd name="T64" fmla="*/ 2147483647 w 193"/>
              <a:gd name="T65" fmla="*/ 2147483647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90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973888" y="3912989"/>
            <a:ext cx="166687" cy="230188"/>
          </a:xfrm>
          <a:custGeom>
            <a:avLst/>
            <a:gdLst>
              <a:gd name="T0" fmla="*/ 2147483647 w 379"/>
              <a:gd name="T1" fmla="*/ 2147483647 h 437"/>
              <a:gd name="T2" fmla="*/ 2147483647 w 379"/>
              <a:gd name="T3" fmla="*/ 2147483647 h 437"/>
              <a:gd name="T4" fmla="*/ 2147483647 w 379"/>
              <a:gd name="T5" fmla="*/ 2147483647 h 437"/>
              <a:gd name="T6" fmla="*/ 2147483647 w 379"/>
              <a:gd name="T7" fmla="*/ 2147483647 h 437"/>
              <a:gd name="T8" fmla="*/ 2147483647 w 379"/>
              <a:gd name="T9" fmla="*/ 2147483647 h 437"/>
              <a:gd name="T10" fmla="*/ 2147483647 w 379"/>
              <a:gd name="T11" fmla="*/ 2147483647 h 437"/>
              <a:gd name="T12" fmla="*/ 2147483647 w 379"/>
              <a:gd name="T13" fmla="*/ 2147483647 h 437"/>
              <a:gd name="T14" fmla="*/ 2147483647 w 379"/>
              <a:gd name="T15" fmla="*/ 2147483647 h 437"/>
              <a:gd name="T16" fmla="*/ 2147483647 w 379"/>
              <a:gd name="T17" fmla="*/ 2147483647 h 437"/>
              <a:gd name="T18" fmla="*/ 2147483647 w 379"/>
              <a:gd name="T19" fmla="*/ 2147483647 h 437"/>
              <a:gd name="T20" fmla="*/ 2147483647 w 379"/>
              <a:gd name="T21" fmla="*/ 2147483647 h 437"/>
              <a:gd name="T22" fmla="*/ 2147483647 w 379"/>
              <a:gd name="T23" fmla="*/ 2147483647 h 437"/>
              <a:gd name="T24" fmla="*/ 2147483647 w 379"/>
              <a:gd name="T25" fmla="*/ 2147483647 h 437"/>
              <a:gd name="T26" fmla="*/ 2147483647 w 379"/>
              <a:gd name="T27" fmla="*/ 2147483647 h 437"/>
              <a:gd name="T28" fmla="*/ 2147483647 w 379"/>
              <a:gd name="T29" fmla="*/ 2147483647 h 437"/>
              <a:gd name="T30" fmla="*/ 2147483647 w 379"/>
              <a:gd name="T31" fmla="*/ 2147483647 h 437"/>
              <a:gd name="T32" fmla="*/ 2147483647 w 379"/>
              <a:gd name="T33" fmla="*/ 2147483647 h 437"/>
              <a:gd name="T34" fmla="*/ 2147483647 w 379"/>
              <a:gd name="T35" fmla="*/ 2147483647 h 437"/>
              <a:gd name="T36" fmla="*/ 2147483647 w 379"/>
              <a:gd name="T37" fmla="*/ 2147483647 h 437"/>
              <a:gd name="T38" fmla="*/ 2147483647 w 379"/>
              <a:gd name="T39" fmla="*/ 2147483647 h 437"/>
              <a:gd name="T40" fmla="*/ 2147483647 w 379"/>
              <a:gd name="T41" fmla="*/ 2147483647 h 437"/>
              <a:gd name="T42" fmla="*/ 2147483647 w 379"/>
              <a:gd name="T43" fmla="*/ 2147483647 h 437"/>
              <a:gd name="T44" fmla="*/ 2147483647 w 379"/>
              <a:gd name="T45" fmla="*/ 2147483647 h 437"/>
              <a:gd name="T46" fmla="*/ 2147483647 w 379"/>
              <a:gd name="T47" fmla="*/ 2147483647 h 437"/>
              <a:gd name="T48" fmla="*/ 2147483647 w 379"/>
              <a:gd name="T49" fmla="*/ 2147483647 h 437"/>
              <a:gd name="T50" fmla="*/ 2147483647 w 379"/>
              <a:gd name="T51" fmla="*/ 2147483647 h 437"/>
              <a:gd name="T52" fmla="*/ 2147483647 w 379"/>
              <a:gd name="T53" fmla="*/ 2147483647 h 437"/>
              <a:gd name="T54" fmla="*/ 2147483647 w 379"/>
              <a:gd name="T55" fmla="*/ 2147483647 h 437"/>
              <a:gd name="T56" fmla="*/ 2147483647 w 379"/>
              <a:gd name="T57" fmla="*/ 2147483647 h 437"/>
              <a:gd name="T58" fmla="*/ 2147483647 w 379"/>
              <a:gd name="T59" fmla="*/ 2147483647 h 437"/>
              <a:gd name="T60" fmla="*/ 2147483647 w 379"/>
              <a:gd name="T61" fmla="*/ 2147483647 h 437"/>
              <a:gd name="T62" fmla="*/ 2147483647 w 379"/>
              <a:gd name="T63" fmla="*/ 2147483647 h 437"/>
              <a:gd name="T64" fmla="*/ 2147483647 w 379"/>
              <a:gd name="T65" fmla="*/ 2147483647 h 437"/>
              <a:gd name="T66" fmla="*/ 2147483647 w 379"/>
              <a:gd name="T67" fmla="*/ 2147483647 h 437"/>
              <a:gd name="T68" fmla="*/ 2147483647 w 379"/>
              <a:gd name="T69" fmla="*/ 2147483647 h 437"/>
              <a:gd name="T70" fmla="*/ 2147483647 w 379"/>
              <a:gd name="T71" fmla="*/ 2147483647 h 437"/>
              <a:gd name="T72" fmla="*/ 2147483647 w 379"/>
              <a:gd name="T73" fmla="*/ 2147483647 h 437"/>
              <a:gd name="T74" fmla="*/ 2147483647 w 379"/>
              <a:gd name="T75" fmla="*/ 2147483647 h 437"/>
              <a:gd name="T76" fmla="*/ 2147483647 w 379"/>
              <a:gd name="T77" fmla="*/ 2147483647 h 437"/>
              <a:gd name="T78" fmla="*/ 2147483647 w 379"/>
              <a:gd name="T79" fmla="*/ 2147483647 h 437"/>
              <a:gd name="T80" fmla="*/ 2147483647 w 379"/>
              <a:gd name="T81" fmla="*/ 2147483647 h 437"/>
              <a:gd name="T82" fmla="*/ 2147483647 w 379"/>
              <a:gd name="T83" fmla="*/ 2147483647 h 437"/>
              <a:gd name="T84" fmla="*/ 2147483647 w 379"/>
              <a:gd name="T85" fmla="*/ 2147483647 h 437"/>
              <a:gd name="T86" fmla="*/ 2147483647 w 379"/>
              <a:gd name="T87" fmla="*/ 2147483647 h 437"/>
              <a:gd name="T88" fmla="*/ 2147483647 w 379"/>
              <a:gd name="T89" fmla="*/ 2147483647 h 437"/>
              <a:gd name="T90" fmla="*/ 2147483647 w 379"/>
              <a:gd name="T91" fmla="*/ 2147483647 h 437"/>
              <a:gd name="T92" fmla="*/ 2147483647 w 379"/>
              <a:gd name="T93" fmla="*/ 2147483647 h 437"/>
              <a:gd name="T94" fmla="*/ 2147483647 w 379"/>
              <a:gd name="T95" fmla="*/ 2147483647 h 437"/>
              <a:gd name="T96" fmla="*/ 2147483647 w 379"/>
              <a:gd name="T97" fmla="*/ 2147483647 h 437"/>
              <a:gd name="T98" fmla="*/ 2147483647 w 379"/>
              <a:gd name="T99" fmla="*/ 2147483647 h 437"/>
              <a:gd name="T100" fmla="*/ 2147483647 w 379"/>
              <a:gd name="T101" fmla="*/ 2147483647 h 437"/>
              <a:gd name="T102" fmla="*/ 2147483647 w 379"/>
              <a:gd name="T103" fmla="*/ 2147483647 h 437"/>
              <a:gd name="T104" fmla="*/ 2147483647 w 379"/>
              <a:gd name="T105" fmla="*/ 2147483647 h 437"/>
              <a:gd name="T106" fmla="*/ 2147483647 w 379"/>
              <a:gd name="T107" fmla="*/ 2147483647 h 437"/>
              <a:gd name="T108" fmla="*/ 2147483647 w 379"/>
              <a:gd name="T109" fmla="*/ 2147483647 h 437"/>
              <a:gd name="T110" fmla="*/ 2147483647 w 379"/>
              <a:gd name="T111" fmla="*/ 2147483647 h 437"/>
              <a:gd name="T112" fmla="*/ 2147483647 w 379"/>
              <a:gd name="T113" fmla="*/ 2147483647 h 437"/>
              <a:gd name="T114" fmla="*/ 2147483647 w 379"/>
              <a:gd name="T115" fmla="*/ 2147483647 h 437"/>
              <a:gd name="T116" fmla="*/ 2147483647 w 379"/>
              <a:gd name="T117" fmla="*/ 2147483647 h 437"/>
              <a:gd name="T118" fmla="*/ 2147483647 w 379"/>
              <a:gd name="T119" fmla="*/ 2147483647 h 437"/>
              <a:gd name="T120" fmla="*/ 2147483647 w 379"/>
              <a:gd name="T121" fmla="*/ 2147483647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91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638925" y="4154289"/>
            <a:ext cx="250825" cy="95250"/>
          </a:xfrm>
          <a:custGeom>
            <a:avLst/>
            <a:gdLst>
              <a:gd name="T0" fmla="*/ 2147483647 w 578"/>
              <a:gd name="T1" fmla="*/ 2147483647 h 184"/>
              <a:gd name="T2" fmla="*/ 2147483647 w 578"/>
              <a:gd name="T3" fmla="*/ 2147483647 h 184"/>
              <a:gd name="T4" fmla="*/ 2147483647 w 578"/>
              <a:gd name="T5" fmla="*/ 2147483647 h 184"/>
              <a:gd name="T6" fmla="*/ 2147483647 w 578"/>
              <a:gd name="T7" fmla="*/ 0 h 184"/>
              <a:gd name="T8" fmla="*/ 2147483647 w 578"/>
              <a:gd name="T9" fmla="*/ 2147483647 h 184"/>
              <a:gd name="T10" fmla="*/ 2147483647 w 578"/>
              <a:gd name="T11" fmla="*/ 2147483647 h 184"/>
              <a:gd name="T12" fmla="*/ 2147483647 w 578"/>
              <a:gd name="T13" fmla="*/ 2147483647 h 184"/>
              <a:gd name="T14" fmla="*/ 2147483647 w 578"/>
              <a:gd name="T15" fmla="*/ 2147483647 h 184"/>
              <a:gd name="T16" fmla="*/ 2147483647 w 578"/>
              <a:gd name="T17" fmla="*/ 2147483647 h 184"/>
              <a:gd name="T18" fmla="*/ 2147483647 w 578"/>
              <a:gd name="T19" fmla="*/ 2147483647 h 184"/>
              <a:gd name="T20" fmla="*/ 2147483647 w 578"/>
              <a:gd name="T21" fmla="*/ 2147483647 h 184"/>
              <a:gd name="T22" fmla="*/ 2147483647 w 578"/>
              <a:gd name="T23" fmla="*/ 2147483647 h 184"/>
              <a:gd name="T24" fmla="*/ 2147483647 w 578"/>
              <a:gd name="T25" fmla="*/ 2147483647 h 184"/>
              <a:gd name="T26" fmla="*/ 2147483647 w 578"/>
              <a:gd name="T27" fmla="*/ 2147483647 h 184"/>
              <a:gd name="T28" fmla="*/ 2147483647 w 578"/>
              <a:gd name="T29" fmla="*/ 2147483647 h 184"/>
              <a:gd name="T30" fmla="*/ 2147483647 w 578"/>
              <a:gd name="T31" fmla="*/ 2147483647 h 184"/>
              <a:gd name="T32" fmla="*/ 2147483647 w 578"/>
              <a:gd name="T33" fmla="*/ 2147483647 h 184"/>
              <a:gd name="T34" fmla="*/ 2147483647 w 578"/>
              <a:gd name="T35" fmla="*/ 2147483647 h 184"/>
              <a:gd name="T36" fmla="*/ 2147483647 w 578"/>
              <a:gd name="T37" fmla="*/ 2147483647 h 184"/>
              <a:gd name="T38" fmla="*/ 2147483647 w 578"/>
              <a:gd name="T39" fmla="*/ 2147483647 h 184"/>
              <a:gd name="T40" fmla="*/ 2147483647 w 578"/>
              <a:gd name="T41" fmla="*/ 2147483647 h 184"/>
              <a:gd name="T42" fmla="*/ 2147483647 w 578"/>
              <a:gd name="T43" fmla="*/ 2147483647 h 184"/>
              <a:gd name="T44" fmla="*/ 2147483647 w 578"/>
              <a:gd name="T45" fmla="*/ 2147483647 h 184"/>
              <a:gd name="T46" fmla="*/ 2147483647 w 578"/>
              <a:gd name="T47" fmla="*/ 2147483647 h 184"/>
              <a:gd name="T48" fmla="*/ 2147483647 w 578"/>
              <a:gd name="T49" fmla="*/ 2147483647 h 184"/>
              <a:gd name="T50" fmla="*/ 2147483647 w 578"/>
              <a:gd name="T51" fmla="*/ 2147483647 h 184"/>
              <a:gd name="T52" fmla="*/ 2147483647 w 578"/>
              <a:gd name="T53" fmla="*/ 2147483647 h 184"/>
              <a:gd name="T54" fmla="*/ 2147483647 w 578"/>
              <a:gd name="T55" fmla="*/ 2147483647 h 184"/>
              <a:gd name="T56" fmla="*/ 2147483647 w 578"/>
              <a:gd name="T57" fmla="*/ 2147483647 h 184"/>
              <a:gd name="T58" fmla="*/ 2147483647 w 578"/>
              <a:gd name="T59" fmla="*/ 2147483647 h 184"/>
              <a:gd name="T60" fmla="*/ 2147483647 w 578"/>
              <a:gd name="T61" fmla="*/ 2147483647 h 184"/>
              <a:gd name="T62" fmla="*/ 2147483647 w 578"/>
              <a:gd name="T63" fmla="*/ 2147483647 h 184"/>
              <a:gd name="T64" fmla="*/ 2147483647 w 578"/>
              <a:gd name="T65" fmla="*/ 2147483647 h 184"/>
              <a:gd name="T66" fmla="*/ 2147483647 w 578"/>
              <a:gd name="T67" fmla="*/ 2147483647 h 184"/>
              <a:gd name="T68" fmla="*/ 2147483647 w 578"/>
              <a:gd name="T69" fmla="*/ 2147483647 h 184"/>
              <a:gd name="T70" fmla="*/ 2147483647 w 578"/>
              <a:gd name="T71" fmla="*/ 2147483647 h 184"/>
              <a:gd name="T72" fmla="*/ 2147483647 w 578"/>
              <a:gd name="T73" fmla="*/ 2147483647 h 184"/>
              <a:gd name="T74" fmla="*/ 2147483647 w 578"/>
              <a:gd name="T75" fmla="*/ 2147483647 h 184"/>
              <a:gd name="T76" fmla="*/ 2147483647 w 578"/>
              <a:gd name="T77" fmla="*/ 2147483647 h 184"/>
              <a:gd name="T78" fmla="*/ 2147483647 w 578"/>
              <a:gd name="T79" fmla="*/ 2147483647 h 184"/>
              <a:gd name="T80" fmla="*/ 2147483647 w 578"/>
              <a:gd name="T81" fmla="*/ 2147483647 h 184"/>
              <a:gd name="T82" fmla="*/ 2147483647 w 578"/>
              <a:gd name="T83" fmla="*/ 2147483647 h 184"/>
              <a:gd name="T84" fmla="*/ 2147483647 w 578"/>
              <a:gd name="T85" fmla="*/ 2147483647 h 184"/>
              <a:gd name="T86" fmla="*/ 2147483647 w 578"/>
              <a:gd name="T87" fmla="*/ 2147483647 h 184"/>
              <a:gd name="T88" fmla="*/ 2147483647 w 578"/>
              <a:gd name="T89" fmla="*/ 2147483647 h 184"/>
              <a:gd name="T90" fmla="*/ 2147483647 w 578"/>
              <a:gd name="T91" fmla="*/ 2147483647 h 184"/>
              <a:gd name="T92" fmla="*/ 2147483647 w 578"/>
              <a:gd name="T93" fmla="*/ 2147483647 h 184"/>
              <a:gd name="T94" fmla="*/ 2147483647 w 578"/>
              <a:gd name="T95" fmla="*/ 2147483647 h 184"/>
              <a:gd name="T96" fmla="*/ 2147483647 w 578"/>
              <a:gd name="T97" fmla="*/ 2147483647 h 184"/>
              <a:gd name="T98" fmla="*/ 2147483647 w 578"/>
              <a:gd name="T99" fmla="*/ 2147483647 h 184"/>
              <a:gd name="T100" fmla="*/ 2147483647 w 578"/>
              <a:gd name="T101" fmla="*/ 2147483647 h 184"/>
              <a:gd name="T102" fmla="*/ 2147483647 w 578"/>
              <a:gd name="T103" fmla="*/ 2147483647 h 184"/>
              <a:gd name="T104" fmla="*/ 2147483647 w 578"/>
              <a:gd name="T105" fmla="*/ 2147483647 h 184"/>
              <a:gd name="T106" fmla="*/ 0 w 578"/>
              <a:gd name="T107" fmla="*/ 2147483647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92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319963" y="4011414"/>
            <a:ext cx="214312" cy="252413"/>
          </a:xfrm>
          <a:custGeom>
            <a:avLst/>
            <a:gdLst>
              <a:gd name="T0" fmla="*/ 2147483647 w 491"/>
              <a:gd name="T1" fmla="*/ 2147483647 h 481"/>
              <a:gd name="T2" fmla="*/ 2147483647 w 491"/>
              <a:gd name="T3" fmla="*/ 2147483647 h 481"/>
              <a:gd name="T4" fmla="*/ 2147483647 w 491"/>
              <a:gd name="T5" fmla="*/ 2147483647 h 481"/>
              <a:gd name="T6" fmla="*/ 2147483647 w 491"/>
              <a:gd name="T7" fmla="*/ 2147483647 h 481"/>
              <a:gd name="T8" fmla="*/ 2147483647 w 491"/>
              <a:gd name="T9" fmla="*/ 2147483647 h 481"/>
              <a:gd name="T10" fmla="*/ 2147483647 w 491"/>
              <a:gd name="T11" fmla="*/ 2147483647 h 481"/>
              <a:gd name="T12" fmla="*/ 2147483647 w 491"/>
              <a:gd name="T13" fmla="*/ 2147483647 h 481"/>
              <a:gd name="T14" fmla="*/ 2147483647 w 491"/>
              <a:gd name="T15" fmla="*/ 2147483647 h 481"/>
              <a:gd name="T16" fmla="*/ 2147483647 w 491"/>
              <a:gd name="T17" fmla="*/ 2147483647 h 481"/>
              <a:gd name="T18" fmla="*/ 2147483647 w 491"/>
              <a:gd name="T19" fmla="*/ 2147483647 h 481"/>
              <a:gd name="T20" fmla="*/ 2147483647 w 491"/>
              <a:gd name="T21" fmla="*/ 2147483647 h 481"/>
              <a:gd name="T22" fmla="*/ 2147483647 w 491"/>
              <a:gd name="T23" fmla="*/ 2147483647 h 481"/>
              <a:gd name="T24" fmla="*/ 2147483647 w 491"/>
              <a:gd name="T25" fmla="*/ 2147483647 h 481"/>
              <a:gd name="T26" fmla="*/ 2147483647 w 491"/>
              <a:gd name="T27" fmla="*/ 2147483647 h 481"/>
              <a:gd name="T28" fmla="*/ 2147483647 w 491"/>
              <a:gd name="T29" fmla="*/ 2147483647 h 481"/>
              <a:gd name="T30" fmla="*/ 2147483647 w 491"/>
              <a:gd name="T31" fmla="*/ 2147483647 h 481"/>
              <a:gd name="T32" fmla="*/ 2147483647 w 491"/>
              <a:gd name="T33" fmla="*/ 2147483647 h 481"/>
              <a:gd name="T34" fmla="*/ 2147483647 w 491"/>
              <a:gd name="T35" fmla="*/ 2147483647 h 481"/>
              <a:gd name="T36" fmla="*/ 2147483647 w 491"/>
              <a:gd name="T37" fmla="*/ 2147483647 h 481"/>
              <a:gd name="T38" fmla="*/ 2147483647 w 491"/>
              <a:gd name="T39" fmla="*/ 2147483647 h 481"/>
              <a:gd name="T40" fmla="*/ 2147483647 w 491"/>
              <a:gd name="T41" fmla="*/ 2147483647 h 481"/>
              <a:gd name="T42" fmla="*/ 2147483647 w 491"/>
              <a:gd name="T43" fmla="*/ 2147483647 h 481"/>
              <a:gd name="T44" fmla="*/ 2147483647 w 491"/>
              <a:gd name="T45" fmla="*/ 2147483647 h 481"/>
              <a:gd name="T46" fmla="*/ 2147483647 w 491"/>
              <a:gd name="T47" fmla="*/ 2147483647 h 481"/>
              <a:gd name="T48" fmla="*/ 2147483647 w 491"/>
              <a:gd name="T49" fmla="*/ 2147483647 h 481"/>
              <a:gd name="T50" fmla="*/ 2147483647 w 491"/>
              <a:gd name="T51" fmla="*/ 2147483647 h 481"/>
              <a:gd name="T52" fmla="*/ 2147483647 w 491"/>
              <a:gd name="T53" fmla="*/ 2147483647 h 481"/>
              <a:gd name="T54" fmla="*/ 2147483647 w 491"/>
              <a:gd name="T55" fmla="*/ 2147483647 h 481"/>
              <a:gd name="T56" fmla="*/ 2147483647 w 491"/>
              <a:gd name="T57" fmla="*/ 2147483647 h 481"/>
              <a:gd name="T58" fmla="*/ 2147483647 w 491"/>
              <a:gd name="T59" fmla="*/ 2147483647 h 481"/>
              <a:gd name="T60" fmla="*/ 2147483647 w 491"/>
              <a:gd name="T61" fmla="*/ 2147483647 h 481"/>
              <a:gd name="T62" fmla="*/ 0 w 491"/>
              <a:gd name="T63" fmla="*/ 2147483647 h 481"/>
              <a:gd name="T64" fmla="*/ 2147483647 w 491"/>
              <a:gd name="T65" fmla="*/ 2147483647 h 481"/>
              <a:gd name="T66" fmla="*/ 2147483647 w 491"/>
              <a:gd name="T67" fmla="*/ 2147483647 h 481"/>
              <a:gd name="T68" fmla="*/ 2147483647 w 491"/>
              <a:gd name="T69" fmla="*/ 2147483647 h 481"/>
              <a:gd name="T70" fmla="*/ 2147483647 w 491"/>
              <a:gd name="T71" fmla="*/ 2147483647 h 481"/>
              <a:gd name="T72" fmla="*/ 2147483647 w 491"/>
              <a:gd name="T73" fmla="*/ 2147483647 h 481"/>
              <a:gd name="T74" fmla="*/ 2147483647 w 491"/>
              <a:gd name="T75" fmla="*/ 2147483647 h 481"/>
              <a:gd name="T76" fmla="*/ 2147483647 w 491"/>
              <a:gd name="T77" fmla="*/ 2147483647 h 481"/>
              <a:gd name="T78" fmla="*/ 2147483647 w 491"/>
              <a:gd name="T79" fmla="*/ 2147483647 h 481"/>
              <a:gd name="T80" fmla="*/ 2147483647 w 491"/>
              <a:gd name="T81" fmla="*/ 2147483647 h 481"/>
              <a:gd name="T82" fmla="*/ 2147483647 w 491"/>
              <a:gd name="T83" fmla="*/ 2147483647 h 481"/>
              <a:gd name="T84" fmla="*/ 2147483647 w 491"/>
              <a:gd name="T85" fmla="*/ 2147483647 h 481"/>
              <a:gd name="T86" fmla="*/ 2147483647 w 491"/>
              <a:gd name="T87" fmla="*/ 2147483647 h 481"/>
              <a:gd name="T88" fmla="*/ 2147483647 w 491"/>
              <a:gd name="T89" fmla="*/ 2147483647 h 481"/>
              <a:gd name="T90" fmla="*/ 2147483647 w 491"/>
              <a:gd name="T91" fmla="*/ 2147483647 h 481"/>
              <a:gd name="T92" fmla="*/ 2147483647 w 491"/>
              <a:gd name="T93" fmla="*/ 2147483647 h 481"/>
              <a:gd name="T94" fmla="*/ 2147483647 w 491"/>
              <a:gd name="T95" fmla="*/ 0 h 481"/>
              <a:gd name="T96" fmla="*/ 2147483647 w 491"/>
              <a:gd name="T97" fmla="*/ 2147483647 h 481"/>
              <a:gd name="T98" fmla="*/ 2147483647 w 491"/>
              <a:gd name="T99" fmla="*/ 2147483647 h 481"/>
              <a:gd name="T100" fmla="*/ 2147483647 w 491"/>
              <a:gd name="T101" fmla="*/ 2147483647 h 481"/>
              <a:gd name="T102" fmla="*/ 2147483647 w 491"/>
              <a:gd name="T103" fmla="*/ 2147483647 h 481"/>
              <a:gd name="T104" fmla="*/ 2147483647 w 491"/>
              <a:gd name="T105" fmla="*/ 2147483647 h 481"/>
              <a:gd name="T106" fmla="*/ 2147483647 w 491"/>
              <a:gd name="T107" fmla="*/ 2147483647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93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851525" y="2843014"/>
            <a:ext cx="53975" cy="60325"/>
          </a:xfrm>
          <a:custGeom>
            <a:avLst/>
            <a:gdLst>
              <a:gd name="T0" fmla="*/ 0 w 133"/>
              <a:gd name="T1" fmla="*/ 2147483647 h 117"/>
              <a:gd name="T2" fmla="*/ 2147483647 w 133"/>
              <a:gd name="T3" fmla="*/ 0 h 117"/>
              <a:gd name="T4" fmla="*/ 2147483647 w 133"/>
              <a:gd name="T5" fmla="*/ 2147483647 h 117"/>
              <a:gd name="T6" fmla="*/ 2147483647 w 133"/>
              <a:gd name="T7" fmla="*/ 2147483647 h 117"/>
              <a:gd name="T8" fmla="*/ 2147483647 w 133"/>
              <a:gd name="T9" fmla="*/ 2147483647 h 117"/>
              <a:gd name="T10" fmla="*/ 2147483647 w 133"/>
              <a:gd name="T11" fmla="*/ 2147483647 h 117"/>
              <a:gd name="T12" fmla="*/ 2147483647 w 133"/>
              <a:gd name="T13" fmla="*/ 2147483647 h 117"/>
              <a:gd name="T14" fmla="*/ 2147483647 w 133"/>
              <a:gd name="T15" fmla="*/ 2147483647 h 117"/>
              <a:gd name="T16" fmla="*/ 2147483647 w 133"/>
              <a:gd name="T17" fmla="*/ 2147483647 h 117"/>
              <a:gd name="T18" fmla="*/ 2147483647 w 133"/>
              <a:gd name="T19" fmla="*/ 2147483647 h 117"/>
              <a:gd name="T20" fmla="*/ 2147483647 w 133"/>
              <a:gd name="T21" fmla="*/ 2147483647 h 117"/>
              <a:gd name="T22" fmla="*/ 2147483647 w 133"/>
              <a:gd name="T23" fmla="*/ 2147483647 h 117"/>
              <a:gd name="T24" fmla="*/ 2147483647 w 133"/>
              <a:gd name="T25" fmla="*/ 2147483647 h 117"/>
              <a:gd name="T26" fmla="*/ 2147483647 w 133"/>
              <a:gd name="T27" fmla="*/ 2147483647 h 117"/>
              <a:gd name="T28" fmla="*/ 2147483647 w 133"/>
              <a:gd name="T29" fmla="*/ 2147483647 h 117"/>
              <a:gd name="T30" fmla="*/ 2147483647 w 133"/>
              <a:gd name="T31" fmla="*/ 2147483647 h 117"/>
              <a:gd name="T32" fmla="*/ 2147483647 w 133"/>
              <a:gd name="T33" fmla="*/ 2147483647 h 117"/>
              <a:gd name="T34" fmla="*/ 2147483647 w 133"/>
              <a:gd name="T35" fmla="*/ 2147483647 h 117"/>
              <a:gd name="T36" fmla="*/ 2147483647 w 133"/>
              <a:gd name="T37" fmla="*/ 2147483647 h 117"/>
              <a:gd name="T38" fmla="*/ 2147483647 w 133"/>
              <a:gd name="T39" fmla="*/ 2147483647 h 117"/>
              <a:gd name="T40" fmla="*/ 2147483647 w 133"/>
              <a:gd name="T41" fmla="*/ 2147483647 h 117"/>
              <a:gd name="T42" fmla="*/ 2147483647 w 133"/>
              <a:gd name="T43" fmla="*/ 2147483647 h 117"/>
              <a:gd name="T44" fmla="*/ 2147483647 w 133"/>
              <a:gd name="T45" fmla="*/ 2147483647 h 117"/>
              <a:gd name="T46" fmla="*/ 2147483647 w 133"/>
              <a:gd name="T47" fmla="*/ 2147483647 h 117"/>
              <a:gd name="T48" fmla="*/ 2147483647 w 133"/>
              <a:gd name="T49" fmla="*/ 2147483647 h 117"/>
              <a:gd name="T50" fmla="*/ 0 w 133"/>
              <a:gd name="T51" fmla="*/ 2147483647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94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308475" y="2247702"/>
            <a:ext cx="220663" cy="177800"/>
          </a:xfrm>
          <a:custGeom>
            <a:avLst/>
            <a:gdLst>
              <a:gd name="T0" fmla="*/ 51933146 w 505"/>
              <a:gd name="T1" fmla="*/ 9902778 h 339"/>
              <a:gd name="T2" fmla="*/ 92410606 w 505"/>
              <a:gd name="T3" fmla="*/ 23657365 h 339"/>
              <a:gd name="T4" fmla="*/ 91264906 w 505"/>
              <a:gd name="T5" fmla="*/ 29984213 h 339"/>
              <a:gd name="T6" fmla="*/ 89928256 w 505"/>
              <a:gd name="T7" fmla="*/ 35485523 h 339"/>
              <a:gd name="T8" fmla="*/ 88019194 w 505"/>
              <a:gd name="T9" fmla="*/ 39886991 h 339"/>
              <a:gd name="T10" fmla="*/ 86109694 w 505"/>
              <a:gd name="T11" fmla="*/ 42087725 h 339"/>
              <a:gd name="T12" fmla="*/ 88019194 w 505"/>
              <a:gd name="T13" fmla="*/ 50615307 h 339"/>
              <a:gd name="T14" fmla="*/ 91073956 w 505"/>
              <a:gd name="T15" fmla="*/ 59142888 h 339"/>
              <a:gd name="T16" fmla="*/ 96420118 w 505"/>
              <a:gd name="T17" fmla="*/ 70971571 h 339"/>
              <a:gd name="T18" fmla="*/ 94129155 w 505"/>
              <a:gd name="T19" fmla="*/ 74547501 h 339"/>
              <a:gd name="T20" fmla="*/ 91455856 w 505"/>
              <a:gd name="T21" fmla="*/ 80324166 h 339"/>
              <a:gd name="T22" fmla="*/ 89355843 w 505"/>
              <a:gd name="T23" fmla="*/ 86376184 h 339"/>
              <a:gd name="T24" fmla="*/ 88592043 w 505"/>
              <a:gd name="T25" fmla="*/ 93253215 h 339"/>
              <a:gd name="T26" fmla="*/ 84582531 w 505"/>
              <a:gd name="T27" fmla="*/ 92978386 h 339"/>
              <a:gd name="T28" fmla="*/ 79045419 w 505"/>
              <a:gd name="T29" fmla="*/ 92152848 h 339"/>
              <a:gd name="T30" fmla="*/ 73508307 w 505"/>
              <a:gd name="T31" fmla="*/ 91052481 h 339"/>
              <a:gd name="T32" fmla="*/ 68353095 w 505"/>
              <a:gd name="T33" fmla="*/ 89677285 h 339"/>
              <a:gd name="T34" fmla="*/ 58043108 w 505"/>
              <a:gd name="T35" fmla="*/ 89401931 h 339"/>
              <a:gd name="T36" fmla="*/ 50405547 w 505"/>
              <a:gd name="T37" fmla="*/ 88301564 h 339"/>
              <a:gd name="T38" fmla="*/ 47350784 w 505"/>
              <a:gd name="T39" fmla="*/ 87201197 h 339"/>
              <a:gd name="T40" fmla="*/ 44296022 w 505"/>
              <a:gd name="T41" fmla="*/ 85275817 h 339"/>
              <a:gd name="T42" fmla="*/ 40668409 w 505"/>
              <a:gd name="T43" fmla="*/ 82524900 h 339"/>
              <a:gd name="T44" fmla="*/ 34367498 w 505"/>
              <a:gd name="T45" fmla="*/ 79499153 h 339"/>
              <a:gd name="T46" fmla="*/ 27876073 w 505"/>
              <a:gd name="T47" fmla="*/ 75097685 h 339"/>
              <a:gd name="T48" fmla="*/ 18711348 w 505"/>
              <a:gd name="T49" fmla="*/ 68495483 h 339"/>
              <a:gd name="T50" fmla="*/ 11837587 w 505"/>
              <a:gd name="T51" fmla="*/ 56667325 h 339"/>
              <a:gd name="T52" fmla="*/ 9928524 w 505"/>
              <a:gd name="T53" fmla="*/ 46489193 h 339"/>
              <a:gd name="T54" fmla="*/ 6873325 w 505"/>
              <a:gd name="T55" fmla="*/ 34110327 h 339"/>
              <a:gd name="T56" fmla="*/ 2863812 w 505"/>
              <a:gd name="T57" fmla="*/ 22831828 h 339"/>
              <a:gd name="T58" fmla="*/ 381900 w 505"/>
              <a:gd name="T59" fmla="*/ 17605347 h 339"/>
              <a:gd name="T60" fmla="*/ 954750 w 505"/>
              <a:gd name="T61" fmla="*/ 16780334 h 339"/>
              <a:gd name="T62" fmla="*/ 2100450 w 505"/>
              <a:gd name="T63" fmla="*/ 15404613 h 339"/>
              <a:gd name="T64" fmla="*/ 2100450 w 505"/>
              <a:gd name="T65" fmla="*/ 13203879 h 339"/>
              <a:gd name="T66" fmla="*/ 2100450 w 505"/>
              <a:gd name="T67" fmla="*/ 11828683 h 339"/>
              <a:gd name="T68" fmla="*/ 6491862 w 505"/>
              <a:gd name="T69" fmla="*/ 9352595 h 339"/>
              <a:gd name="T70" fmla="*/ 13938036 w 505"/>
              <a:gd name="T71" fmla="*/ 6052018 h 339"/>
              <a:gd name="T72" fmla="*/ 24438973 w 505"/>
              <a:gd name="T73" fmla="*/ 2200734 h 339"/>
              <a:gd name="T74" fmla="*/ 33030848 w 505"/>
              <a:gd name="T75" fmla="*/ 3025747 h 339"/>
              <a:gd name="T76" fmla="*/ 35895097 w 505"/>
              <a:gd name="T77" fmla="*/ 7702569 h 339"/>
              <a:gd name="T78" fmla="*/ 38377010 w 505"/>
              <a:gd name="T79" fmla="*/ 9627949 h 339"/>
              <a:gd name="T80" fmla="*/ 41813672 w 505"/>
              <a:gd name="T81" fmla="*/ 9902778 h 339"/>
              <a:gd name="T82" fmla="*/ 45632671 w 505"/>
              <a:gd name="T83" fmla="*/ 9902778 h 339"/>
              <a:gd name="T84" fmla="*/ 49451234 w 505"/>
              <a:gd name="T85" fmla="*/ 6602202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95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371975" y="2452489"/>
            <a:ext cx="146050" cy="71438"/>
          </a:xfrm>
          <a:custGeom>
            <a:avLst/>
            <a:gdLst>
              <a:gd name="T0" fmla="*/ 58253641 w 338"/>
              <a:gd name="T1" fmla="*/ 0 h 141"/>
              <a:gd name="T2" fmla="*/ 34728357 w 338"/>
              <a:gd name="T3" fmla="*/ 0 h 141"/>
              <a:gd name="T4" fmla="*/ 31367478 w 338"/>
              <a:gd name="T5" fmla="*/ 2053463 h 141"/>
              <a:gd name="T6" fmla="*/ 26886163 w 338"/>
              <a:gd name="T7" fmla="*/ 5390782 h 141"/>
              <a:gd name="T8" fmla="*/ 24645721 w 338"/>
              <a:gd name="T9" fmla="*/ 6931006 h 141"/>
              <a:gd name="T10" fmla="*/ 22218612 w 338"/>
              <a:gd name="T11" fmla="*/ 8214357 h 141"/>
              <a:gd name="T12" fmla="*/ 20911508 w 338"/>
              <a:gd name="T13" fmla="*/ 8727596 h 141"/>
              <a:gd name="T14" fmla="*/ 19604836 w 338"/>
              <a:gd name="T15" fmla="*/ 8984468 h 141"/>
              <a:gd name="T16" fmla="*/ 18484399 w 338"/>
              <a:gd name="T17" fmla="*/ 9240835 h 141"/>
              <a:gd name="T18" fmla="*/ 17363962 w 338"/>
              <a:gd name="T19" fmla="*/ 9497707 h 141"/>
              <a:gd name="T20" fmla="*/ 16430625 w 338"/>
              <a:gd name="T21" fmla="*/ 9240835 h 141"/>
              <a:gd name="T22" fmla="*/ 15683523 w 338"/>
              <a:gd name="T23" fmla="*/ 8984468 h 141"/>
              <a:gd name="T24" fmla="*/ 14563518 w 338"/>
              <a:gd name="T25" fmla="*/ 8214357 h 141"/>
              <a:gd name="T26" fmla="*/ 13816416 w 338"/>
              <a:gd name="T27" fmla="*/ 7701118 h 141"/>
              <a:gd name="T28" fmla="*/ 12323077 w 338"/>
              <a:gd name="T29" fmla="*/ 6160894 h 141"/>
              <a:gd name="T30" fmla="*/ 11015972 w 338"/>
              <a:gd name="T31" fmla="*/ 4620671 h 141"/>
              <a:gd name="T32" fmla="*/ 9148866 w 338"/>
              <a:gd name="T33" fmla="*/ 8727596 h 141"/>
              <a:gd name="T34" fmla="*/ 6908424 w 338"/>
              <a:gd name="T35" fmla="*/ 13091393 h 141"/>
              <a:gd name="T36" fmla="*/ 5601320 w 338"/>
              <a:gd name="T37" fmla="*/ 15401729 h 141"/>
              <a:gd name="T38" fmla="*/ 3920881 w 338"/>
              <a:gd name="T39" fmla="*/ 17455191 h 141"/>
              <a:gd name="T40" fmla="*/ 2053774 w 338"/>
              <a:gd name="T41" fmla="*/ 19252288 h 141"/>
              <a:gd name="T42" fmla="*/ 0 w 338"/>
              <a:gd name="T43" fmla="*/ 20535638 h 141"/>
              <a:gd name="T44" fmla="*/ 2240442 w 338"/>
              <a:gd name="T45" fmla="*/ 23102847 h 141"/>
              <a:gd name="T46" fmla="*/ 4294216 w 338"/>
              <a:gd name="T47" fmla="*/ 25669548 h 141"/>
              <a:gd name="T48" fmla="*/ 6161322 w 338"/>
              <a:gd name="T49" fmla="*/ 27723011 h 141"/>
              <a:gd name="T50" fmla="*/ 8215096 w 338"/>
              <a:gd name="T51" fmla="*/ 29776980 h 141"/>
              <a:gd name="T52" fmla="*/ 10269303 w 338"/>
              <a:gd name="T53" fmla="*/ 31317203 h 141"/>
              <a:gd name="T54" fmla="*/ 12323077 w 338"/>
              <a:gd name="T55" fmla="*/ 33113793 h 141"/>
              <a:gd name="T56" fmla="*/ 14750186 w 338"/>
              <a:gd name="T57" fmla="*/ 34654016 h 141"/>
              <a:gd name="T58" fmla="*/ 17363962 w 338"/>
              <a:gd name="T59" fmla="*/ 36194240 h 141"/>
              <a:gd name="T60" fmla="*/ 48358106 w 338"/>
              <a:gd name="T61" fmla="*/ 36194240 h 141"/>
              <a:gd name="T62" fmla="*/ 50225212 w 338"/>
              <a:gd name="T63" fmla="*/ 31830442 h 141"/>
              <a:gd name="T64" fmla="*/ 52465654 w 338"/>
              <a:gd name="T65" fmla="*/ 27466644 h 141"/>
              <a:gd name="T66" fmla="*/ 54519428 w 338"/>
              <a:gd name="T67" fmla="*/ 23616086 h 141"/>
              <a:gd name="T68" fmla="*/ 56760302 w 338"/>
              <a:gd name="T69" fmla="*/ 20022399 h 141"/>
              <a:gd name="T70" fmla="*/ 58814076 w 338"/>
              <a:gd name="T71" fmla="*/ 16428713 h 141"/>
              <a:gd name="T72" fmla="*/ 60494515 w 338"/>
              <a:gd name="T73" fmla="*/ 12321282 h 141"/>
              <a:gd name="T74" fmla="*/ 62174522 w 338"/>
              <a:gd name="T75" fmla="*/ 8727596 h 141"/>
              <a:gd name="T76" fmla="*/ 63108291 w 338"/>
              <a:gd name="T77" fmla="*/ 4620671 h 141"/>
              <a:gd name="T78" fmla="*/ 58253641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96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471988" y="2108002"/>
            <a:ext cx="111125" cy="65087"/>
          </a:xfrm>
          <a:custGeom>
            <a:avLst/>
            <a:gdLst>
              <a:gd name="T0" fmla="*/ 47678632 w 259"/>
              <a:gd name="T1" fmla="*/ 32839671 h 129"/>
              <a:gd name="T2" fmla="*/ 46942375 w 259"/>
              <a:gd name="T3" fmla="*/ 25966181 h 129"/>
              <a:gd name="T4" fmla="*/ 46390182 w 259"/>
              <a:gd name="T5" fmla="*/ 20365672 h 129"/>
              <a:gd name="T6" fmla="*/ 46390182 w 259"/>
              <a:gd name="T7" fmla="*/ 16038143 h 129"/>
              <a:gd name="T8" fmla="*/ 46574247 w 259"/>
              <a:gd name="T9" fmla="*/ 12728797 h 129"/>
              <a:gd name="T10" fmla="*/ 47310503 w 259"/>
              <a:gd name="T11" fmla="*/ 7382581 h 129"/>
              <a:gd name="T12" fmla="*/ 47678632 w 259"/>
              <a:gd name="T13" fmla="*/ 3055053 h 129"/>
              <a:gd name="T14" fmla="*/ 47494568 w 259"/>
              <a:gd name="T15" fmla="*/ 3564144 h 129"/>
              <a:gd name="T16" fmla="*/ 47126439 w 259"/>
              <a:gd name="T17" fmla="*/ 4073235 h 129"/>
              <a:gd name="T18" fmla="*/ 46574247 w 259"/>
              <a:gd name="T19" fmla="*/ 4327529 h 129"/>
              <a:gd name="T20" fmla="*/ 45837561 w 259"/>
              <a:gd name="T21" fmla="*/ 4582327 h 129"/>
              <a:gd name="T22" fmla="*/ 43996919 w 259"/>
              <a:gd name="T23" fmla="*/ 4836620 h 129"/>
              <a:gd name="T24" fmla="*/ 41971784 w 259"/>
              <a:gd name="T25" fmla="*/ 4836620 h 129"/>
              <a:gd name="T26" fmla="*/ 37737878 w 259"/>
              <a:gd name="T27" fmla="*/ 4836620 h 129"/>
              <a:gd name="T28" fmla="*/ 35344615 w 259"/>
              <a:gd name="T29" fmla="*/ 4582327 h 129"/>
              <a:gd name="T30" fmla="*/ 33319909 w 259"/>
              <a:gd name="T31" fmla="*/ 4327529 h 129"/>
              <a:gd name="T32" fmla="*/ 31662902 w 259"/>
              <a:gd name="T33" fmla="*/ 3818437 h 129"/>
              <a:gd name="T34" fmla="*/ 30006324 w 259"/>
              <a:gd name="T35" fmla="*/ 3055053 h 129"/>
              <a:gd name="T36" fmla="*/ 28717446 w 259"/>
              <a:gd name="T37" fmla="*/ 2291163 h 129"/>
              <a:gd name="T38" fmla="*/ 26876804 w 259"/>
              <a:gd name="T39" fmla="*/ 1527274 h 129"/>
              <a:gd name="T40" fmla="*/ 24667605 w 259"/>
              <a:gd name="T41" fmla="*/ 763889 h 129"/>
              <a:gd name="T42" fmla="*/ 21722149 w 259"/>
              <a:gd name="T43" fmla="*/ 254798 h 129"/>
              <a:gd name="T44" fmla="*/ 18224500 w 259"/>
              <a:gd name="T45" fmla="*/ 0 h 129"/>
              <a:gd name="T46" fmla="*/ 15279044 w 259"/>
              <a:gd name="T47" fmla="*/ 0 h 129"/>
              <a:gd name="T48" fmla="*/ 12334017 w 259"/>
              <a:gd name="T49" fmla="*/ 0 h 129"/>
              <a:gd name="T50" fmla="*/ 9204497 w 259"/>
              <a:gd name="T51" fmla="*/ 0 h 129"/>
              <a:gd name="T52" fmla="*/ 6259041 w 259"/>
              <a:gd name="T53" fmla="*/ 509091 h 129"/>
              <a:gd name="T54" fmla="*/ 4970162 w 259"/>
              <a:gd name="T55" fmla="*/ 1018183 h 129"/>
              <a:gd name="T56" fmla="*/ 3865777 w 259"/>
              <a:gd name="T57" fmla="*/ 1527274 h 129"/>
              <a:gd name="T58" fmla="*/ 2577328 w 259"/>
              <a:gd name="T59" fmla="*/ 2291163 h 129"/>
              <a:gd name="T60" fmla="*/ 1841071 w 259"/>
              <a:gd name="T61" fmla="*/ 3309346 h 129"/>
              <a:gd name="T62" fmla="*/ 920321 w 259"/>
              <a:gd name="T63" fmla="*/ 4327529 h 129"/>
              <a:gd name="T64" fmla="*/ 368128 w 259"/>
              <a:gd name="T65" fmla="*/ 5600509 h 129"/>
              <a:gd name="T66" fmla="*/ 0 w 259"/>
              <a:gd name="T67" fmla="*/ 7382581 h 129"/>
              <a:gd name="T68" fmla="*/ 0 w 259"/>
              <a:gd name="T69" fmla="*/ 9164653 h 129"/>
              <a:gd name="T70" fmla="*/ 0 w 259"/>
              <a:gd name="T71" fmla="*/ 12219201 h 129"/>
              <a:gd name="T72" fmla="*/ 552193 w 259"/>
              <a:gd name="T73" fmla="*/ 14765163 h 129"/>
              <a:gd name="T74" fmla="*/ 1104385 w 259"/>
              <a:gd name="T75" fmla="*/ 16547235 h 129"/>
              <a:gd name="T76" fmla="*/ 2209199 w 259"/>
              <a:gd name="T77" fmla="*/ 18074509 h 129"/>
              <a:gd name="T78" fmla="*/ 3129520 w 259"/>
              <a:gd name="T79" fmla="*/ 19347489 h 129"/>
              <a:gd name="T80" fmla="*/ 4417970 w 259"/>
              <a:gd name="T81" fmla="*/ 20365672 h 129"/>
              <a:gd name="T82" fmla="*/ 5706848 w 259"/>
              <a:gd name="T83" fmla="*/ 21129561 h 129"/>
              <a:gd name="T84" fmla="*/ 6811233 w 259"/>
              <a:gd name="T85" fmla="*/ 21638652 h 129"/>
              <a:gd name="T86" fmla="*/ 9204497 w 259"/>
              <a:gd name="T87" fmla="*/ 22402037 h 129"/>
              <a:gd name="T88" fmla="*/ 11229203 w 259"/>
              <a:gd name="T89" fmla="*/ 23420724 h 129"/>
              <a:gd name="T90" fmla="*/ 11965889 w 259"/>
              <a:gd name="T91" fmla="*/ 24184109 h 129"/>
              <a:gd name="T92" fmla="*/ 12334017 w 259"/>
              <a:gd name="T93" fmla="*/ 25202292 h 129"/>
              <a:gd name="T94" fmla="*/ 12334017 w 259"/>
              <a:gd name="T95" fmla="*/ 26730070 h 129"/>
              <a:gd name="T96" fmla="*/ 12149953 w 259"/>
              <a:gd name="T97" fmla="*/ 28257344 h 129"/>
              <a:gd name="T98" fmla="*/ 14910916 w 259"/>
              <a:gd name="T99" fmla="*/ 28003051 h 129"/>
              <a:gd name="T100" fmla="*/ 16751986 w 259"/>
              <a:gd name="T101" fmla="*/ 27493455 h 129"/>
              <a:gd name="T102" fmla="*/ 18040436 w 259"/>
              <a:gd name="T103" fmla="*/ 26984364 h 129"/>
              <a:gd name="T104" fmla="*/ 19329314 w 259"/>
              <a:gd name="T105" fmla="*/ 26730070 h 129"/>
              <a:gd name="T106" fmla="*/ 22090277 w 259"/>
              <a:gd name="T107" fmla="*/ 26984364 h 129"/>
              <a:gd name="T108" fmla="*/ 25772419 w 259"/>
              <a:gd name="T109" fmla="*/ 27493455 h 129"/>
              <a:gd name="T110" fmla="*/ 30558517 w 259"/>
              <a:gd name="T111" fmla="*/ 28512142 h 129"/>
              <a:gd name="T112" fmla="*/ 35344615 w 259"/>
              <a:gd name="T113" fmla="*/ 29784618 h 129"/>
              <a:gd name="T114" fmla="*/ 43812855 w 259"/>
              <a:gd name="T115" fmla="*/ 31821488 h 129"/>
              <a:gd name="T116" fmla="*/ 47678632 w 259"/>
              <a:gd name="T117" fmla="*/ 32839671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97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484688" y="2455664"/>
            <a:ext cx="179387" cy="142875"/>
          </a:xfrm>
          <a:custGeom>
            <a:avLst/>
            <a:gdLst>
              <a:gd name="T0" fmla="*/ 74469664 w 425"/>
              <a:gd name="T1" fmla="*/ 46905547 h 272"/>
              <a:gd name="T2" fmla="*/ 70906827 w 425"/>
              <a:gd name="T3" fmla="*/ 51872029 h 272"/>
              <a:gd name="T4" fmla="*/ 68234172 w 425"/>
              <a:gd name="T5" fmla="*/ 56838511 h 272"/>
              <a:gd name="T6" fmla="*/ 68412293 w 425"/>
              <a:gd name="T7" fmla="*/ 60977159 h 272"/>
              <a:gd name="T8" fmla="*/ 69303318 w 425"/>
              <a:gd name="T9" fmla="*/ 65391576 h 272"/>
              <a:gd name="T10" fmla="*/ 66809206 w 425"/>
              <a:gd name="T11" fmla="*/ 67323015 h 272"/>
              <a:gd name="T12" fmla="*/ 61820559 w 425"/>
              <a:gd name="T13" fmla="*/ 65667871 h 272"/>
              <a:gd name="T14" fmla="*/ 57722938 w 425"/>
              <a:gd name="T15" fmla="*/ 64840037 h 272"/>
              <a:gd name="T16" fmla="*/ 52556592 w 425"/>
              <a:gd name="T17" fmla="*/ 64840037 h 272"/>
              <a:gd name="T18" fmla="*/ 46855462 w 425"/>
              <a:gd name="T19" fmla="*/ 67047245 h 272"/>
              <a:gd name="T20" fmla="*/ 41332453 w 425"/>
              <a:gd name="T21" fmla="*/ 70082289 h 272"/>
              <a:gd name="T22" fmla="*/ 35096961 w 425"/>
              <a:gd name="T23" fmla="*/ 73669397 h 272"/>
              <a:gd name="T24" fmla="*/ 17815873 w 425"/>
              <a:gd name="T25" fmla="*/ 66219411 h 272"/>
              <a:gd name="T26" fmla="*/ 15143217 w 425"/>
              <a:gd name="T27" fmla="*/ 62356533 h 272"/>
              <a:gd name="T28" fmla="*/ 12470984 w 425"/>
              <a:gd name="T29" fmla="*/ 59045720 h 272"/>
              <a:gd name="T30" fmla="*/ 6591734 w 425"/>
              <a:gd name="T31" fmla="*/ 52975634 h 272"/>
              <a:gd name="T32" fmla="*/ 3919500 w 425"/>
              <a:gd name="T33" fmla="*/ 49664821 h 272"/>
              <a:gd name="T34" fmla="*/ 1959750 w 425"/>
              <a:gd name="T35" fmla="*/ 46077713 h 272"/>
              <a:gd name="T36" fmla="*/ 356241 w 425"/>
              <a:gd name="T37" fmla="*/ 41387000 h 272"/>
              <a:gd name="T38" fmla="*/ 0 w 425"/>
              <a:gd name="T39" fmla="*/ 35593209 h 272"/>
              <a:gd name="T40" fmla="*/ 8907725 w 425"/>
              <a:gd name="T41" fmla="*/ 18210259 h 272"/>
              <a:gd name="T42" fmla="*/ 12649105 w 425"/>
              <a:gd name="T43" fmla="*/ 9932964 h 272"/>
              <a:gd name="T44" fmla="*/ 14252614 w 425"/>
              <a:gd name="T45" fmla="*/ 6070086 h 272"/>
              <a:gd name="T46" fmla="*/ 15143217 w 425"/>
              <a:gd name="T47" fmla="*/ 1655669 h 272"/>
              <a:gd name="T48" fmla="*/ 21913494 w 425"/>
              <a:gd name="T49" fmla="*/ 2759273 h 272"/>
              <a:gd name="T50" fmla="*/ 27257960 w 425"/>
              <a:gd name="T51" fmla="*/ 4966482 h 272"/>
              <a:gd name="T52" fmla="*/ 32068486 w 425"/>
              <a:gd name="T53" fmla="*/ 7449460 h 272"/>
              <a:gd name="T54" fmla="*/ 36522349 w 425"/>
              <a:gd name="T55" fmla="*/ 8553590 h 272"/>
              <a:gd name="T56" fmla="*/ 38125858 w 425"/>
              <a:gd name="T57" fmla="*/ 8001525 h 272"/>
              <a:gd name="T58" fmla="*/ 39372703 w 425"/>
              <a:gd name="T59" fmla="*/ 7173691 h 272"/>
              <a:gd name="T60" fmla="*/ 41332453 w 425"/>
              <a:gd name="T61" fmla="*/ 4138648 h 272"/>
              <a:gd name="T62" fmla="*/ 43114083 w 425"/>
              <a:gd name="T63" fmla="*/ 1379374 h 272"/>
              <a:gd name="T64" fmla="*/ 44539471 w 425"/>
              <a:gd name="T65" fmla="*/ 552065 h 272"/>
              <a:gd name="T66" fmla="*/ 46142979 w 425"/>
              <a:gd name="T67" fmla="*/ 0 h 272"/>
              <a:gd name="T68" fmla="*/ 48993333 w 425"/>
              <a:gd name="T69" fmla="*/ 552065 h 272"/>
              <a:gd name="T70" fmla="*/ 51487446 w 425"/>
              <a:gd name="T71" fmla="*/ 1931439 h 272"/>
              <a:gd name="T72" fmla="*/ 53803437 w 425"/>
              <a:gd name="T73" fmla="*/ 4138648 h 272"/>
              <a:gd name="T74" fmla="*/ 55228825 w 425"/>
              <a:gd name="T75" fmla="*/ 7173691 h 272"/>
              <a:gd name="T76" fmla="*/ 57901059 w 425"/>
              <a:gd name="T77" fmla="*/ 14623676 h 272"/>
              <a:gd name="T78" fmla="*/ 60038930 w 425"/>
              <a:gd name="T79" fmla="*/ 22625202 h 272"/>
              <a:gd name="T80" fmla="*/ 62176800 w 425"/>
              <a:gd name="T81" fmla="*/ 31178267 h 272"/>
              <a:gd name="T82" fmla="*/ 63424068 w 425"/>
              <a:gd name="T83" fmla="*/ 34765375 h 272"/>
              <a:gd name="T84" fmla="*/ 65027576 w 425"/>
              <a:gd name="T85" fmla="*/ 38076188 h 272"/>
              <a:gd name="T86" fmla="*/ 66987327 w 425"/>
              <a:gd name="T87" fmla="*/ 40559691 h 272"/>
              <a:gd name="T88" fmla="*/ 69303318 w 425"/>
              <a:gd name="T89" fmla="*/ 43042670 h 272"/>
              <a:gd name="T90" fmla="*/ 72153672 w 425"/>
              <a:gd name="T91" fmla="*/ 44146274 h 272"/>
              <a:gd name="T92" fmla="*/ 75716931 w 425"/>
              <a:gd name="T93" fmla="*/ 44422044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98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484438" y="3493889"/>
            <a:ext cx="14287" cy="55563"/>
          </a:xfrm>
          <a:custGeom>
            <a:avLst/>
            <a:gdLst>
              <a:gd name="T0" fmla="*/ 2147483647 w 33"/>
              <a:gd name="T1" fmla="*/ 2147483647 h 31"/>
              <a:gd name="T2" fmla="*/ 0 w 33"/>
              <a:gd name="T3" fmla="*/ 2147483647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0 h 31"/>
              <a:gd name="T18" fmla="*/ 2147483647 w 33"/>
              <a:gd name="T19" fmla="*/ 0 h 31"/>
              <a:gd name="T20" fmla="*/ 2147483647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99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589463" y="2447727"/>
            <a:ext cx="85725" cy="79375"/>
          </a:xfrm>
          <a:custGeom>
            <a:avLst/>
            <a:gdLst>
              <a:gd name="T0" fmla="*/ 1196132 w 192"/>
              <a:gd name="T1" fmla="*/ 5047528 h 154"/>
              <a:gd name="T2" fmla="*/ 10366028 w 192"/>
              <a:gd name="T3" fmla="*/ 0 h 154"/>
              <a:gd name="T4" fmla="*/ 18340239 w 192"/>
              <a:gd name="T5" fmla="*/ 5047528 h 154"/>
              <a:gd name="T6" fmla="*/ 23722608 w 192"/>
              <a:gd name="T7" fmla="*/ 8235414 h 154"/>
              <a:gd name="T8" fmla="*/ 29104977 w 192"/>
              <a:gd name="T9" fmla="*/ 16736786 h 154"/>
              <a:gd name="T10" fmla="*/ 33091636 w 192"/>
              <a:gd name="T11" fmla="*/ 24706242 h 154"/>
              <a:gd name="T12" fmla="*/ 38274873 w 192"/>
              <a:gd name="T13" fmla="*/ 31347971 h 154"/>
              <a:gd name="T14" fmla="*/ 30301109 w 192"/>
              <a:gd name="T15" fmla="*/ 32941656 h 154"/>
              <a:gd name="T16" fmla="*/ 25117871 w 192"/>
              <a:gd name="T17" fmla="*/ 34535856 h 154"/>
              <a:gd name="T18" fmla="*/ 25117871 w 192"/>
              <a:gd name="T19" fmla="*/ 40911627 h 154"/>
              <a:gd name="T20" fmla="*/ 21130766 w 192"/>
              <a:gd name="T21" fmla="*/ 40911627 h 154"/>
              <a:gd name="T22" fmla="*/ 19735502 w 192"/>
              <a:gd name="T23" fmla="*/ 38786542 h 154"/>
              <a:gd name="T24" fmla="*/ 18539371 w 192"/>
              <a:gd name="T25" fmla="*/ 36395499 h 154"/>
              <a:gd name="T26" fmla="*/ 17542818 w 192"/>
              <a:gd name="T27" fmla="*/ 33473056 h 154"/>
              <a:gd name="T28" fmla="*/ 16346686 w 192"/>
              <a:gd name="T29" fmla="*/ 30551128 h 154"/>
              <a:gd name="T30" fmla="*/ 14751844 w 192"/>
              <a:gd name="T31" fmla="*/ 24706242 h 154"/>
              <a:gd name="T32" fmla="*/ 12957423 w 192"/>
              <a:gd name="T33" fmla="*/ 18861871 h 154"/>
              <a:gd name="T34" fmla="*/ 11960870 w 192"/>
              <a:gd name="T35" fmla="*/ 16205386 h 154"/>
              <a:gd name="T36" fmla="*/ 10964317 w 192"/>
              <a:gd name="T37" fmla="*/ 13282942 h 154"/>
              <a:gd name="T38" fmla="*/ 9568607 w 192"/>
              <a:gd name="T39" fmla="*/ 11157857 h 154"/>
              <a:gd name="T40" fmla="*/ 8173343 w 192"/>
              <a:gd name="T41" fmla="*/ 9032256 h 154"/>
              <a:gd name="T42" fmla="*/ 6578501 w 192"/>
              <a:gd name="T43" fmla="*/ 7438571 h 154"/>
              <a:gd name="T44" fmla="*/ 4784527 w 192"/>
              <a:gd name="T45" fmla="*/ 6110329 h 154"/>
              <a:gd name="T46" fmla="*/ 3588395 w 192"/>
              <a:gd name="T47" fmla="*/ 5844371 h 154"/>
              <a:gd name="T48" fmla="*/ 2392263 w 192"/>
              <a:gd name="T49" fmla="*/ 5312971 h 154"/>
              <a:gd name="T50" fmla="*/ 1196132 w 192"/>
              <a:gd name="T51" fmla="*/ 5312971 h 154"/>
              <a:gd name="T52" fmla="*/ 0 w 192"/>
              <a:gd name="T53" fmla="*/ 5047528 h 154"/>
              <a:gd name="T54" fmla="*/ 1196132 w 192"/>
              <a:gd name="T55" fmla="*/ 5047528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00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506913" y="2330252"/>
            <a:ext cx="381000" cy="247650"/>
          </a:xfrm>
          <a:custGeom>
            <a:avLst/>
            <a:gdLst>
              <a:gd name="T0" fmla="*/ 73983944 w 877"/>
              <a:gd name="T1" fmla="*/ 94800314 h 469"/>
              <a:gd name="T2" fmla="*/ 60206254 w 877"/>
              <a:gd name="T3" fmla="*/ 70542759 h 469"/>
              <a:gd name="T4" fmla="*/ 38879377 w 877"/>
              <a:gd name="T5" fmla="*/ 67196580 h 469"/>
              <a:gd name="T6" fmla="*/ 36048161 w 877"/>
              <a:gd name="T7" fmla="*/ 67754189 h 469"/>
              <a:gd name="T8" fmla="*/ 33594903 w 877"/>
              <a:gd name="T9" fmla="*/ 69985151 h 469"/>
              <a:gd name="T10" fmla="*/ 30575141 w 877"/>
              <a:gd name="T11" fmla="*/ 74446019 h 469"/>
              <a:gd name="T12" fmla="*/ 28498974 w 877"/>
              <a:gd name="T13" fmla="*/ 75561236 h 469"/>
              <a:gd name="T14" fmla="*/ 22836975 w 877"/>
              <a:gd name="T15" fmla="*/ 74724823 h 469"/>
              <a:gd name="T16" fmla="*/ 14909829 w 877"/>
              <a:gd name="T17" fmla="*/ 71100368 h 469"/>
              <a:gd name="T18" fmla="*/ 4906950 w 877"/>
              <a:gd name="T19" fmla="*/ 68869406 h 469"/>
              <a:gd name="T20" fmla="*/ 1509664 w 877"/>
              <a:gd name="T21" fmla="*/ 59110728 h 469"/>
              <a:gd name="T22" fmla="*/ 2453692 w 877"/>
              <a:gd name="T23" fmla="*/ 52140094 h 469"/>
              <a:gd name="T24" fmla="*/ 2453692 w 877"/>
              <a:gd name="T25" fmla="*/ 50188464 h 469"/>
              <a:gd name="T26" fmla="*/ 4340880 w 877"/>
              <a:gd name="T27" fmla="*/ 40150982 h 469"/>
              <a:gd name="T28" fmla="*/ 8304236 w 877"/>
              <a:gd name="T29" fmla="*/ 31228190 h 469"/>
              <a:gd name="T30" fmla="*/ 10191859 w 877"/>
              <a:gd name="T31" fmla="*/ 25652104 h 469"/>
              <a:gd name="T32" fmla="*/ 4906950 w 877"/>
              <a:gd name="T33" fmla="*/ 13941269 h 469"/>
              <a:gd name="T34" fmla="*/ 32650875 w 877"/>
              <a:gd name="T35" fmla="*/ 7249439 h 469"/>
              <a:gd name="T36" fmla="*/ 63981065 w 877"/>
              <a:gd name="T37" fmla="*/ 13941269 h 469"/>
              <a:gd name="T38" fmla="*/ 73983944 w 877"/>
              <a:gd name="T39" fmla="*/ 3624455 h 469"/>
              <a:gd name="T40" fmla="*/ 91536010 w 877"/>
              <a:gd name="T41" fmla="*/ 0 h 469"/>
              <a:gd name="T42" fmla="*/ 109277056 w 877"/>
              <a:gd name="T43" fmla="*/ 10595090 h 469"/>
              <a:gd name="T44" fmla="*/ 120412509 w 877"/>
              <a:gd name="T45" fmla="*/ 30949386 h 469"/>
              <a:gd name="T46" fmla="*/ 136832436 w 877"/>
              <a:gd name="T47" fmla="*/ 30949386 h 469"/>
              <a:gd name="T48" fmla="*/ 158159312 w 877"/>
              <a:gd name="T49" fmla="*/ 43217829 h 469"/>
              <a:gd name="T50" fmla="*/ 163066262 w 877"/>
              <a:gd name="T51" fmla="*/ 65523754 h 469"/>
              <a:gd name="T52" fmla="*/ 151742265 w 877"/>
              <a:gd name="T53" fmla="*/ 75840040 h 469"/>
              <a:gd name="T54" fmla="*/ 142305455 w 877"/>
              <a:gd name="T55" fmla="*/ 87272071 h 469"/>
              <a:gd name="T56" fmla="*/ 129849318 w 877"/>
              <a:gd name="T57" fmla="*/ 92012272 h 469"/>
              <a:gd name="T58" fmla="*/ 125130913 w 877"/>
              <a:gd name="T59" fmla="*/ 95636727 h 469"/>
              <a:gd name="T60" fmla="*/ 122299697 w 877"/>
              <a:gd name="T61" fmla="*/ 99819319 h 469"/>
              <a:gd name="T62" fmla="*/ 121922172 w 877"/>
              <a:gd name="T63" fmla="*/ 104558992 h 469"/>
              <a:gd name="T64" fmla="*/ 123243291 w 877"/>
              <a:gd name="T65" fmla="*/ 108741584 h 469"/>
              <a:gd name="T66" fmla="*/ 125696983 w 877"/>
              <a:gd name="T67" fmla="*/ 111808431 h 469"/>
              <a:gd name="T68" fmla="*/ 134190198 w 877"/>
              <a:gd name="T69" fmla="*/ 110414409 h 469"/>
              <a:gd name="T70" fmla="*/ 139852197 w 877"/>
              <a:gd name="T71" fmla="*/ 109856801 h 469"/>
              <a:gd name="T72" fmla="*/ 138531079 w 877"/>
              <a:gd name="T73" fmla="*/ 112366039 h 469"/>
              <a:gd name="T74" fmla="*/ 135133792 w 877"/>
              <a:gd name="T75" fmla="*/ 117385044 h 469"/>
              <a:gd name="T76" fmla="*/ 131736506 w 877"/>
              <a:gd name="T77" fmla="*/ 122125244 h 469"/>
              <a:gd name="T78" fmla="*/ 130037863 w 877"/>
              <a:gd name="T79" fmla="*/ 116827435 h 469"/>
              <a:gd name="T80" fmla="*/ 126640577 w 877"/>
              <a:gd name="T81" fmla="*/ 113760588 h 469"/>
              <a:gd name="T82" fmla="*/ 125696983 w 877"/>
              <a:gd name="T83" fmla="*/ 117942652 h 469"/>
              <a:gd name="T84" fmla="*/ 121356103 w 877"/>
              <a:gd name="T85" fmla="*/ 123240462 h 469"/>
              <a:gd name="T86" fmla="*/ 116826677 w 877"/>
              <a:gd name="T87" fmla="*/ 128259466 h 469"/>
              <a:gd name="T88" fmla="*/ 115316579 w 877"/>
              <a:gd name="T89" fmla="*/ 130768705 h 469"/>
              <a:gd name="T90" fmla="*/ 112296818 w 877"/>
              <a:gd name="T91" fmla="*/ 129374683 h 469"/>
              <a:gd name="T92" fmla="*/ 110220650 w 877"/>
              <a:gd name="T93" fmla="*/ 126864917 h 469"/>
              <a:gd name="T94" fmla="*/ 108522007 w 877"/>
              <a:gd name="T95" fmla="*/ 122404049 h 469"/>
              <a:gd name="T96" fmla="*/ 107955937 w 877"/>
              <a:gd name="T97" fmla="*/ 113760588 h 469"/>
              <a:gd name="T98" fmla="*/ 103426512 w 877"/>
              <a:gd name="T99" fmla="*/ 112645371 h 469"/>
              <a:gd name="T100" fmla="*/ 97764513 w 877"/>
              <a:gd name="T101" fmla="*/ 108462779 h 469"/>
              <a:gd name="T102" fmla="*/ 105502245 w 877"/>
              <a:gd name="T103" fmla="*/ 105674737 h 469"/>
              <a:gd name="T104" fmla="*/ 117958816 w 877"/>
              <a:gd name="T105" fmla="*/ 103164970 h 469"/>
              <a:gd name="T106" fmla="*/ 93046108 w 877"/>
              <a:gd name="T107" fmla="*/ 98704102 h 469"/>
              <a:gd name="T108" fmla="*/ 83986823 w 877"/>
              <a:gd name="T109" fmla="*/ 92848685 h 469"/>
              <a:gd name="T110" fmla="*/ 75116083 w 877"/>
              <a:gd name="T111" fmla="*/ 102886166 h 469"/>
              <a:gd name="T112" fmla="*/ 71719231 w 877"/>
              <a:gd name="T113" fmla="*/ 110135605 h 469"/>
              <a:gd name="T114" fmla="*/ 66623302 w 877"/>
              <a:gd name="T115" fmla="*/ 111529626 h 469"/>
              <a:gd name="T116" fmla="*/ 61904897 w 877"/>
              <a:gd name="T117" fmla="*/ 109299192 h 469"/>
              <a:gd name="T118" fmla="*/ 57752562 w 877"/>
              <a:gd name="T119" fmla="*/ 104837796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01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018088" y="2673152"/>
            <a:ext cx="47625" cy="63500"/>
          </a:xfrm>
          <a:custGeom>
            <a:avLst/>
            <a:gdLst>
              <a:gd name="T0" fmla="*/ 9508977 w 107"/>
              <a:gd name="T1" fmla="*/ 0 h 123"/>
              <a:gd name="T2" fmla="*/ 16046954 w 107"/>
              <a:gd name="T3" fmla="*/ 8262228 h 123"/>
              <a:gd name="T4" fmla="*/ 18622265 w 107"/>
              <a:gd name="T5" fmla="*/ 17856923 h 123"/>
              <a:gd name="T6" fmla="*/ 21197576 w 107"/>
              <a:gd name="T7" fmla="*/ 22920919 h 123"/>
              <a:gd name="T8" fmla="*/ 21197576 w 107"/>
              <a:gd name="T9" fmla="*/ 31183146 h 123"/>
              <a:gd name="T10" fmla="*/ 21197576 w 107"/>
              <a:gd name="T11" fmla="*/ 32782520 h 123"/>
              <a:gd name="T12" fmla="*/ 17433421 w 107"/>
              <a:gd name="T13" fmla="*/ 30383976 h 123"/>
              <a:gd name="T14" fmla="*/ 14461977 w 107"/>
              <a:gd name="T15" fmla="*/ 27984915 h 123"/>
              <a:gd name="T16" fmla="*/ 12084732 w 107"/>
              <a:gd name="T17" fmla="*/ 26119150 h 123"/>
              <a:gd name="T18" fmla="*/ 10697821 w 107"/>
              <a:gd name="T19" fmla="*/ 24520293 h 123"/>
              <a:gd name="T20" fmla="*/ 10103621 w 107"/>
              <a:gd name="T21" fmla="*/ 22121748 h 123"/>
              <a:gd name="T22" fmla="*/ 9508977 w 107"/>
              <a:gd name="T23" fmla="*/ 19456297 h 123"/>
              <a:gd name="T24" fmla="*/ 7726377 w 107"/>
              <a:gd name="T25" fmla="*/ 19722687 h 123"/>
              <a:gd name="T26" fmla="*/ 6339466 w 107"/>
              <a:gd name="T27" fmla="*/ 19456297 h 123"/>
              <a:gd name="T28" fmla="*/ 5150621 w 107"/>
              <a:gd name="T29" fmla="*/ 19189907 h 123"/>
              <a:gd name="T30" fmla="*/ 4160289 w 107"/>
              <a:gd name="T31" fmla="*/ 18656610 h 123"/>
              <a:gd name="T32" fmla="*/ 3368022 w 107"/>
              <a:gd name="T33" fmla="*/ 17856923 h 123"/>
              <a:gd name="T34" fmla="*/ 2773377 w 107"/>
              <a:gd name="T35" fmla="*/ 16790846 h 123"/>
              <a:gd name="T36" fmla="*/ 2179178 w 107"/>
              <a:gd name="T37" fmla="*/ 15724768 h 123"/>
              <a:gd name="T38" fmla="*/ 1783044 w 107"/>
              <a:gd name="T39" fmla="*/ 14392301 h 123"/>
              <a:gd name="T40" fmla="*/ 792266 w 107"/>
              <a:gd name="T41" fmla="*/ 8262228 h 123"/>
              <a:gd name="T42" fmla="*/ 0 w 107"/>
              <a:gd name="T43" fmla="*/ 1599374 h 123"/>
              <a:gd name="T44" fmla="*/ 6735599 w 107"/>
              <a:gd name="T45" fmla="*/ 0 h 123"/>
              <a:gd name="T46" fmla="*/ 9508977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chemeClr val="accent5">
              <a:lumMod val="9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02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561013" y="2687439"/>
            <a:ext cx="207962" cy="122238"/>
          </a:xfrm>
          <a:custGeom>
            <a:avLst/>
            <a:gdLst>
              <a:gd name="T0" fmla="*/ 2147483647 w 471"/>
              <a:gd name="T1" fmla="*/ 2147483647 h 234"/>
              <a:gd name="T2" fmla="*/ 2147483647 w 471"/>
              <a:gd name="T3" fmla="*/ 2147483647 h 234"/>
              <a:gd name="T4" fmla="*/ 2147483647 w 471"/>
              <a:gd name="T5" fmla="*/ 2147483647 h 234"/>
              <a:gd name="T6" fmla="*/ 2147483647 w 471"/>
              <a:gd name="T7" fmla="*/ 2147483647 h 234"/>
              <a:gd name="T8" fmla="*/ 2147483647 w 471"/>
              <a:gd name="T9" fmla="*/ 2147483647 h 234"/>
              <a:gd name="T10" fmla="*/ 2147483647 w 471"/>
              <a:gd name="T11" fmla="*/ 2147483647 h 234"/>
              <a:gd name="T12" fmla="*/ 2147483647 w 471"/>
              <a:gd name="T13" fmla="*/ 2147483647 h 234"/>
              <a:gd name="T14" fmla="*/ 2147483647 w 471"/>
              <a:gd name="T15" fmla="*/ 2147483647 h 234"/>
              <a:gd name="T16" fmla="*/ 2147483647 w 471"/>
              <a:gd name="T17" fmla="*/ 2147483647 h 234"/>
              <a:gd name="T18" fmla="*/ 2147483647 w 471"/>
              <a:gd name="T19" fmla="*/ 2147483647 h 234"/>
              <a:gd name="T20" fmla="*/ 2147483647 w 471"/>
              <a:gd name="T21" fmla="*/ 2147483647 h 234"/>
              <a:gd name="T22" fmla="*/ 2147483647 w 471"/>
              <a:gd name="T23" fmla="*/ 2147483647 h 234"/>
              <a:gd name="T24" fmla="*/ 2147483647 w 471"/>
              <a:gd name="T25" fmla="*/ 2147483647 h 234"/>
              <a:gd name="T26" fmla="*/ 2147483647 w 471"/>
              <a:gd name="T27" fmla="*/ 2147483647 h 234"/>
              <a:gd name="T28" fmla="*/ 2147483647 w 471"/>
              <a:gd name="T29" fmla="*/ 2147483647 h 234"/>
              <a:gd name="T30" fmla="*/ 2147483647 w 471"/>
              <a:gd name="T31" fmla="*/ 2147483647 h 234"/>
              <a:gd name="T32" fmla="*/ 2147483647 w 471"/>
              <a:gd name="T33" fmla="*/ 2147483647 h 234"/>
              <a:gd name="T34" fmla="*/ 2147483647 w 471"/>
              <a:gd name="T35" fmla="*/ 2147483647 h 234"/>
              <a:gd name="T36" fmla="*/ 2147483647 w 471"/>
              <a:gd name="T37" fmla="*/ 2147483647 h 234"/>
              <a:gd name="T38" fmla="*/ 2147483647 w 471"/>
              <a:gd name="T39" fmla="*/ 2147483647 h 234"/>
              <a:gd name="T40" fmla="*/ 2147483647 w 471"/>
              <a:gd name="T41" fmla="*/ 2147483647 h 234"/>
              <a:gd name="T42" fmla="*/ 2147483647 w 471"/>
              <a:gd name="T43" fmla="*/ 2147483647 h 234"/>
              <a:gd name="T44" fmla="*/ 2147483647 w 471"/>
              <a:gd name="T45" fmla="*/ 2147483647 h 234"/>
              <a:gd name="T46" fmla="*/ 2147483647 w 471"/>
              <a:gd name="T47" fmla="*/ 2147483647 h 234"/>
              <a:gd name="T48" fmla="*/ 2147483647 w 471"/>
              <a:gd name="T49" fmla="*/ 2147483647 h 234"/>
              <a:gd name="T50" fmla="*/ 2147483647 w 471"/>
              <a:gd name="T51" fmla="*/ 2147483647 h 234"/>
              <a:gd name="T52" fmla="*/ 2147483647 w 471"/>
              <a:gd name="T53" fmla="*/ 2147483647 h 234"/>
              <a:gd name="T54" fmla="*/ 2147483647 w 471"/>
              <a:gd name="T55" fmla="*/ 2147483647 h 234"/>
              <a:gd name="T56" fmla="*/ 2147483647 w 471"/>
              <a:gd name="T57" fmla="*/ 2147483647 h 234"/>
              <a:gd name="T58" fmla="*/ 2147483647 w 471"/>
              <a:gd name="T59" fmla="*/ 2147483647 h 234"/>
              <a:gd name="T60" fmla="*/ 2147483647 w 471"/>
              <a:gd name="T61" fmla="*/ 2147483647 h 234"/>
              <a:gd name="T62" fmla="*/ 2147483647 w 471"/>
              <a:gd name="T63" fmla="*/ 2147483647 h 234"/>
              <a:gd name="T64" fmla="*/ 2147483647 w 471"/>
              <a:gd name="T65" fmla="*/ 2147483647 h 234"/>
              <a:gd name="T66" fmla="*/ 2147483647 w 471"/>
              <a:gd name="T67" fmla="*/ 2147483647 h 234"/>
              <a:gd name="T68" fmla="*/ 2147483647 w 471"/>
              <a:gd name="T69" fmla="*/ 2147483647 h 234"/>
              <a:gd name="T70" fmla="*/ 2147483647 w 471"/>
              <a:gd name="T71" fmla="*/ 2147483647 h 234"/>
              <a:gd name="T72" fmla="*/ 2147483647 w 471"/>
              <a:gd name="T73" fmla="*/ 2147483647 h 234"/>
              <a:gd name="T74" fmla="*/ 2147483647 w 471"/>
              <a:gd name="T75" fmla="*/ 2147483647 h 234"/>
              <a:gd name="T76" fmla="*/ 2147483647 w 471"/>
              <a:gd name="T77" fmla="*/ 2147483647 h 234"/>
              <a:gd name="T78" fmla="*/ 0 w 471"/>
              <a:gd name="T79" fmla="*/ 2147483647 h 234"/>
              <a:gd name="T80" fmla="*/ 2147483647 w 471"/>
              <a:gd name="T81" fmla="*/ 2147483647 h 234"/>
              <a:gd name="T82" fmla="*/ 2147483647 w 471"/>
              <a:gd name="T83" fmla="*/ 2147483647 h 234"/>
              <a:gd name="T84" fmla="*/ 2147483647 w 471"/>
              <a:gd name="T85" fmla="*/ 0 h 234"/>
              <a:gd name="T86" fmla="*/ 2147483647 w 471"/>
              <a:gd name="T87" fmla="*/ 2147483647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03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610225" y="2616002"/>
            <a:ext cx="225425" cy="125412"/>
          </a:xfrm>
          <a:custGeom>
            <a:avLst/>
            <a:gdLst>
              <a:gd name="T0" fmla="*/ 2147483647 w 525"/>
              <a:gd name="T1" fmla="*/ 2147483647 h 241"/>
              <a:gd name="T2" fmla="*/ 2147483647 w 525"/>
              <a:gd name="T3" fmla="*/ 2147483647 h 241"/>
              <a:gd name="T4" fmla="*/ 2147483647 w 525"/>
              <a:gd name="T5" fmla="*/ 2147483647 h 241"/>
              <a:gd name="T6" fmla="*/ 2147483647 w 525"/>
              <a:gd name="T7" fmla="*/ 2147483647 h 241"/>
              <a:gd name="T8" fmla="*/ 2147483647 w 525"/>
              <a:gd name="T9" fmla="*/ 2147483647 h 241"/>
              <a:gd name="T10" fmla="*/ 2147483647 w 525"/>
              <a:gd name="T11" fmla="*/ 2147483647 h 241"/>
              <a:gd name="T12" fmla="*/ 2147483647 w 525"/>
              <a:gd name="T13" fmla="*/ 2147483647 h 241"/>
              <a:gd name="T14" fmla="*/ 2147483647 w 525"/>
              <a:gd name="T15" fmla="*/ 0 h 241"/>
              <a:gd name="T16" fmla="*/ 2147483647 w 525"/>
              <a:gd name="T17" fmla="*/ 2147483647 h 241"/>
              <a:gd name="T18" fmla="*/ 2147483647 w 525"/>
              <a:gd name="T19" fmla="*/ 2147483647 h 241"/>
              <a:gd name="T20" fmla="*/ 2147483647 w 525"/>
              <a:gd name="T21" fmla="*/ 2147483647 h 241"/>
              <a:gd name="T22" fmla="*/ 2147483647 w 525"/>
              <a:gd name="T23" fmla="*/ 2147483647 h 241"/>
              <a:gd name="T24" fmla="*/ 2147483647 w 525"/>
              <a:gd name="T25" fmla="*/ 2147483647 h 241"/>
              <a:gd name="T26" fmla="*/ 2147483647 w 525"/>
              <a:gd name="T27" fmla="*/ 2147483647 h 241"/>
              <a:gd name="T28" fmla="*/ 2147483647 w 525"/>
              <a:gd name="T29" fmla="*/ 2147483647 h 241"/>
              <a:gd name="T30" fmla="*/ 2147483647 w 525"/>
              <a:gd name="T31" fmla="*/ 2147483647 h 241"/>
              <a:gd name="T32" fmla="*/ 2147483647 w 525"/>
              <a:gd name="T33" fmla="*/ 2147483647 h 241"/>
              <a:gd name="T34" fmla="*/ 2147483647 w 525"/>
              <a:gd name="T35" fmla="*/ 2147483647 h 241"/>
              <a:gd name="T36" fmla="*/ 2147483647 w 525"/>
              <a:gd name="T37" fmla="*/ 2147483647 h 241"/>
              <a:gd name="T38" fmla="*/ 2147483647 w 525"/>
              <a:gd name="T39" fmla="*/ 2147483647 h 241"/>
              <a:gd name="T40" fmla="*/ 2147483647 w 525"/>
              <a:gd name="T41" fmla="*/ 2147483647 h 241"/>
              <a:gd name="T42" fmla="*/ 2147483647 w 525"/>
              <a:gd name="T43" fmla="*/ 2147483647 h 241"/>
              <a:gd name="T44" fmla="*/ 2147483647 w 525"/>
              <a:gd name="T45" fmla="*/ 2147483647 h 241"/>
              <a:gd name="T46" fmla="*/ 2147483647 w 525"/>
              <a:gd name="T47" fmla="*/ 2147483647 h 241"/>
              <a:gd name="T48" fmla="*/ 2147483647 w 525"/>
              <a:gd name="T49" fmla="*/ 2147483647 h 241"/>
              <a:gd name="T50" fmla="*/ 2147483647 w 525"/>
              <a:gd name="T51" fmla="*/ 2147483647 h 241"/>
              <a:gd name="T52" fmla="*/ 2147483647 w 525"/>
              <a:gd name="T53" fmla="*/ 2147483647 h 241"/>
              <a:gd name="T54" fmla="*/ 2147483647 w 525"/>
              <a:gd name="T55" fmla="*/ 2147483647 h 241"/>
              <a:gd name="T56" fmla="*/ 2147483647 w 525"/>
              <a:gd name="T57" fmla="*/ 2147483647 h 241"/>
              <a:gd name="T58" fmla="*/ 2147483647 w 525"/>
              <a:gd name="T59" fmla="*/ 2147483647 h 241"/>
              <a:gd name="T60" fmla="*/ 2147483647 w 525"/>
              <a:gd name="T61" fmla="*/ 2147483647 h 241"/>
              <a:gd name="T62" fmla="*/ 2147483647 w 525"/>
              <a:gd name="T63" fmla="*/ 2147483647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04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216525" y="2631877"/>
            <a:ext cx="342900" cy="227012"/>
          </a:xfrm>
          <a:custGeom>
            <a:avLst/>
            <a:gdLst>
              <a:gd name="T0" fmla="*/ 2147483647 w 784"/>
              <a:gd name="T1" fmla="*/ 2147483647 h 430"/>
              <a:gd name="T2" fmla="*/ 2147483647 w 784"/>
              <a:gd name="T3" fmla="*/ 2147483647 h 430"/>
              <a:gd name="T4" fmla="*/ 2147483647 w 784"/>
              <a:gd name="T5" fmla="*/ 2147483647 h 430"/>
              <a:gd name="T6" fmla="*/ 2147483647 w 784"/>
              <a:gd name="T7" fmla="*/ 2147483647 h 430"/>
              <a:gd name="T8" fmla="*/ 2147483647 w 784"/>
              <a:gd name="T9" fmla="*/ 2147483647 h 430"/>
              <a:gd name="T10" fmla="*/ 2147483647 w 784"/>
              <a:gd name="T11" fmla="*/ 2147483647 h 430"/>
              <a:gd name="T12" fmla="*/ 2147483647 w 784"/>
              <a:gd name="T13" fmla="*/ 2147483647 h 430"/>
              <a:gd name="T14" fmla="*/ 2147483647 w 784"/>
              <a:gd name="T15" fmla="*/ 2147483647 h 430"/>
              <a:gd name="T16" fmla="*/ 2147483647 w 784"/>
              <a:gd name="T17" fmla="*/ 2147483647 h 430"/>
              <a:gd name="T18" fmla="*/ 2147483647 w 784"/>
              <a:gd name="T19" fmla="*/ 2147483647 h 430"/>
              <a:gd name="T20" fmla="*/ 2147483647 w 784"/>
              <a:gd name="T21" fmla="*/ 2147483647 h 430"/>
              <a:gd name="T22" fmla="*/ 2147483647 w 784"/>
              <a:gd name="T23" fmla="*/ 2147483647 h 430"/>
              <a:gd name="T24" fmla="*/ 2147483647 w 784"/>
              <a:gd name="T25" fmla="*/ 2147483647 h 430"/>
              <a:gd name="T26" fmla="*/ 2147483647 w 784"/>
              <a:gd name="T27" fmla="*/ 2147483647 h 430"/>
              <a:gd name="T28" fmla="*/ 2147483647 w 784"/>
              <a:gd name="T29" fmla="*/ 2147483647 h 430"/>
              <a:gd name="T30" fmla="*/ 2147483647 w 784"/>
              <a:gd name="T31" fmla="*/ 2147483647 h 430"/>
              <a:gd name="T32" fmla="*/ 2147483647 w 784"/>
              <a:gd name="T33" fmla="*/ 2147483647 h 430"/>
              <a:gd name="T34" fmla="*/ 2147483647 w 784"/>
              <a:gd name="T35" fmla="*/ 2147483647 h 430"/>
              <a:gd name="T36" fmla="*/ 2147483647 w 784"/>
              <a:gd name="T37" fmla="*/ 2147483647 h 430"/>
              <a:gd name="T38" fmla="*/ 2147483647 w 784"/>
              <a:gd name="T39" fmla="*/ 2147483647 h 430"/>
              <a:gd name="T40" fmla="*/ 2147483647 w 784"/>
              <a:gd name="T41" fmla="*/ 2147483647 h 430"/>
              <a:gd name="T42" fmla="*/ 2147483647 w 784"/>
              <a:gd name="T43" fmla="*/ 2147483647 h 430"/>
              <a:gd name="T44" fmla="*/ 2147483647 w 784"/>
              <a:gd name="T45" fmla="*/ 2147483647 h 430"/>
              <a:gd name="T46" fmla="*/ 2147483647 w 784"/>
              <a:gd name="T47" fmla="*/ 2147483647 h 430"/>
              <a:gd name="T48" fmla="*/ 2147483647 w 784"/>
              <a:gd name="T49" fmla="*/ 2147483647 h 430"/>
              <a:gd name="T50" fmla="*/ 2147483647 w 784"/>
              <a:gd name="T51" fmla="*/ 2147483647 h 430"/>
              <a:gd name="T52" fmla="*/ 2147483647 w 784"/>
              <a:gd name="T53" fmla="*/ 2147483647 h 430"/>
              <a:gd name="T54" fmla="*/ 2147483647 w 784"/>
              <a:gd name="T55" fmla="*/ 2147483647 h 430"/>
              <a:gd name="T56" fmla="*/ 2147483647 w 784"/>
              <a:gd name="T57" fmla="*/ 2147483647 h 430"/>
              <a:gd name="T58" fmla="*/ 2147483647 w 784"/>
              <a:gd name="T59" fmla="*/ 2147483647 h 430"/>
              <a:gd name="T60" fmla="*/ 2147483647 w 784"/>
              <a:gd name="T61" fmla="*/ 2147483647 h 430"/>
              <a:gd name="T62" fmla="*/ 2147483647 w 784"/>
              <a:gd name="T63" fmla="*/ 2147483647 h 430"/>
              <a:gd name="T64" fmla="*/ 2147483647 w 784"/>
              <a:gd name="T65" fmla="*/ 2147483647 h 430"/>
              <a:gd name="T66" fmla="*/ 2147483647 w 784"/>
              <a:gd name="T67" fmla="*/ 2147483647 h 430"/>
              <a:gd name="T68" fmla="*/ 0 w 784"/>
              <a:gd name="T69" fmla="*/ 2147483647 h 430"/>
              <a:gd name="T70" fmla="*/ 2147483647 w 784"/>
              <a:gd name="T71" fmla="*/ 2147483647 h 430"/>
              <a:gd name="T72" fmla="*/ 2147483647 w 784"/>
              <a:gd name="T73" fmla="*/ 2147483647 h 430"/>
              <a:gd name="T74" fmla="*/ 2147483647 w 784"/>
              <a:gd name="T75" fmla="*/ 2147483647 h 430"/>
              <a:gd name="T76" fmla="*/ 2147483647 w 784"/>
              <a:gd name="T77" fmla="*/ 2147483647 h 430"/>
              <a:gd name="T78" fmla="*/ 2147483647 w 784"/>
              <a:gd name="T79" fmla="*/ 2147483647 h 430"/>
              <a:gd name="T80" fmla="*/ 2147483647 w 784"/>
              <a:gd name="T81" fmla="*/ 2147483647 h 430"/>
              <a:gd name="T82" fmla="*/ 2147483647 w 784"/>
              <a:gd name="T83" fmla="*/ 2147483647 h 430"/>
              <a:gd name="T84" fmla="*/ 2147483647 w 784"/>
              <a:gd name="T85" fmla="*/ 2147483647 h 430"/>
              <a:gd name="T86" fmla="*/ 2147483647 w 784"/>
              <a:gd name="T87" fmla="*/ 2147483647 h 430"/>
              <a:gd name="T88" fmla="*/ 2147483647 w 784"/>
              <a:gd name="T89" fmla="*/ 2147483647 h 430"/>
              <a:gd name="T90" fmla="*/ 2147483647 w 784"/>
              <a:gd name="T91" fmla="*/ 2147483647 h 430"/>
              <a:gd name="T92" fmla="*/ 2147483647 w 784"/>
              <a:gd name="T93" fmla="*/ 2147483647 h 430"/>
              <a:gd name="T94" fmla="*/ 2147483647 w 784"/>
              <a:gd name="T95" fmla="*/ 2147483647 h 430"/>
              <a:gd name="T96" fmla="*/ 2147483647 w 784"/>
              <a:gd name="T97" fmla="*/ 2147483647 h 430"/>
              <a:gd name="T98" fmla="*/ 2147483647 w 784"/>
              <a:gd name="T99" fmla="*/ 0 h 430"/>
              <a:gd name="T100" fmla="*/ 2147483647 w 784"/>
              <a:gd name="T101" fmla="*/ 2147483647 h 430"/>
              <a:gd name="T102" fmla="*/ 2147483647 w 784"/>
              <a:gd name="T103" fmla="*/ 2147483647 h 430"/>
              <a:gd name="T104" fmla="*/ 2147483647 w 784"/>
              <a:gd name="T105" fmla="*/ 2147483647 h 430"/>
              <a:gd name="T106" fmla="*/ 2147483647 w 784"/>
              <a:gd name="T107" fmla="*/ 2147483647 h 430"/>
              <a:gd name="T108" fmla="*/ 2147483647 w 784"/>
              <a:gd name="T109" fmla="*/ 2147483647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05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425950" y="2519164"/>
            <a:ext cx="107950" cy="149225"/>
          </a:xfrm>
          <a:custGeom>
            <a:avLst/>
            <a:gdLst>
              <a:gd name="T0" fmla="*/ 2147483647 w 246"/>
              <a:gd name="T1" fmla="*/ 2147483647 h 284"/>
              <a:gd name="T2" fmla="*/ 2147483647 w 246"/>
              <a:gd name="T3" fmla="*/ 2147483647 h 284"/>
              <a:gd name="T4" fmla="*/ 2147483647 w 246"/>
              <a:gd name="T5" fmla="*/ 2147483647 h 284"/>
              <a:gd name="T6" fmla="*/ 2147483647 w 246"/>
              <a:gd name="T7" fmla="*/ 2147483647 h 284"/>
              <a:gd name="T8" fmla="*/ 2147483647 w 246"/>
              <a:gd name="T9" fmla="*/ 2147483647 h 284"/>
              <a:gd name="T10" fmla="*/ 2147483647 w 246"/>
              <a:gd name="T11" fmla="*/ 2147483647 h 284"/>
              <a:gd name="T12" fmla="*/ 2147483647 w 246"/>
              <a:gd name="T13" fmla="*/ 2147483647 h 284"/>
              <a:gd name="T14" fmla="*/ 2147483647 w 246"/>
              <a:gd name="T15" fmla="*/ 2147483647 h 284"/>
              <a:gd name="T16" fmla="*/ 2147483647 w 246"/>
              <a:gd name="T17" fmla="*/ 2147483647 h 284"/>
              <a:gd name="T18" fmla="*/ 2147483647 w 246"/>
              <a:gd name="T19" fmla="*/ 2147483647 h 284"/>
              <a:gd name="T20" fmla="*/ 2147483647 w 246"/>
              <a:gd name="T21" fmla="*/ 2147483647 h 284"/>
              <a:gd name="T22" fmla="*/ 2147483647 w 246"/>
              <a:gd name="T23" fmla="*/ 2147483647 h 284"/>
              <a:gd name="T24" fmla="*/ 2147483647 w 246"/>
              <a:gd name="T25" fmla="*/ 2147483647 h 284"/>
              <a:gd name="T26" fmla="*/ 2147483647 w 246"/>
              <a:gd name="T27" fmla="*/ 2147483647 h 284"/>
              <a:gd name="T28" fmla="*/ 2147483647 w 246"/>
              <a:gd name="T29" fmla="*/ 2147483647 h 284"/>
              <a:gd name="T30" fmla="*/ 2147483647 w 246"/>
              <a:gd name="T31" fmla="*/ 2147483647 h 284"/>
              <a:gd name="T32" fmla="*/ 2147483647 w 246"/>
              <a:gd name="T33" fmla="*/ 2147483647 h 284"/>
              <a:gd name="T34" fmla="*/ 2147483647 w 246"/>
              <a:gd name="T35" fmla="*/ 2147483647 h 284"/>
              <a:gd name="T36" fmla="*/ 2147483647 w 246"/>
              <a:gd name="T37" fmla="*/ 2147483647 h 284"/>
              <a:gd name="T38" fmla="*/ 2147483647 w 246"/>
              <a:gd name="T39" fmla="*/ 2147483647 h 284"/>
              <a:gd name="T40" fmla="*/ 2147483647 w 246"/>
              <a:gd name="T41" fmla="*/ 2147483647 h 284"/>
              <a:gd name="T42" fmla="*/ 2147483647 w 246"/>
              <a:gd name="T43" fmla="*/ 2147483647 h 284"/>
              <a:gd name="T44" fmla="*/ 2147483647 w 246"/>
              <a:gd name="T45" fmla="*/ 2147483647 h 284"/>
              <a:gd name="T46" fmla="*/ 2147483647 w 246"/>
              <a:gd name="T47" fmla="*/ 2147483647 h 284"/>
              <a:gd name="T48" fmla="*/ 2147483647 w 246"/>
              <a:gd name="T49" fmla="*/ 2147483647 h 284"/>
              <a:gd name="T50" fmla="*/ 2147483647 w 246"/>
              <a:gd name="T51" fmla="*/ 2147483647 h 284"/>
              <a:gd name="T52" fmla="*/ 2147483647 w 246"/>
              <a:gd name="T53" fmla="*/ 2147483647 h 284"/>
              <a:gd name="T54" fmla="*/ 2147483647 w 246"/>
              <a:gd name="T55" fmla="*/ 2147483647 h 284"/>
              <a:gd name="T56" fmla="*/ 2147483647 w 246"/>
              <a:gd name="T57" fmla="*/ 2147483647 h 284"/>
              <a:gd name="T58" fmla="*/ 2147483647 w 246"/>
              <a:gd name="T59" fmla="*/ 2147483647 h 284"/>
              <a:gd name="T60" fmla="*/ 2147483647 w 246"/>
              <a:gd name="T61" fmla="*/ 2147483647 h 284"/>
              <a:gd name="T62" fmla="*/ 2147483647 w 246"/>
              <a:gd name="T63" fmla="*/ 2147483647 h 284"/>
              <a:gd name="T64" fmla="*/ 2147483647 w 246"/>
              <a:gd name="T65" fmla="*/ 2147483647 h 284"/>
              <a:gd name="T66" fmla="*/ 2147483647 w 246"/>
              <a:gd name="T67" fmla="*/ 2147483647 h 284"/>
              <a:gd name="T68" fmla="*/ 2147483647 w 246"/>
              <a:gd name="T69" fmla="*/ 2147483647 h 284"/>
              <a:gd name="T70" fmla="*/ 2147483647 w 246"/>
              <a:gd name="T71" fmla="*/ 2147483647 h 284"/>
              <a:gd name="T72" fmla="*/ 2147483647 w 246"/>
              <a:gd name="T73" fmla="*/ 2147483647 h 284"/>
              <a:gd name="T74" fmla="*/ 2147483647 w 246"/>
              <a:gd name="T75" fmla="*/ 2147483647 h 284"/>
              <a:gd name="T76" fmla="*/ 2147483647 w 246"/>
              <a:gd name="T77" fmla="*/ 2147483647 h 284"/>
              <a:gd name="T78" fmla="*/ 2147483647 w 246"/>
              <a:gd name="T79" fmla="*/ 2147483647 h 284"/>
              <a:gd name="T80" fmla="*/ 0 w 246"/>
              <a:gd name="T81" fmla="*/ 2147483647 h 284"/>
              <a:gd name="T82" fmla="*/ 2147483647 w 246"/>
              <a:gd name="T83" fmla="*/ 2147483647 h 284"/>
              <a:gd name="T84" fmla="*/ 2147483647 w 246"/>
              <a:gd name="T85" fmla="*/ 2147483647 h 284"/>
              <a:gd name="T86" fmla="*/ 2147483647 w 246"/>
              <a:gd name="T87" fmla="*/ 2147483647 h 284"/>
              <a:gd name="T88" fmla="*/ 2147483647 w 246"/>
              <a:gd name="T89" fmla="*/ 2147483647 h 284"/>
              <a:gd name="T90" fmla="*/ 2147483647 w 246"/>
              <a:gd name="T91" fmla="*/ 2147483647 h 284"/>
              <a:gd name="T92" fmla="*/ 2147483647 w 246"/>
              <a:gd name="T93" fmla="*/ 2147483647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06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473575" y="2627114"/>
            <a:ext cx="68263" cy="60325"/>
          </a:xfrm>
          <a:custGeom>
            <a:avLst/>
            <a:gdLst>
              <a:gd name="T0" fmla="*/ 20750672 w 160"/>
              <a:gd name="T1" fmla="*/ 0 h 117"/>
              <a:gd name="T2" fmla="*/ 20750672 w 160"/>
              <a:gd name="T3" fmla="*/ 2392376 h 117"/>
              <a:gd name="T4" fmla="*/ 20750672 w 160"/>
              <a:gd name="T5" fmla="*/ 4785268 h 117"/>
              <a:gd name="T6" fmla="*/ 20932849 w 160"/>
              <a:gd name="T7" fmla="*/ 6646062 h 117"/>
              <a:gd name="T8" fmla="*/ 21296776 w 160"/>
              <a:gd name="T9" fmla="*/ 8506856 h 117"/>
              <a:gd name="T10" fmla="*/ 21661130 w 160"/>
              <a:gd name="T11" fmla="*/ 9038438 h 117"/>
              <a:gd name="T12" fmla="*/ 22025057 w 160"/>
              <a:gd name="T13" fmla="*/ 9836069 h 117"/>
              <a:gd name="T14" fmla="*/ 22388984 w 160"/>
              <a:gd name="T15" fmla="*/ 10102117 h 117"/>
              <a:gd name="T16" fmla="*/ 23117265 w 160"/>
              <a:gd name="T17" fmla="*/ 10367650 h 117"/>
              <a:gd name="T18" fmla="*/ 23845119 w 160"/>
              <a:gd name="T19" fmla="*/ 10633699 h 117"/>
              <a:gd name="T20" fmla="*/ 24573400 w 160"/>
              <a:gd name="T21" fmla="*/ 10367650 h 117"/>
              <a:gd name="T22" fmla="*/ 25483431 w 160"/>
              <a:gd name="T23" fmla="*/ 10102117 h 117"/>
              <a:gd name="T24" fmla="*/ 26575639 w 160"/>
              <a:gd name="T25" fmla="*/ 9570535 h 117"/>
              <a:gd name="T26" fmla="*/ 27121743 w 160"/>
              <a:gd name="T27" fmla="*/ 11431330 h 117"/>
              <a:gd name="T28" fmla="*/ 27849597 w 160"/>
              <a:gd name="T29" fmla="*/ 13823706 h 117"/>
              <a:gd name="T30" fmla="*/ 28577878 w 160"/>
              <a:gd name="T31" fmla="*/ 17013712 h 117"/>
              <a:gd name="T32" fmla="*/ 29123982 w 160"/>
              <a:gd name="T33" fmla="*/ 19672137 h 117"/>
              <a:gd name="T34" fmla="*/ 24209473 w 160"/>
              <a:gd name="T35" fmla="*/ 23394241 h 117"/>
              <a:gd name="T36" fmla="*/ 19294537 w 160"/>
              <a:gd name="T37" fmla="*/ 27115830 h 117"/>
              <a:gd name="T38" fmla="*/ 16746194 w 160"/>
              <a:gd name="T39" fmla="*/ 28445042 h 117"/>
              <a:gd name="T40" fmla="*/ 13833924 w 160"/>
              <a:gd name="T41" fmla="*/ 30040303 h 117"/>
              <a:gd name="T42" fmla="*/ 11285580 w 160"/>
              <a:gd name="T43" fmla="*/ 30837418 h 117"/>
              <a:gd name="T44" fmla="*/ 8555060 w 160"/>
              <a:gd name="T45" fmla="*/ 31103467 h 117"/>
              <a:gd name="T46" fmla="*/ 5824967 w 160"/>
              <a:gd name="T47" fmla="*/ 26318199 h 117"/>
              <a:gd name="T48" fmla="*/ 3822728 w 160"/>
              <a:gd name="T49" fmla="*/ 22065029 h 117"/>
              <a:gd name="T50" fmla="*/ 1820062 w 160"/>
              <a:gd name="T51" fmla="*/ 18342925 h 117"/>
              <a:gd name="T52" fmla="*/ 0 w 160"/>
              <a:gd name="T53" fmla="*/ 14621336 h 117"/>
              <a:gd name="T54" fmla="*/ 2366166 w 160"/>
              <a:gd name="T55" fmla="*/ 12760542 h 117"/>
              <a:gd name="T56" fmla="*/ 7462852 w 160"/>
              <a:gd name="T57" fmla="*/ 8506856 h 117"/>
              <a:gd name="T58" fmla="*/ 10921653 w 160"/>
              <a:gd name="T59" fmla="*/ 6114480 h 117"/>
              <a:gd name="T60" fmla="*/ 14197851 w 160"/>
              <a:gd name="T61" fmla="*/ 3721588 h 117"/>
              <a:gd name="T62" fmla="*/ 17656225 w 160"/>
              <a:gd name="T63" fmla="*/ 1595261 h 117"/>
              <a:gd name="T64" fmla="*/ 20750672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07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557713" y="3251002"/>
            <a:ext cx="411162" cy="611187"/>
          </a:xfrm>
          <a:custGeom>
            <a:avLst/>
            <a:gdLst>
              <a:gd name="T0" fmla="*/ 2147483647 w 943"/>
              <a:gd name="T1" fmla="*/ 2147483647 h 1172"/>
              <a:gd name="T2" fmla="*/ 2147483647 w 943"/>
              <a:gd name="T3" fmla="*/ 2147483647 h 1172"/>
              <a:gd name="T4" fmla="*/ 2147483647 w 943"/>
              <a:gd name="T5" fmla="*/ 2147483647 h 1172"/>
              <a:gd name="T6" fmla="*/ 2147483647 w 943"/>
              <a:gd name="T7" fmla="*/ 2147483647 h 1172"/>
              <a:gd name="T8" fmla="*/ 2147483647 w 943"/>
              <a:gd name="T9" fmla="*/ 2147483647 h 1172"/>
              <a:gd name="T10" fmla="*/ 2147483647 w 943"/>
              <a:gd name="T11" fmla="*/ 2147483647 h 1172"/>
              <a:gd name="T12" fmla="*/ 2147483647 w 943"/>
              <a:gd name="T13" fmla="*/ 2147483647 h 1172"/>
              <a:gd name="T14" fmla="*/ 2147483647 w 943"/>
              <a:gd name="T15" fmla="*/ 2147483647 h 1172"/>
              <a:gd name="T16" fmla="*/ 2147483647 w 943"/>
              <a:gd name="T17" fmla="*/ 2147483647 h 1172"/>
              <a:gd name="T18" fmla="*/ 2147483647 w 943"/>
              <a:gd name="T19" fmla="*/ 2147483647 h 1172"/>
              <a:gd name="T20" fmla="*/ 2147483647 w 943"/>
              <a:gd name="T21" fmla="*/ 2147483647 h 1172"/>
              <a:gd name="T22" fmla="*/ 2147483647 w 943"/>
              <a:gd name="T23" fmla="*/ 2147483647 h 1172"/>
              <a:gd name="T24" fmla="*/ 2147483647 w 943"/>
              <a:gd name="T25" fmla="*/ 2147483647 h 1172"/>
              <a:gd name="T26" fmla="*/ 2147483647 w 943"/>
              <a:gd name="T27" fmla="*/ 2147483647 h 1172"/>
              <a:gd name="T28" fmla="*/ 2147483647 w 943"/>
              <a:gd name="T29" fmla="*/ 2147483647 h 1172"/>
              <a:gd name="T30" fmla="*/ 2147483647 w 943"/>
              <a:gd name="T31" fmla="*/ 2147483647 h 1172"/>
              <a:gd name="T32" fmla="*/ 2147483647 w 943"/>
              <a:gd name="T33" fmla="*/ 2147483647 h 1172"/>
              <a:gd name="T34" fmla="*/ 2147483647 w 943"/>
              <a:gd name="T35" fmla="*/ 2147483647 h 1172"/>
              <a:gd name="T36" fmla="*/ 2147483647 w 943"/>
              <a:gd name="T37" fmla="*/ 2147483647 h 1172"/>
              <a:gd name="T38" fmla="*/ 2147483647 w 943"/>
              <a:gd name="T39" fmla="*/ 2147483647 h 1172"/>
              <a:gd name="T40" fmla="*/ 2147483647 w 943"/>
              <a:gd name="T41" fmla="*/ 2147483647 h 1172"/>
              <a:gd name="T42" fmla="*/ 2147483647 w 943"/>
              <a:gd name="T43" fmla="*/ 2147483647 h 1172"/>
              <a:gd name="T44" fmla="*/ 2147483647 w 943"/>
              <a:gd name="T45" fmla="*/ 2147483647 h 1172"/>
              <a:gd name="T46" fmla="*/ 2147483647 w 943"/>
              <a:gd name="T47" fmla="*/ 2147483647 h 1172"/>
              <a:gd name="T48" fmla="*/ 2147483647 w 943"/>
              <a:gd name="T49" fmla="*/ 2147483647 h 1172"/>
              <a:gd name="T50" fmla="*/ 2147483647 w 943"/>
              <a:gd name="T51" fmla="*/ 2147483647 h 1172"/>
              <a:gd name="T52" fmla="*/ 2147483647 w 943"/>
              <a:gd name="T53" fmla="*/ 2147483647 h 1172"/>
              <a:gd name="T54" fmla="*/ 2147483647 w 943"/>
              <a:gd name="T55" fmla="*/ 2147483647 h 1172"/>
              <a:gd name="T56" fmla="*/ 2147483647 w 943"/>
              <a:gd name="T57" fmla="*/ 2147483647 h 1172"/>
              <a:gd name="T58" fmla="*/ 2147483647 w 943"/>
              <a:gd name="T59" fmla="*/ 2147483647 h 1172"/>
              <a:gd name="T60" fmla="*/ 2147483647 w 943"/>
              <a:gd name="T61" fmla="*/ 2147483647 h 1172"/>
              <a:gd name="T62" fmla="*/ 2147483647 w 943"/>
              <a:gd name="T63" fmla="*/ 2147483647 h 1172"/>
              <a:gd name="T64" fmla="*/ 2147483647 w 943"/>
              <a:gd name="T65" fmla="*/ 2147483647 h 1172"/>
              <a:gd name="T66" fmla="*/ 2147483647 w 943"/>
              <a:gd name="T67" fmla="*/ 2147483647 h 1172"/>
              <a:gd name="T68" fmla="*/ 2147483647 w 943"/>
              <a:gd name="T69" fmla="*/ 2147483647 h 1172"/>
              <a:gd name="T70" fmla="*/ 2147483647 w 943"/>
              <a:gd name="T71" fmla="*/ 2147483647 h 1172"/>
              <a:gd name="T72" fmla="*/ 2147483647 w 943"/>
              <a:gd name="T73" fmla="*/ 2147483647 h 1172"/>
              <a:gd name="T74" fmla="*/ 2147483647 w 943"/>
              <a:gd name="T75" fmla="*/ 2147483647 h 1172"/>
              <a:gd name="T76" fmla="*/ 2147483647 w 943"/>
              <a:gd name="T77" fmla="*/ 2147483647 h 1172"/>
              <a:gd name="T78" fmla="*/ 2147483647 w 943"/>
              <a:gd name="T79" fmla="*/ 2147483647 h 1172"/>
              <a:gd name="T80" fmla="*/ 2147483647 w 943"/>
              <a:gd name="T81" fmla="*/ 2147483647 h 1172"/>
              <a:gd name="T82" fmla="*/ 2147483647 w 943"/>
              <a:gd name="T83" fmla="*/ 2147483647 h 1172"/>
              <a:gd name="T84" fmla="*/ 2147483647 w 943"/>
              <a:gd name="T85" fmla="*/ 2147483647 h 1172"/>
              <a:gd name="T86" fmla="*/ 2147483647 w 943"/>
              <a:gd name="T87" fmla="*/ 2147483647 h 1172"/>
              <a:gd name="T88" fmla="*/ 2147483647 w 943"/>
              <a:gd name="T89" fmla="*/ 2147483647 h 1172"/>
              <a:gd name="T90" fmla="*/ 2147483647 w 943"/>
              <a:gd name="T91" fmla="*/ 2147483647 h 1172"/>
              <a:gd name="T92" fmla="*/ 2147483647 w 943"/>
              <a:gd name="T93" fmla="*/ 2147483647 h 1172"/>
              <a:gd name="T94" fmla="*/ 2147483647 w 943"/>
              <a:gd name="T95" fmla="*/ 2147483647 h 1172"/>
              <a:gd name="T96" fmla="*/ 2147483647 w 943"/>
              <a:gd name="T97" fmla="*/ 2147483647 h 1172"/>
              <a:gd name="T98" fmla="*/ 2147483647 w 943"/>
              <a:gd name="T99" fmla="*/ 2147483647 h 1172"/>
              <a:gd name="T100" fmla="*/ 2147483647 w 943"/>
              <a:gd name="T101" fmla="*/ 2147483647 h 1172"/>
              <a:gd name="T102" fmla="*/ 2147483647 w 943"/>
              <a:gd name="T103" fmla="*/ 214748364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08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041900" y="3590727"/>
            <a:ext cx="244475" cy="431800"/>
          </a:xfrm>
          <a:custGeom>
            <a:avLst/>
            <a:gdLst>
              <a:gd name="T0" fmla="*/ 2147483647 w 556"/>
              <a:gd name="T1" fmla="*/ 2147483647 h 819"/>
              <a:gd name="T2" fmla="*/ 2147483647 w 556"/>
              <a:gd name="T3" fmla="*/ 2147483647 h 819"/>
              <a:gd name="T4" fmla="*/ 2147483647 w 556"/>
              <a:gd name="T5" fmla="*/ 2147483647 h 819"/>
              <a:gd name="T6" fmla="*/ 2147483647 w 556"/>
              <a:gd name="T7" fmla="*/ 2147483647 h 819"/>
              <a:gd name="T8" fmla="*/ 2147483647 w 556"/>
              <a:gd name="T9" fmla="*/ 2147483647 h 819"/>
              <a:gd name="T10" fmla="*/ 2147483647 w 556"/>
              <a:gd name="T11" fmla="*/ 2147483647 h 819"/>
              <a:gd name="T12" fmla="*/ 2147483647 w 556"/>
              <a:gd name="T13" fmla="*/ 2147483647 h 819"/>
              <a:gd name="T14" fmla="*/ 2147483647 w 556"/>
              <a:gd name="T15" fmla="*/ 2147483647 h 819"/>
              <a:gd name="T16" fmla="*/ 2147483647 w 556"/>
              <a:gd name="T17" fmla="*/ 2147483647 h 819"/>
              <a:gd name="T18" fmla="*/ 2147483647 w 556"/>
              <a:gd name="T19" fmla="*/ 2147483647 h 819"/>
              <a:gd name="T20" fmla="*/ 2147483647 w 556"/>
              <a:gd name="T21" fmla="*/ 2147483647 h 819"/>
              <a:gd name="T22" fmla="*/ 2147483647 w 556"/>
              <a:gd name="T23" fmla="*/ 2147483647 h 819"/>
              <a:gd name="T24" fmla="*/ 2147483647 w 556"/>
              <a:gd name="T25" fmla="*/ 2147483647 h 819"/>
              <a:gd name="T26" fmla="*/ 2147483647 w 556"/>
              <a:gd name="T27" fmla="*/ 2147483647 h 819"/>
              <a:gd name="T28" fmla="*/ 2147483647 w 556"/>
              <a:gd name="T29" fmla="*/ 2147483647 h 819"/>
              <a:gd name="T30" fmla="*/ 2147483647 w 556"/>
              <a:gd name="T31" fmla="*/ 2147483647 h 819"/>
              <a:gd name="T32" fmla="*/ 2147483647 w 556"/>
              <a:gd name="T33" fmla="*/ 2147483647 h 819"/>
              <a:gd name="T34" fmla="*/ 2147483647 w 556"/>
              <a:gd name="T35" fmla="*/ 2147483647 h 819"/>
              <a:gd name="T36" fmla="*/ 2147483647 w 556"/>
              <a:gd name="T37" fmla="*/ 2147483647 h 819"/>
              <a:gd name="T38" fmla="*/ 2147483647 w 556"/>
              <a:gd name="T39" fmla="*/ 2147483647 h 819"/>
              <a:gd name="T40" fmla="*/ 2147483647 w 556"/>
              <a:gd name="T41" fmla="*/ 2147483647 h 819"/>
              <a:gd name="T42" fmla="*/ 2147483647 w 556"/>
              <a:gd name="T43" fmla="*/ 2147483647 h 819"/>
              <a:gd name="T44" fmla="*/ 2147483647 w 556"/>
              <a:gd name="T45" fmla="*/ 2147483647 h 819"/>
              <a:gd name="T46" fmla="*/ 2147483647 w 556"/>
              <a:gd name="T47" fmla="*/ 2147483647 h 819"/>
              <a:gd name="T48" fmla="*/ 2147483647 w 556"/>
              <a:gd name="T49" fmla="*/ 2147483647 h 819"/>
              <a:gd name="T50" fmla="*/ 2147483647 w 556"/>
              <a:gd name="T51" fmla="*/ 2147483647 h 819"/>
              <a:gd name="T52" fmla="*/ 2147483647 w 556"/>
              <a:gd name="T53" fmla="*/ 2147483647 h 819"/>
              <a:gd name="T54" fmla="*/ 2147483647 w 556"/>
              <a:gd name="T55" fmla="*/ 2147483647 h 819"/>
              <a:gd name="T56" fmla="*/ 2147483647 w 556"/>
              <a:gd name="T57" fmla="*/ 2147483647 h 819"/>
              <a:gd name="T58" fmla="*/ 2147483647 w 556"/>
              <a:gd name="T59" fmla="*/ 2147483647 h 819"/>
              <a:gd name="T60" fmla="*/ 2147483647 w 556"/>
              <a:gd name="T61" fmla="*/ 2147483647 h 819"/>
              <a:gd name="T62" fmla="*/ 2147483647 w 556"/>
              <a:gd name="T63" fmla="*/ 2147483647 h 819"/>
              <a:gd name="T64" fmla="*/ 2147483647 w 556"/>
              <a:gd name="T65" fmla="*/ 2147483647 h 819"/>
              <a:gd name="T66" fmla="*/ 2147483647 w 556"/>
              <a:gd name="T67" fmla="*/ 2147483647 h 819"/>
              <a:gd name="T68" fmla="*/ 2147483647 w 556"/>
              <a:gd name="T69" fmla="*/ 2147483647 h 819"/>
              <a:gd name="T70" fmla="*/ 2147483647 w 556"/>
              <a:gd name="T71" fmla="*/ 2147483647 h 819"/>
              <a:gd name="T72" fmla="*/ 2147483647 w 556"/>
              <a:gd name="T73" fmla="*/ 2147483647 h 819"/>
              <a:gd name="T74" fmla="*/ 2147483647 w 556"/>
              <a:gd name="T75" fmla="*/ 2147483647 h 819"/>
              <a:gd name="T76" fmla="*/ 2147483647 w 556"/>
              <a:gd name="T77" fmla="*/ 2147483647 h 819"/>
              <a:gd name="T78" fmla="*/ 2147483647 w 556"/>
              <a:gd name="T79" fmla="*/ 2147483647 h 819"/>
              <a:gd name="T80" fmla="*/ 2147483647 w 556"/>
              <a:gd name="T81" fmla="*/ 2147483647 h 819"/>
              <a:gd name="T82" fmla="*/ 2147483647 w 556"/>
              <a:gd name="T83" fmla="*/ 2147483647 h 819"/>
              <a:gd name="T84" fmla="*/ 2147483647 w 556"/>
              <a:gd name="T85" fmla="*/ 2147483647 h 819"/>
              <a:gd name="T86" fmla="*/ 2147483647 w 556"/>
              <a:gd name="T87" fmla="*/ 2147483647 h 819"/>
              <a:gd name="T88" fmla="*/ 2147483647 w 556"/>
              <a:gd name="T89" fmla="*/ 2147483647 h 819"/>
              <a:gd name="T90" fmla="*/ 2147483647 w 556"/>
              <a:gd name="T91" fmla="*/ 2147483647 h 819"/>
              <a:gd name="T92" fmla="*/ 2147483647 w 556"/>
              <a:gd name="T93" fmla="*/ 2147483647 h 819"/>
              <a:gd name="T94" fmla="*/ 2147483647 w 556"/>
              <a:gd name="T95" fmla="*/ 2147483647 h 819"/>
              <a:gd name="T96" fmla="*/ 2147483647 w 556"/>
              <a:gd name="T97" fmla="*/ 2147483647 h 819"/>
              <a:gd name="T98" fmla="*/ 2147483647 w 556"/>
              <a:gd name="T99" fmla="*/ 2147483647 h 819"/>
              <a:gd name="T100" fmla="*/ 2147483647 w 556"/>
              <a:gd name="T101" fmla="*/ 2147483647 h 819"/>
              <a:gd name="T102" fmla="*/ 2147483647 w 556"/>
              <a:gd name="T103" fmla="*/ 2147483647 h 819"/>
              <a:gd name="T104" fmla="*/ 2147483647 w 556"/>
              <a:gd name="T105" fmla="*/ 2147483647 h 819"/>
              <a:gd name="T106" fmla="*/ 2147483647 w 556"/>
              <a:gd name="T107" fmla="*/ 2147483647 h 819"/>
              <a:gd name="T108" fmla="*/ 2147483647 w 556"/>
              <a:gd name="T109" fmla="*/ 2147483647 h 819"/>
              <a:gd name="T110" fmla="*/ 2147483647 w 556"/>
              <a:gd name="T111" fmla="*/ 2147483647 h 819"/>
              <a:gd name="T112" fmla="*/ 2147483647 w 556"/>
              <a:gd name="T113" fmla="*/ 2147483647 h 819"/>
              <a:gd name="T114" fmla="*/ 2147483647 w 556"/>
              <a:gd name="T115" fmla="*/ 2147483647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09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049838" y="3578027"/>
            <a:ext cx="38100" cy="58737"/>
          </a:xfrm>
          <a:custGeom>
            <a:avLst/>
            <a:gdLst>
              <a:gd name="T0" fmla="*/ 2147483647 w 86"/>
              <a:gd name="T1" fmla="*/ 0 h 97"/>
              <a:gd name="T2" fmla="*/ 2147483647 w 86"/>
              <a:gd name="T3" fmla="*/ 2147483647 h 97"/>
              <a:gd name="T4" fmla="*/ 2147483647 w 86"/>
              <a:gd name="T5" fmla="*/ 2147483647 h 97"/>
              <a:gd name="T6" fmla="*/ 2147483647 w 86"/>
              <a:gd name="T7" fmla="*/ 2147483647 h 97"/>
              <a:gd name="T8" fmla="*/ 2147483647 w 86"/>
              <a:gd name="T9" fmla="*/ 2147483647 h 97"/>
              <a:gd name="T10" fmla="*/ 2147483647 w 86"/>
              <a:gd name="T11" fmla="*/ 2147483647 h 97"/>
              <a:gd name="T12" fmla="*/ 2147483647 w 86"/>
              <a:gd name="T13" fmla="*/ 2147483647 h 97"/>
              <a:gd name="T14" fmla="*/ 2147483647 w 86"/>
              <a:gd name="T15" fmla="*/ 2147483647 h 97"/>
              <a:gd name="T16" fmla="*/ 2147483647 w 86"/>
              <a:gd name="T17" fmla="*/ 2147483647 h 97"/>
              <a:gd name="T18" fmla="*/ 2147483647 w 86"/>
              <a:gd name="T19" fmla="*/ 2147483647 h 97"/>
              <a:gd name="T20" fmla="*/ 2147483647 w 86"/>
              <a:gd name="T21" fmla="*/ 2147483647 h 97"/>
              <a:gd name="T22" fmla="*/ 2147483647 w 86"/>
              <a:gd name="T23" fmla="*/ 2147483647 h 97"/>
              <a:gd name="T24" fmla="*/ 2147483647 w 86"/>
              <a:gd name="T25" fmla="*/ 2147483647 h 97"/>
              <a:gd name="T26" fmla="*/ 2147483647 w 86"/>
              <a:gd name="T27" fmla="*/ 2147483647 h 97"/>
              <a:gd name="T28" fmla="*/ 2147483647 w 86"/>
              <a:gd name="T29" fmla="*/ 2147483647 h 97"/>
              <a:gd name="T30" fmla="*/ 0 w 86"/>
              <a:gd name="T31" fmla="*/ 2147483647 h 97"/>
              <a:gd name="T32" fmla="*/ 0 w 86"/>
              <a:gd name="T33" fmla="*/ 2147483647 h 97"/>
              <a:gd name="T34" fmla="*/ 0 w 86"/>
              <a:gd name="T35" fmla="*/ 2147483647 h 97"/>
              <a:gd name="T36" fmla="*/ 2147483647 w 86"/>
              <a:gd name="T37" fmla="*/ 2147483647 h 97"/>
              <a:gd name="T38" fmla="*/ 2147483647 w 86"/>
              <a:gd name="T39" fmla="*/ 2147483647 h 97"/>
              <a:gd name="T40" fmla="*/ 2147483647 w 86"/>
              <a:gd name="T41" fmla="*/ 2147483647 h 97"/>
              <a:gd name="T42" fmla="*/ 2147483647 w 86"/>
              <a:gd name="T43" fmla="*/ 2147483647 h 97"/>
              <a:gd name="T44" fmla="*/ 2147483647 w 86"/>
              <a:gd name="T45" fmla="*/ 2147483647 h 97"/>
              <a:gd name="T46" fmla="*/ 2147483647 w 86"/>
              <a:gd name="T47" fmla="*/ 2147483647 h 97"/>
              <a:gd name="T48" fmla="*/ 2147483647 w 86"/>
              <a:gd name="T49" fmla="*/ 2147483647 h 97"/>
              <a:gd name="T50" fmla="*/ 2147483647 w 86"/>
              <a:gd name="T51" fmla="*/ 2147483647 h 97"/>
              <a:gd name="T52" fmla="*/ 2147483647 w 86"/>
              <a:gd name="T53" fmla="*/ 2147483647 h 97"/>
              <a:gd name="T54" fmla="*/ 2147483647 w 86"/>
              <a:gd name="T55" fmla="*/ 2147483647 h 97"/>
              <a:gd name="T56" fmla="*/ 2147483647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10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848225" y="3489127"/>
            <a:ext cx="363538" cy="376237"/>
          </a:xfrm>
          <a:custGeom>
            <a:avLst/>
            <a:gdLst>
              <a:gd name="T0" fmla="*/ 2147483647 w 845"/>
              <a:gd name="T1" fmla="*/ 2147483647 h 720"/>
              <a:gd name="T2" fmla="*/ 2147483647 w 845"/>
              <a:gd name="T3" fmla="*/ 2147483647 h 720"/>
              <a:gd name="T4" fmla="*/ 2147483647 w 845"/>
              <a:gd name="T5" fmla="*/ 0 h 720"/>
              <a:gd name="T6" fmla="*/ 2147483647 w 845"/>
              <a:gd name="T7" fmla="*/ 2147483647 h 720"/>
              <a:gd name="T8" fmla="*/ 2147483647 w 845"/>
              <a:gd name="T9" fmla="*/ 2147483647 h 720"/>
              <a:gd name="T10" fmla="*/ 2147483647 w 845"/>
              <a:gd name="T11" fmla="*/ 2147483647 h 720"/>
              <a:gd name="T12" fmla="*/ 2147483647 w 845"/>
              <a:gd name="T13" fmla="*/ 2147483647 h 720"/>
              <a:gd name="T14" fmla="*/ 2147483647 w 845"/>
              <a:gd name="T15" fmla="*/ 2147483647 h 720"/>
              <a:gd name="T16" fmla="*/ 2147483647 w 845"/>
              <a:gd name="T17" fmla="*/ 2147483647 h 720"/>
              <a:gd name="T18" fmla="*/ 2147483647 w 845"/>
              <a:gd name="T19" fmla="*/ 2147483647 h 720"/>
              <a:gd name="T20" fmla="*/ 2147483647 w 845"/>
              <a:gd name="T21" fmla="*/ 2147483647 h 720"/>
              <a:gd name="T22" fmla="*/ 2147483647 w 845"/>
              <a:gd name="T23" fmla="*/ 2147483647 h 720"/>
              <a:gd name="T24" fmla="*/ 2147483647 w 845"/>
              <a:gd name="T25" fmla="*/ 2147483647 h 720"/>
              <a:gd name="T26" fmla="*/ 2147483647 w 845"/>
              <a:gd name="T27" fmla="*/ 2147483647 h 720"/>
              <a:gd name="T28" fmla="*/ 2147483647 w 845"/>
              <a:gd name="T29" fmla="*/ 2147483647 h 720"/>
              <a:gd name="T30" fmla="*/ 2147483647 w 845"/>
              <a:gd name="T31" fmla="*/ 2147483647 h 720"/>
              <a:gd name="T32" fmla="*/ 2147483647 w 845"/>
              <a:gd name="T33" fmla="*/ 2147483647 h 720"/>
              <a:gd name="T34" fmla="*/ 2147483647 w 845"/>
              <a:gd name="T35" fmla="*/ 2147483647 h 720"/>
              <a:gd name="T36" fmla="*/ 2147483647 w 845"/>
              <a:gd name="T37" fmla="*/ 2147483647 h 720"/>
              <a:gd name="T38" fmla="*/ 2147483647 w 845"/>
              <a:gd name="T39" fmla="*/ 2147483647 h 720"/>
              <a:gd name="T40" fmla="*/ 2147483647 w 845"/>
              <a:gd name="T41" fmla="*/ 2147483647 h 720"/>
              <a:gd name="T42" fmla="*/ 2147483647 w 845"/>
              <a:gd name="T43" fmla="*/ 2147483647 h 720"/>
              <a:gd name="T44" fmla="*/ 2147483647 w 845"/>
              <a:gd name="T45" fmla="*/ 2147483647 h 720"/>
              <a:gd name="T46" fmla="*/ 2147483647 w 845"/>
              <a:gd name="T47" fmla="*/ 2147483647 h 720"/>
              <a:gd name="T48" fmla="*/ 2147483647 w 845"/>
              <a:gd name="T49" fmla="*/ 2147483647 h 720"/>
              <a:gd name="T50" fmla="*/ 2147483647 w 845"/>
              <a:gd name="T51" fmla="*/ 2147483647 h 720"/>
              <a:gd name="T52" fmla="*/ 2147483647 w 845"/>
              <a:gd name="T53" fmla="*/ 2147483647 h 720"/>
              <a:gd name="T54" fmla="*/ 2147483647 w 845"/>
              <a:gd name="T55" fmla="*/ 2147483647 h 720"/>
              <a:gd name="T56" fmla="*/ 2147483647 w 845"/>
              <a:gd name="T57" fmla="*/ 2147483647 h 720"/>
              <a:gd name="T58" fmla="*/ 2147483647 w 845"/>
              <a:gd name="T59" fmla="*/ 2147483647 h 720"/>
              <a:gd name="T60" fmla="*/ 2147483647 w 845"/>
              <a:gd name="T61" fmla="*/ 2147483647 h 720"/>
              <a:gd name="T62" fmla="*/ 2147483647 w 845"/>
              <a:gd name="T63" fmla="*/ 2147483647 h 720"/>
              <a:gd name="T64" fmla="*/ 2147483647 w 845"/>
              <a:gd name="T65" fmla="*/ 2147483647 h 720"/>
              <a:gd name="T66" fmla="*/ 2147483647 w 845"/>
              <a:gd name="T67" fmla="*/ 2147483647 h 720"/>
              <a:gd name="T68" fmla="*/ 2147483647 w 845"/>
              <a:gd name="T69" fmla="*/ 2147483647 h 720"/>
              <a:gd name="T70" fmla="*/ 2147483647 w 845"/>
              <a:gd name="T71" fmla="*/ 2147483647 h 720"/>
              <a:gd name="T72" fmla="*/ 2147483647 w 845"/>
              <a:gd name="T73" fmla="*/ 2147483647 h 720"/>
              <a:gd name="T74" fmla="*/ 2147483647 w 845"/>
              <a:gd name="T75" fmla="*/ 2147483647 h 720"/>
              <a:gd name="T76" fmla="*/ 2147483647 w 845"/>
              <a:gd name="T77" fmla="*/ 2147483647 h 720"/>
              <a:gd name="T78" fmla="*/ 2147483647 w 845"/>
              <a:gd name="T79" fmla="*/ 2147483647 h 720"/>
              <a:gd name="T80" fmla="*/ 2147483647 w 845"/>
              <a:gd name="T81" fmla="*/ 2147483647 h 720"/>
              <a:gd name="T82" fmla="*/ 2147483647 w 845"/>
              <a:gd name="T83" fmla="*/ 2147483647 h 720"/>
              <a:gd name="T84" fmla="*/ 2147483647 w 845"/>
              <a:gd name="T85" fmla="*/ 2147483647 h 720"/>
              <a:gd name="T86" fmla="*/ 2147483647 w 845"/>
              <a:gd name="T87" fmla="*/ 2147483647 h 720"/>
              <a:gd name="T88" fmla="*/ 2147483647 w 845"/>
              <a:gd name="T89" fmla="*/ 2147483647 h 720"/>
              <a:gd name="T90" fmla="*/ 2147483647 w 845"/>
              <a:gd name="T91" fmla="*/ 2147483647 h 720"/>
              <a:gd name="T92" fmla="*/ 2147483647 w 845"/>
              <a:gd name="T93" fmla="*/ 2147483647 h 720"/>
              <a:gd name="T94" fmla="*/ 2147483647 w 845"/>
              <a:gd name="T95" fmla="*/ 2147483647 h 720"/>
              <a:gd name="T96" fmla="*/ 2147483647 w 845"/>
              <a:gd name="T97" fmla="*/ 2147483647 h 720"/>
              <a:gd name="T98" fmla="*/ 2147483647 w 845"/>
              <a:gd name="T99" fmla="*/ 2147483647 h 720"/>
              <a:gd name="T100" fmla="*/ 2147483647 w 845"/>
              <a:gd name="T101" fmla="*/ 2147483647 h 720"/>
              <a:gd name="T102" fmla="*/ 2147483647 w 845"/>
              <a:gd name="T103" fmla="*/ 2147483647 h 720"/>
              <a:gd name="T104" fmla="*/ 2147483647 w 845"/>
              <a:gd name="T105" fmla="*/ 2147483647 h 720"/>
              <a:gd name="T106" fmla="*/ 2147483647 w 845"/>
              <a:gd name="T107" fmla="*/ 2147483647 h 720"/>
              <a:gd name="T108" fmla="*/ 2147483647 w 845"/>
              <a:gd name="T109" fmla="*/ 2147483647 h 720"/>
              <a:gd name="T110" fmla="*/ 2147483647 w 845"/>
              <a:gd name="T111" fmla="*/ 2147483647 h 720"/>
              <a:gd name="T112" fmla="*/ 2147483647 w 845"/>
              <a:gd name="T113" fmla="*/ 2147483647 h 720"/>
              <a:gd name="T114" fmla="*/ 2147483647 w 845"/>
              <a:gd name="T115" fmla="*/ 2147483647 h 720"/>
              <a:gd name="T116" fmla="*/ 2147483647 w 845"/>
              <a:gd name="T117" fmla="*/ 2147483647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11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708150" y="3645024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12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708150" y="3652962"/>
            <a:ext cx="12700" cy="58737"/>
          </a:xfrm>
          <a:custGeom>
            <a:avLst/>
            <a:gdLst>
              <a:gd name="T0" fmla="*/ 0 w 33"/>
              <a:gd name="T1" fmla="*/ 0 h 6"/>
              <a:gd name="T2" fmla="*/ 2147483647 w 33"/>
              <a:gd name="T3" fmla="*/ 2147483647 h 6"/>
              <a:gd name="T4" fmla="*/ 2147483647 w 33"/>
              <a:gd name="T5" fmla="*/ 2147483647 h 6"/>
              <a:gd name="T6" fmla="*/ 2147483647 w 33"/>
              <a:gd name="T7" fmla="*/ 2147483647 h 6"/>
              <a:gd name="T8" fmla="*/ 2147483647 w 3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13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716088" y="4003477"/>
            <a:ext cx="4762" cy="57150"/>
          </a:xfrm>
          <a:custGeom>
            <a:avLst/>
            <a:gdLst>
              <a:gd name="T0" fmla="*/ 2147483647 w 13"/>
              <a:gd name="T1" fmla="*/ 2147483647 h 30"/>
              <a:gd name="T2" fmla="*/ 2147483647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314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708150" y="3938389"/>
            <a:ext cx="417513" cy="201613"/>
            <a:chOff x="912" y="2626"/>
            <a:chExt cx="311" cy="127"/>
          </a:xfrm>
          <a:solidFill>
            <a:schemeClr val="accent5">
              <a:lumMod val="90000"/>
            </a:schemeClr>
          </a:solidFill>
        </p:grpSpPr>
        <p:sp>
          <p:nvSpPr>
            <p:cNvPr id="2500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2 w 352"/>
                <a:gd name="T1" fmla="*/ 9 h 387"/>
                <a:gd name="T2" fmla="*/ 30 w 352"/>
                <a:gd name="T3" fmla="*/ 9 h 387"/>
                <a:gd name="T4" fmla="*/ 27 w 352"/>
                <a:gd name="T5" fmla="*/ 9 h 387"/>
                <a:gd name="T6" fmla="*/ 26 w 352"/>
                <a:gd name="T7" fmla="*/ 8 h 387"/>
                <a:gd name="T8" fmla="*/ 23 w 352"/>
                <a:gd name="T9" fmla="*/ 6 h 387"/>
                <a:gd name="T10" fmla="*/ 17 w 352"/>
                <a:gd name="T11" fmla="*/ 2 h 387"/>
                <a:gd name="T12" fmla="*/ 14 w 352"/>
                <a:gd name="T13" fmla="*/ 1 h 387"/>
                <a:gd name="T14" fmla="*/ 13 w 352"/>
                <a:gd name="T15" fmla="*/ 2 h 387"/>
                <a:gd name="T16" fmla="*/ 12 w 352"/>
                <a:gd name="T17" fmla="*/ 3 h 387"/>
                <a:gd name="T18" fmla="*/ 11 w 352"/>
                <a:gd name="T19" fmla="*/ 4 h 387"/>
                <a:gd name="T20" fmla="*/ 9 w 352"/>
                <a:gd name="T21" fmla="*/ 6 h 387"/>
                <a:gd name="T22" fmla="*/ 5 w 352"/>
                <a:gd name="T23" fmla="*/ 11 h 387"/>
                <a:gd name="T24" fmla="*/ 3 w 352"/>
                <a:gd name="T25" fmla="*/ 14 h 387"/>
                <a:gd name="T26" fmla="*/ 2 w 352"/>
                <a:gd name="T27" fmla="*/ 17 h 387"/>
                <a:gd name="T28" fmla="*/ 1 w 352"/>
                <a:gd name="T29" fmla="*/ 19 h 387"/>
                <a:gd name="T30" fmla="*/ 0 w 352"/>
                <a:gd name="T31" fmla="*/ 21 h 387"/>
                <a:gd name="T32" fmla="*/ 0 w 352"/>
                <a:gd name="T33" fmla="*/ 23 h 387"/>
                <a:gd name="T34" fmla="*/ 0 w 352"/>
                <a:gd name="T35" fmla="*/ 24 h 387"/>
                <a:gd name="T36" fmla="*/ 1 w 352"/>
                <a:gd name="T37" fmla="*/ 25 h 387"/>
                <a:gd name="T38" fmla="*/ 3 w 352"/>
                <a:gd name="T39" fmla="*/ 26 h 387"/>
                <a:gd name="T40" fmla="*/ 4 w 352"/>
                <a:gd name="T41" fmla="*/ 26 h 387"/>
                <a:gd name="T42" fmla="*/ 5 w 352"/>
                <a:gd name="T43" fmla="*/ 26 h 387"/>
                <a:gd name="T44" fmla="*/ 6 w 352"/>
                <a:gd name="T45" fmla="*/ 26 h 387"/>
                <a:gd name="T46" fmla="*/ 7 w 352"/>
                <a:gd name="T47" fmla="*/ 25 h 387"/>
                <a:gd name="T48" fmla="*/ 8 w 352"/>
                <a:gd name="T49" fmla="*/ 25 h 387"/>
                <a:gd name="T50" fmla="*/ 8 w 352"/>
                <a:gd name="T51" fmla="*/ 26 h 387"/>
                <a:gd name="T52" fmla="*/ 8 w 352"/>
                <a:gd name="T53" fmla="*/ 28 h 387"/>
                <a:gd name="T54" fmla="*/ 8 w 352"/>
                <a:gd name="T55" fmla="*/ 30 h 387"/>
                <a:gd name="T56" fmla="*/ 7 w 352"/>
                <a:gd name="T57" fmla="*/ 31 h 387"/>
                <a:gd name="T58" fmla="*/ 7 w 352"/>
                <a:gd name="T59" fmla="*/ 33 h 387"/>
                <a:gd name="T60" fmla="*/ 8 w 352"/>
                <a:gd name="T61" fmla="*/ 36 h 387"/>
                <a:gd name="T62" fmla="*/ 9 w 352"/>
                <a:gd name="T63" fmla="*/ 38 h 387"/>
                <a:gd name="T64" fmla="*/ 13 w 352"/>
                <a:gd name="T65" fmla="*/ 40 h 387"/>
                <a:gd name="T66" fmla="*/ 15 w 352"/>
                <a:gd name="T67" fmla="*/ 41 h 387"/>
                <a:gd name="T68" fmla="*/ 16 w 352"/>
                <a:gd name="T69" fmla="*/ 42 h 387"/>
                <a:gd name="T70" fmla="*/ 17 w 352"/>
                <a:gd name="T71" fmla="*/ 41 h 387"/>
                <a:gd name="T72" fmla="*/ 18 w 352"/>
                <a:gd name="T73" fmla="*/ 39 h 387"/>
                <a:gd name="T74" fmla="*/ 18 w 352"/>
                <a:gd name="T75" fmla="*/ 38 h 387"/>
                <a:gd name="T76" fmla="*/ 19 w 352"/>
                <a:gd name="T77" fmla="*/ 36 h 387"/>
                <a:gd name="T78" fmla="*/ 19 w 352"/>
                <a:gd name="T79" fmla="*/ 35 h 387"/>
                <a:gd name="T80" fmla="*/ 20 w 352"/>
                <a:gd name="T81" fmla="*/ 33 h 387"/>
                <a:gd name="T82" fmla="*/ 22 w 352"/>
                <a:gd name="T83" fmla="*/ 30 h 387"/>
                <a:gd name="T84" fmla="*/ 24 w 352"/>
                <a:gd name="T85" fmla="*/ 28 h 387"/>
                <a:gd name="T86" fmla="*/ 27 w 352"/>
                <a:gd name="T87" fmla="*/ 27 h 387"/>
                <a:gd name="T88" fmla="*/ 31 w 352"/>
                <a:gd name="T89" fmla="*/ 25 h 387"/>
                <a:gd name="T90" fmla="*/ 33 w 352"/>
                <a:gd name="T91" fmla="*/ 23 h 387"/>
                <a:gd name="T92" fmla="*/ 35 w 352"/>
                <a:gd name="T93" fmla="*/ 21 h 387"/>
                <a:gd name="T94" fmla="*/ 36 w 352"/>
                <a:gd name="T95" fmla="*/ 20 h 387"/>
                <a:gd name="T96" fmla="*/ 36 w 352"/>
                <a:gd name="T97" fmla="*/ 18 h 387"/>
                <a:gd name="T98" fmla="*/ 36 w 352"/>
                <a:gd name="T99" fmla="*/ 16 h 387"/>
                <a:gd name="T100" fmla="*/ 35 w 352"/>
                <a:gd name="T101" fmla="*/ 13 h 387"/>
                <a:gd name="T102" fmla="*/ 34 w 352"/>
                <a:gd name="T103" fmla="*/ 1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01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2 w 52"/>
                <a:gd name="T1" fmla="*/ 0 h 78"/>
                <a:gd name="T2" fmla="*/ 2 w 52"/>
                <a:gd name="T3" fmla="*/ 0 h 78"/>
                <a:gd name="T4" fmla="*/ 3 w 52"/>
                <a:gd name="T5" fmla="*/ 0 h 78"/>
                <a:gd name="T6" fmla="*/ 3 w 52"/>
                <a:gd name="T7" fmla="*/ 1 h 78"/>
                <a:gd name="T8" fmla="*/ 4 w 52"/>
                <a:gd name="T9" fmla="*/ 1 h 78"/>
                <a:gd name="T10" fmla="*/ 4 w 52"/>
                <a:gd name="T11" fmla="*/ 1 h 78"/>
                <a:gd name="T12" fmla="*/ 5 w 52"/>
                <a:gd name="T13" fmla="*/ 2 h 78"/>
                <a:gd name="T14" fmla="*/ 5 w 52"/>
                <a:gd name="T15" fmla="*/ 2 h 78"/>
                <a:gd name="T16" fmla="*/ 5 w 52"/>
                <a:gd name="T17" fmla="*/ 3 h 78"/>
                <a:gd name="T18" fmla="*/ 6 w 52"/>
                <a:gd name="T19" fmla="*/ 4 h 78"/>
                <a:gd name="T20" fmla="*/ 6 w 52"/>
                <a:gd name="T21" fmla="*/ 5 h 78"/>
                <a:gd name="T22" fmla="*/ 6 w 52"/>
                <a:gd name="T23" fmla="*/ 5 h 78"/>
                <a:gd name="T24" fmla="*/ 5 w 52"/>
                <a:gd name="T25" fmla="*/ 6 h 78"/>
                <a:gd name="T26" fmla="*/ 5 w 52"/>
                <a:gd name="T27" fmla="*/ 6 h 78"/>
                <a:gd name="T28" fmla="*/ 5 w 52"/>
                <a:gd name="T29" fmla="*/ 7 h 78"/>
                <a:gd name="T30" fmla="*/ 4 w 52"/>
                <a:gd name="T31" fmla="*/ 7 h 78"/>
                <a:gd name="T32" fmla="*/ 4 w 52"/>
                <a:gd name="T33" fmla="*/ 8 h 78"/>
                <a:gd name="T34" fmla="*/ 3 w 52"/>
                <a:gd name="T35" fmla="*/ 8 h 78"/>
                <a:gd name="T36" fmla="*/ 2 w 52"/>
                <a:gd name="T37" fmla="*/ 9 h 78"/>
                <a:gd name="T38" fmla="*/ 1 w 52"/>
                <a:gd name="T39" fmla="*/ 9 h 78"/>
                <a:gd name="T40" fmla="*/ 1 w 52"/>
                <a:gd name="T41" fmla="*/ 9 h 78"/>
                <a:gd name="T42" fmla="*/ 0 w 52"/>
                <a:gd name="T43" fmla="*/ 9 h 78"/>
                <a:gd name="T44" fmla="*/ 0 w 52"/>
                <a:gd name="T45" fmla="*/ 9 h 78"/>
                <a:gd name="T46" fmla="*/ 0 w 52"/>
                <a:gd name="T47" fmla="*/ 8 h 78"/>
                <a:gd name="T48" fmla="*/ 0 w 52"/>
                <a:gd name="T49" fmla="*/ 8 h 78"/>
                <a:gd name="T50" fmla="*/ 0 w 52"/>
                <a:gd name="T51" fmla="*/ 8 h 78"/>
                <a:gd name="T52" fmla="*/ 0 w 52"/>
                <a:gd name="T53" fmla="*/ 7 h 78"/>
                <a:gd name="T54" fmla="*/ 0 w 52"/>
                <a:gd name="T55" fmla="*/ 7 h 78"/>
                <a:gd name="T56" fmla="*/ 1 w 52"/>
                <a:gd name="T57" fmla="*/ 6 h 78"/>
                <a:gd name="T58" fmla="*/ 2 w 52"/>
                <a:gd name="T59" fmla="*/ 5 h 78"/>
                <a:gd name="T60" fmla="*/ 3 w 52"/>
                <a:gd name="T61" fmla="*/ 5 h 78"/>
                <a:gd name="T62" fmla="*/ 3 w 52"/>
                <a:gd name="T63" fmla="*/ 4 h 78"/>
                <a:gd name="T64" fmla="*/ 2 w 52"/>
                <a:gd name="T65" fmla="*/ 2 h 78"/>
                <a:gd name="T66" fmla="*/ 2 w 52"/>
                <a:gd name="T67" fmla="*/ 1 h 78"/>
                <a:gd name="T68" fmla="*/ 2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02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1 w 33"/>
                <a:gd name="T1" fmla="*/ 1 h 30"/>
                <a:gd name="T2" fmla="*/ 0 w 33"/>
                <a:gd name="T3" fmla="*/ 3 h 30"/>
                <a:gd name="T4" fmla="*/ 1 w 33"/>
                <a:gd name="T5" fmla="*/ 3 h 30"/>
                <a:gd name="T6" fmla="*/ 1 w 33"/>
                <a:gd name="T7" fmla="*/ 3 h 30"/>
                <a:gd name="T8" fmla="*/ 2 w 33"/>
                <a:gd name="T9" fmla="*/ 3 h 30"/>
                <a:gd name="T10" fmla="*/ 2 w 33"/>
                <a:gd name="T11" fmla="*/ 3 h 30"/>
                <a:gd name="T12" fmla="*/ 2 w 33"/>
                <a:gd name="T13" fmla="*/ 0 h 30"/>
                <a:gd name="T14" fmla="*/ 1 w 33"/>
                <a:gd name="T15" fmla="*/ 0 h 30"/>
                <a:gd name="T16" fmla="*/ 1 w 33"/>
                <a:gd name="T17" fmla="*/ 1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315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356225" y="4655939"/>
            <a:ext cx="19050" cy="58738"/>
          </a:xfrm>
          <a:custGeom>
            <a:avLst/>
            <a:gdLst>
              <a:gd name="T0" fmla="*/ 2147483647 w 47"/>
              <a:gd name="T1" fmla="*/ 0 h 28"/>
              <a:gd name="T2" fmla="*/ 2147483647 w 47"/>
              <a:gd name="T3" fmla="*/ 0 h 28"/>
              <a:gd name="T4" fmla="*/ 2147483647 w 47"/>
              <a:gd name="T5" fmla="*/ 2147483647 h 28"/>
              <a:gd name="T6" fmla="*/ 2147483647 w 47"/>
              <a:gd name="T7" fmla="*/ 2147483647 h 28"/>
              <a:gd name="T8" fmla="*/ 2147483647 w 47"/>
              <a:gd name="T9" fmla="*/ 2147483647 h 28"/>
              <a:gd name="T10" fmla="*/ 2147483647 w 47"/>
              <a:gd name="T11" fmla="*/ 2147483647 h 28"/>
              <a:gd name="T12" fmla="*/ 2147483647 w 47"/>
              <a:gd name="T13" fmla="*/ 2147483647 h 28"/>
              <a:gd name="T14" fmla="*/ 2147483647 w 47"/>
              <a:gd name="T15" fmla="*/ 2147483647 h 28"/>
              <a:gd name="T16" fmla="*/ 2147483647 w 47"/>
              <a:gd name="T17" fmla="*/ 2147483647 h 28"/>
              <a:gd name="T18" fmla="*/ 2147483647 w 47"/>
              <a:gd name="T19" fmla="*/ 2147483647 h 28"/>
              <a:gd name="T20" fmla="*/ 2147483647 w 47"/>
              <a:gd name="T21" fmla="*/ 2147483647 h 28"/>
              <a:gd name="T22" fmla="*/ 2147483647 w 47"/>
              <a:gd name="T23" fmla="*/ 2147483647 h 28"/>
              <a:gd name="T24" fmla="*/ 2147483647 w 47"/>
              <a:gd name="T25" fmla="*/ 2147483647 h 28"/>
              <a:gd name="T26" fmla="*/ 2147483647 w 47"/>
              <a:gd name="T27" fmla="*/ 2147483647 h 28"/>
              <a:gd name="T28" fmla="*/ 0 w 47"/>
              <a:gd name="T29" fmla="*/ 2147483647 h 28"/>
              <a:gd name="T30" fmla="*/ 2147483647 w 47"/>
              <a:gd name="T31" fmla="*/ 2147483647 h 28"/>
              <a:gd name="T32" fmla="*/ 2147483647 w 47"/>
              <a:gd name="T33" fmla="*/ 2147483647 h 28"/>
              <a:gd name="T34" fmla="*/ 2147483647 w 47"/>
              <a:gd name="T35" fmla="*/ 2147483647 h 28"/>
              <a:gd name="T36" fmla="*/ 2147483647 w 47"/>
              <a:gd name="T37" fmla="*/ 2147483647 h 28"/>
              <a:gd name="T38" fmla="*/ 2147483647 w 47"/>
              <a:gd name="T39" fmla="*/ 2147483647 h 28"/>
              <a:gd name="T40" fmla="*/ 2147483647 w 47"/>
              <a:gd name="T41" fmla="*/ 2147483647 h 28"/>
              <a:gd name="T42" fmla="*/ 2147483647 w 47"/>
              <a:gd name="T43" fmla="*/ 2147483647 h 28"/>
              <a:gd name="T44" fmla="*/ 2147483647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16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327650" y="4682927"/>
            <a:ext cx="23813" cy="57150"/>
          </a:xfrm>
          <a:custGeom>
            <a:avLst/>
            <a:gdLst>
              <a:gd name="T0" fmla="*/ 2147483647 w 53"/>
              <a:gd name="T1" fmla="*/ 0 h 33"/>
              <a:gd name="T2" fmla="*/ 2147483647 w 53"/>
              <a:gd name="T3" fmla="*/ 2147483647 h 33"/>
              <a:gd name="T4" fmla="*/ 2147483647 w 53"/>
              <a:gd name="T5" fmla="*/ 2147483647 h 33"/>
              <a:gd name="T6" fmla="*/ 2147483647 w 53"/>
              <a:gd name="T7" fmla="*/ 2147483647 h 33"/>
              <a:gd name="T8" fmla="*/ 2147483647 w 53"/>
              <a:gd name="T9" fmla="*/ 2147483647 h 33"/>
              <a:gd name="T10" fmla="*/ 2147483647 w 53"/>
              <a:gd name="T11" fmla="*/ 2147483647 h 33"/>
              <a:gd name="T12" fmla="*/ 2147483647 w 53"/>
              <a:gd name="T13" fmla="*/ 2147483647 h 33"/>
              <a:gd name="T14" fmla="*/ 2147483647 w 53"/>
              <a:gd name="T15" fmla="*/ 2147483647 h 33"/>
              <a:gd name="T16" fmla="*/ 2147483647 w 53"/>
              <a:gd name="T17" fmla="*/ 2147483647 h 33"/>
              <a:gd name="T18" fmla="*/ 2147483647 w 53"/>
              <a:gd name="T19" fmla="*/ 2147483647 h 33"/>
              <a:gd name="T20" fmla="*/ 2147483647 w 53"/>
              <a:gd name="T21" fmla="*/ 2147483647 h 33"/>
              <a:gd name="T22" fmla="*/ 2147483647 w 53"/>
              <a:gd name="T23" fmla="*/ 2147483647 h 33"/>
              <a:gd name="T24" fmla="*/ 2147483647 w 53"/>
              <a:gd name="T25" fmla="*/ 2147483647 h 33"/>
              <a:gd name="T26" fmla="*/ 2147483647 w 53"/>
              <a:gd name="T27" fmla="*/ 2147483647 h 33"/>
              <a:gd name="T28" fmla="*/ 2147483647 w 53"/>
              <a:gd name="T29" fmla="*/ 2147483647 h 33"/>
              <a:gd name="T30" fmla="*/ 2147483647 w 53"/>
              <a:gd name="T31" fmla="*/ 2147483647 h 33"/>
              <a:gd name="T32" fmla="*/ 0 w 53"/>
              <a:gd name="T33" fmla="*/ 2147483647 h 33"/>
              <a:gd name="T34" fmla="*/ 0 w 53"/>
              <a:gd name="T35" fmla="*/ 2147483647 h 33"/>
              <a:gd name="T36" fmla="*/ 2147483647 w 53"/>
              <a:gd name="T37" fmla="*/ 2147483647 h 33"/>
              <a:gd name="T38" fmla="*/ 2147483647 w 53"/>
              <a:gd name="T39" fmla="*/ 2147483647 h 33"/>
              <a:gd name="T40" fmla="*/ 2147483647 w 53"/>
              <a:gd name="T41" fmla="*/ 2147483647 h 33"/>
              <a:gd name="T42" fmla="*/ 2147483647 w 53"/>
              <a:gd name="T43" fmla="*/ 2147483647 h 33"/>
              <a:gd name="T44" fmla="*/ 2147483647 w 53"/>
              <a:gd name="T45" fmla="*/ 2147483647 h 33"/>
              <a:gd name="T46" fmla="*/ 2147483647 w 53"/>
              <a:gd name="T47" fmla="*/ 2147483647 h 33"/>
              <a:gd name="T48" fmla="*/ 2147483647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317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168900" y="4174927"/>
            <a:ext cx="168275" cy="103187"/>
            <a:chOff x="3481" y="2773"/>
            <a:chExt cx="125" cy="65"/>
          </a:xfrm>
        </p:grpSpPr>
        <p:sp>
          <p:nvSpPr>
            <p:cNvPr id="2494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w 13"/>
                <a:gd name="T7" fmla="*/ 0 h 18"/>
                <a:gd name="T8" fmla="*/ 0 w 13"/>
                <a:gd name="T9" fmla="*/ 0 h 18"/>
                <a:gd name="T10" fmla="*/ 0 w 13"/>
                <a:gd name="T11" fmla="*/ 0 h 18"/>
                <a:gd name="T12" fmla="*/ 0 w 13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95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96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0 w 14"/>
                <a:gd name="T1" fmla="*/ 0 h 19"/>
                <a:gd name="T2" fmla="*/ 0 w 14"/>
                <a:gd name="T3" fmla="*/ 0 h 19"/>
                <a:gd name="T4" fmla="*/ 0 w 14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97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0 h 18"/>
                <a:gd name="T2" fmla="*/ 0 w 7"/>
                <a:gd name="T3" fmla="*/ 0 h 18"/>
                <a:gd name="T4" fmla="*/ 0 w 7"/>
                <a:gd name="T5" fmla="*/ 0 h 18"/>
                <a:gd name="T6" fmla="*/ 0 w 7"/>
                <a:gd name="T7" fmla="*/ 0 h 18"/>
                <a:gd name="T8" fmla="*/ 0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98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0 w 20"/>
                <a:gd name="T1" fmla="*/ 0 h 12"/>
                <a:gd name="T2" fmla="*/ 0 w 20"/>
                <a:gd name="T3" fmla="*/ 0 h 12"/>
                <a:gd name="T4" fmla="*/ 0 w 20"/>
                <a:gd name="T5" fmla="*/ 0 h 12"/>
                <a:gd name="T6" fmla="*/ 0 w 20"/>
                <a:gd name="T7" fmla="*/ 0 h 12"/>
                <a:gd name="T8" fmla="*/ 0 w 20"/>
                <a:gd name="T9" fmla="*/ 0 h 12"/>
                <a:gd name="T10" fmla="*/ 0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99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0 w 7"/>
                <a:gd name="T1" fmla="*/ 0 h 12"/>
                <a:gd name="T2" fmla="*/ 0 w 7"/>
                <a:gd name="T3" fmla="*/ 0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w 20"/>
                <a:gd name="T7" fmla="*/ 0 h 18"/>
                <a:gd name="T8" fmla="*/ 0 w 20"/>
                <a:gd name="T9" fmla="*/ 0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03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0 h 18"/>
                <a:gd name="T2" fmla="*/ 0 w 7"/>
                <a:gd name="T3" fmla="*/ 0 h 18"/>
                <a:gd name="T4" fmla="*/ 0 w 7"/>
                <a:gd name="T5" fmla="*/ 0 h 18"/>
                <a:gd name="T6" fmla="*/ 0 w 7"/>
                <a:gd name="T7" fmla="*/ 0 h 18"/>
                <a:gd name="T8" fmla="*/ 0 w 7"/>
                <a:gd name="T9" fmla="*/ 0 h 18"/>
                <a:gd name="T10" fmla="*/ 0 w 7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04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w 13"/>
                <a:gd name="T7" fmla="*/ 0 h 18"/>
                <a:gd name="T8" fmla="*/ 0 w 13"/>
                <a:gd name="T9" fmla="*/ 0 h 18"/>
                <a:gd name="T10" fmla="*/ 0 w 13"/>
                <a:gd name="T11" fmla="*/ 0 h 18"/>
                <a:gd name="T12" fmla="*/ 0 w 13"/>
                <a:gd name="T13" fmla="*/ 0 h 18"/>
                <a:gd name="T14" fmla="*/ 0 w 13"/>
                <a:gd name="T15" fmla="*/ 0 h 18"/>
                <a:gd name="T16" fmla="*/ 0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318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297363" y="4166989"/>
            <a:ext cx="319087" cy="379413"/>
          </a:xfrm>
          <a:custGeom>
            <a:avLst/>
            <a:gdLst>
              <a:gd name="T0" fmla="*/ 2147483647 w 736"/>
              <a:gd name="T1" fmla="*/ 2147483647 h 721"/>
              <a:gd name="T2" fmla="*/ 2147483647 w 736"/>
              <a:gd name="T3" fmla="*/ 2147483647 h 721"/>
              <a:gd name="T4" fmla="*/ 2147483647 w 736"/>
              <a:gd name="T5" fmla="*/ 2147483647 h 721"/>
              <a:gd name="T6" fmla="*/ 2147483647 w 736"/>
              <a:gd name="T7" fmla="*/ 2147483647 h 721"/>
              <a:gd name="T8" fmla="*/ 2147483647 w 736"/>
              <a:gd name="T9" fmla="*/ 2147483647 h 721"/>
              <a:gd name="T10" fmla="*/ 2147483647 w 736"/>
              <a:gd name="T11" fmla="*/ 2147483647 h 721"/>
              <a:gd name="T12" fmla="*/ 2147483647 w 736"/>
              <a:gd name="T13" fmla="*/ 2147483647 h 721"/>
              <a:gd name="T14" fmla="*/ 2147483647 w 736"/>
              <a:gd name="T15" fmla="*/ 2147483647 h 721"/>
              <a:gd name="T16" fmla="*/ 2147483647 w 736"/>
              <a:gd name="T17" fmla="*/ 2147483647 h 721"/>
              <a:gd name="T18" fmla="*/ 2147483647 w 736"/>
              <a:gd name="T19" fmla="*/ 2147483647 h 721"/>
              <a:gd name="T20" fmla="*/ 2147483647 w 736"/>
              <a:gd name="T21" fmla="*/ 2147483647 h 721"/>
              <a:gd name="T22" fmla="*/ 2147483647 w 736"/>
              <a:gd name="T23" fmla="*/ 2147483647 h 721"/>
              <a:gd name="T24" fmla="*/ 2147483647 w 736"/>
              <a:gd name="T25" fmla="*/ 2147483647 h 721"/>
              <a:gd name="T26" fmla="*/ 2147483647 w 736"/>
              <a:gd name="T27" fmla="*/ 2147483647 h 721"/>
              <a:gd name="T28" fmla="*/ 2147483647 w 736"/>
              <a:gd name="T29" fmla="*/ 2147483647 h 721"/>
              <a:gd name="T30" fmla="*/ 2147483647 w 736"/>
              <a:gd name="T31" fmla="*/ 2147483647 h 721"/>
              <a:gd name="T32" fmla="*/ 2147483647 w 736"/>
              <a:gd name="T33" fmla="*/ 2147483647 h 721"/>
              <a:gd name="T34" fmla="*/ 2147483647 w 736"/>
              <a:gd name="T35" fmla="*/ 2147483647 h 721"/>
              <a:gd name="T36" fmla="*/ 2147483647 w 736"/>
              <a:gd name="T37" fmla="*/ 2147483647 h 721"/>
              <a:gd name="T38" fmla="*/ 2147483647 w 736"/>
              <a:gd name="T39" fmla="*/ 2147483647 h 721"/>
              <a:gd name="T40" fmla="*/ 2147483647 w 736"/>
              <a:gd name="T41" fmla="*/ 2147483647 h 721"/>
              <a:gd name="T42" fmla="*/ 2147483647 w 736"/>
              <a:gd name="T43" fmla="*/ 2147483647 h 721"/>
              <a:gd name="T44" fmla="*/ 2147483647 w 736"/>
              <a:gd name="T45" fmla="*/ 2147483647 h 721"/>
              <a:gd name="T46" fmla="*/ 2147483647 w 736"/>
              <a:gd name="T47" fmla="*/ 2147483647 h 721"/>
              <a:gd name="T48" fmla="*/ 2147483647 w 736"/>
              <a:gd name="T49" fmla="*/ 2147483647 h 721"/>
              <a:gd name="T50" fmla="*/ 2147483647 w 736"/>
              <a:gd name="T51" fmla="*/ 2147483647 h 721"/>
              <a:gd name="T52" fmla="*/ 2147483647 w 736"/>
              <a:gd name="T53" fmla="*/ 2147483647 h 721"/>
              <a:gd name="T54" fmla="*/ 2147483647 w 736"/>
              <a:gd name="T55" fmla="*/ 2147483647 h 721"/>
              <a:gd name="T56" fmla="*/ 2147483647 w 736"/>
              <a:gd name="T57" fmla="*/ 2147483647 h 721"/>
              <a:gd name="T58" fmla="*/ 2147483647 w 736"/>
              <a:gd name="T59" fmla="*/ 2147483647 h 721"/>
              <a:gd name="T60" fmla="*/ 2147483647 w 736"/>
              <a:gd name="T61" fmla="*/ 2147483647 h 721"/>
              <a:gd name="T62" fmla="*/ 2147483647 w 736"/>
              <a:gd name="T63" fmla="*/ 2147483647 h 721"/>
              <a:gd name="T64" fmla="*/ 2147483647 w 736"/>
              <a:gd name="T65" fmla="*/ 2147483647 h 721"/>
              <a:gd name="T66" fmla="*/ 2147483647 w 736"/>
              <a:gd name="T67" fmla="*/ 0 h 721"/>
              <a:gd name="T68" fmla="*/ 2147483647 w 736"/>
              <a:gd name="T69" fmla="*/ 2147483647 h 721"/>
              <a:gd name="T70" fmla="*/ 2147483647 w 736"/>
              <a:gd name="T71" fmla="*/ 2147483647 h 721"/>
              <a:gd name="T72" fmla="*/ 2147483647 w 736"/>
              <a:gd name="T73" fmla="*/ 2147483647 h 721"/>
              <a:gd name="T74" fmla="*/ 2147483647 w 736"/>
              <a:gd name="T75" fmla="*/ 2147483647 h 721"/>
              <a:gd name="T76" fmla="*/ 2147483647 w 736"/>
              <a:gd name="T77" fmla="*/ 2147483647 h 721"/>
              <a:gd name="T78" fmla="*/ 2147483647 w 736"/>
              <a:gd name="T79" fmla="*/ 2147483647 h 721"/>
              <a:gd name="T80" fmla="*/ 2147483647 w 736"/>
              <a:gd name="T81" fmla="*/ 2147483647 h 721"/>
              <a:gd name="T82" fmla="*/ 2147483647 w 736"/>
              <a:gd name="T83" fmla="*/ 2147483647 h 721"/>
              <a:gd name="T84" fmla="*/ 2147483647 w 736"/>
              <a:gd name="T85" fmla="*/ 2147483647 h 721"/>
              <a:gd name="T86" fmla="*/ 2147483647 w 736"/>
              <a:gd name="T87" fmla="*/ 2147483647 h 721"/>
              <a:gd name="T88" fmla="*/ 2147483647 w 736"/>
              <a:gd name="T89" fmla="*/ 2147483647 h 721"/>
              <a:gd name="T90" fmla="*/ 2147483647 w 736"/>
              <a:gd name="T91" fmla="*/ 2147483647 h 721"/>
              <a:gd name="T92" fmla="*/ 2147483647 w 736"/>
              <a:gd name="T93" fmla="*/ 2147483647 h 721"/>
              <a:gd name="T94" fmla="*/ 2147483647 w 736"/>
              <a:gd name="T95" fmla="*/ 2147483647 h 721"/>
              <a:gd name="T96" fmla="*/ 2147483647 w 736"/>
              <a:gd name="T97" fmla="*/ 21474836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19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308475" y="4140002"/>
            <a:ext cx="15875" cy="60325"/>
          </a:xfrm>
          <a:custGeom>
            <a:avLst/>
            <a:gdLst>
              <a:gd name="T0" fmla="*/ 0 w 39"/>
              <a:gd name="T1" fmla="*/ 2147483647 h 31"/>
              <a:gd name="T2" fmla="*/ 2147483647 w 39"/>
              <a:gd name="T3" fmla="*/ 2147483647 h 31"/>
              <a:gd name="T4" fmla="*/ 2147483647 w 39"/>
              <a:gd name="T5" fmla="*/ 2147483647 h 31"/>
              <a:gd name="T6" fmla="*/ 2147483647 w 39"/>
              <a:gd name="T7" fmla="*/ 2147483647 h 31"/>
              <a:gd name="T8" fmla="*/ 2147483647 w 39"/>
              <a:gd name="T9" fmla="*/ 2147483647 h 31"/>
              <a:gd name="T10" fmla="*/ 2147483647 w 39"/>
              <a:gd name="T11" fmla="*/ 2147483647 h 31"/>
              <a:gd name="T12" fmla="*/ 2147483647 w 39"/>
              <a:gd name="T13" fmla="*/ 2147483647 h 31"/>
              <a:gd name="T14" fmla="*/ 2147483647 w 39"/>
              <a:gd name="T15" fmla="*/ 0 h 31"/>
              <a:gd name="T16" fmla="*/ 2147483647 w 39"/>
              <a:gd name="T17" fmla="*/ 0 h 31"/>
              <a:gd name="T18" fmla="*/ 2147483647 w 39"/>
              <a:gd name="T19" fmla="*/ 0 h 31"/>
              <a:gd name="T20" fmla="*/ 2147483647 w 39"/>
              <a:gd name="T21" fmla="*/ 0 h 31"/>
              <a:gd name="T22" fmla="*/ 0 w 39"/>
              <a:gd name="T23" fmla="*/ 0 h 31"/>
              <a:gd name="T24" fmla="*/ 0 w 39"/>
              <a:gd name="T25" fmla="*/ 2147483647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20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410075" y="4682927"/>
            <a:ext cx="396875" cy="398462"/>
          </a:xfrm>
          <a:custGeom>
            <a:avLst/>
            <a:gdLst>
              <a:gd name="T0" fmla="*/ 2147483647 w 903"/>
              <a:gd name="T1" fmla="*/ 2147483647 h 759"/>
              <a:gd name="T2" fmla="*/ 2147483647 w 903"/>
              <a:gd name="T3" fmla="*/ 2147483647 h 759"/>
              <a:gd name="T4" fmla="*/ 2147483647 w 903"/>
              <a:gd name="T5" fmla="*/ 2147483647 h 759"/>
              <a:gd name="T6" fmla="*/ 2147483647 w 903"/>
              <a:gd name="T7" fmla="*/ 2147483647 h 759"/>
              <a:gd name="T8" fmla="*/ 2147483647 w 903"/>
              <a:gd name="T9" fmla="*/ 2147483647 h 759"/>
              <a:gd name="T10" fmla="*/ 2147483647 w 903"/>
              <a:gd name="T11" fmla="*/ 2147483647 h 759"/>
              <a:gd name="T12" fmla="*/ 2147483647 w 903"/>
              <a:gd name="T13" fmla="*/ 2147483647 h 759"/>
              <a:gd name="T14" fmla="*/ 2147483647 w 903"/>
              <a:gd name="T15" fmla="*/ 2147483647 h 759"/>
              <a:gd name="T16" fmla="*/ 2147483647 w 903"/>
              <a:gd name="T17" fmla="*/ 2147483647 h 759"/>
              <a:gd name="T18" fmla="*/ 2147483647 w 903"/>
              <a:gd name="T19" fmla="*/ 2147483647 h 759"/>
              <a:gd name="T20" fmla="*/ 2147483647 w 903"/>
              <a:gd name="T21" fmla="*/ 2147483647 h 759"/>
              <a:gd name="T22" fmla="*/ 2147483647 w 903"/>
              <a:gd name="T23" fmla="*/ 2147483647 h 759"/>
              <a:gd name="T24" fmla="*/ 2147483647 w 903"/>
              <a:gd name="T25" fmla="*/ 2147483647 h 759"/>
              <a:gd name="T26" fmla="*/ 2147483647 w 903"/>
              <a:gd name="T27" fmla="*/ 2147483647 h 759"/>
              <a:gd name="T28" fmla="*/ 2147483647 w 903"/>
              <a:gd name="T29" fmla="*/ 2147483647 h 759"/>
              <a:gd name="T30" fmla="*/ 2147483647 w 903"/>
              <a:gd name="T31" fmla="*/ 2147483647 h 759"/>
              <a:gd name="T32" fmla="*/ 2147483647 w 903"/>
              <a:gd name="T33" fmla="*/ 2147483647 h 759"/>
              <a:gd name="T34" fmla="*/ 2147483647 w 903"/>
              <a:gd name="T35" fmla="*/ 2147483647 h 759"/>
              <a:gd name="T36" fmla="*/ 2147483647 w 903"/>
              <a:gd name="T37" fmla="*/ 2147483647 h 759"/>
              <a:gd name="T38" fmla="*/ 2147483647 w 903"/>
              <a:gd name="T39" fmla="*/ 2147483647 h 759"/>
              <a:gd name="T40" fmla="*/ 2147483647 w 903"/>
              <a:gd name="T41" fmla="*/ 2147483647 h 759"/>
              <a:gd name="T42" fmla="*/ 2147483647 w 903"/>
              <a:gd name="T43" fmla="*/ 2147483647 h 759"/>
              <a:gd name="T44" fmla="*/ 2147483647 w 903"/>
              <a:gd name="T45" fmla="*/ 2147483647 h 759"/>
              <a:gd name="T46" fmla="*/ 2147483647 w 903"/>
              <a:gd name="T47" fmla="*/ 2147483647 h 759"/>
              <a:gd name="T48" fmla="*/ 2147483647 w 903"/>
              <a:gd name="T49" fmla="*/ 2147483647 h 759"/>
              <a:gd name="T50" fmla="*/ 2147483647 w 903"/>
              <a:gd name="T51" fmla="*/ 2147483647 h 759"/>
              <a:gd name="T52" fmla="*/ 2147483647 w 903"/>
              <a:gd name="T53" fmla="*/ 2147483647 h 759"/>
              <a:gd name="T54" fmla="*/ 0 w 903"/>
              <a:gd name="T55" fmla="*/ 2147483647 h 759"/>
              <a:gd name="T56" fmla="*/ 2147483647 w 903"/>
              <a:gd name="T57" fmla="*/ 2147483647 h 759"/>
              <a:gd name="T58" fmla="*/ 2147483647 w 903"/>
              <a:gd name="T59" fmla="*/ 2147483647 h 759"/>
              <a:gd name="T60" fmla="*/ 2147483647 w 903"/>
              <a:gd name="T61" fmla="*/ 2147483647 h 759"/>
              <a:gd name="T62" fmla="*/ 2147483647 w 903"/>
              <a:gd name="T63" fmla="*/ 2147483647 h 759"/>
              <a:gd name="T64" fmla="*/ 2147483647 w 903"/>
              <a:gd name="T65" fmla="*/ 2147483647 h 759"/>
              <a:gd name="T66" fmla="*/ 2147483647 w 903"/>
              <a:gd name="T67" fmla="*/ 2147483647 h 759"/>
              <a:gd name="T68" fmla="*/ 2147483647 w 903"/>
              <a:gd name="T69" fmla="*/ 2147483647 h 759"/>
              <a:gd name="T70" fmla="*/ 2147483647 w 903"/>
              <a:gd name="T71" fmla="*/ 2147483647 h 759"/>
              <a:gd name="T72" fmla="*/ 2147483647 w 903"/>
              <a:gd name="T73" fmla="*/ 2147483647 h 759"/>
              <a:gd name="T74" fmla="*/ 2147483647 w 903"/>
              <a:gd name="T75" fmla="*/ 2147483647 h 759"/>
              <a:gd name="T76" fmla="*/ 2147483647 w 903"/>
              <a:gd name="T77" fmla="*/ 2147483647 h 759"/>
              <a:gd name="T78" fmla="*/ 2147483647 w 903"/>
              <a:gd name="T79" fmla="*/ 2147483647 h 759"/>
              <a:gd name="T80" fmla="*/ 2147483647 w 903"/>
              <a:gd name="T81" fmla="*/ 2147483647 h 759"/>
              <a:gd name="T82" fmla="*/ 2147483647 w 903"/>
              <a:gd name="T83" fmla="*/ 2147483647 h 759"/>
              <a:gd name="T84" fmla="*/ 2147483647 w 903"/>
              <a:gd name="T85" fmla="*/ 2147483647 h 759"/>
              <a:gd name="T86" fmla="*/ 2147483647 w 903"/>
              <a:gd name="T87" fmla="*/ 2147483647 h 759"/>
              <a:gd name="T88" fmla="*/ 2147483647 w 903"/>
              <a:gd name="T89" fmla="*/ 2147483647 h 759"/>
              <a:gd name="T90" fmla="*/ 2147483647 w 903"/>
              <a:gd name="T91" fmla="*/ 2147483647 h 759"/>
              <a:gd name="T92" fmla="*/ 2147483647 w 903"/>
              <a:gd name="T93" fmla="*/ 2147483647 h 759"/>
              <a:gd name="T94" fmla="*/ 2147483647 w 903"/>
              <a:gd name="T95" fmla="*/ 2147483647 h 759"/>
              <a:gd name="T96" fmla="*/ 2147483647 w 903"/>
              <a:gd name="T97" fmla="*/ 2147483647 h 759"/>
              <a:gd name="T98" fmla="*/ 2147483647 w 903"/>
              <a:gd name="T99" fmla="*/ 2147483647 h 759"/>
              <a:gd name="T100" fmla="*/ 2147483647 w 903"/>
              <a:gd name="T101" fmla="*/ 2147483647 h 759"/>
              <a:gd name="T102" fmla="*/ 2147483647 w 903"/>
              <a:gd name="T103" fmla="*/ 2147483647 h 759"/>
              <a:gd name="T104" fmla="*/ 2147483647 w 903"/>
              <a:gd name="T105" fmla="*/ 2147483647 h 759"/>
              <a:gd name="T106" fmla="*/ 2147483647 w 903"/>
              <a:gd name="T107" fmla="*/ 2147483647 h 759"/>
              <a:gd name="T108" fmla="*/ 2147483647 w 903"/>
              <a:gd name="T109" fmla="*/ 2147483647 h 759"/>
              <a:gd name="T110" fmla="*/ 2147483647 w 903"/>
              <a:gd name="T111" fmla="*/ 2147483647 h 759"/>
              <a:gd name="T112" fmla="*/ 2147483647 w 903"/>
              <a:gd name="T113" fmla="*/ 2147483647 h 759"/>
              <a:gd name="T114" fmla="*/ 2147483647 w 903"/>
              <a:gd name="T115" fmla="*/ 2147483647 h 759"/>
              <a:gd name="T116" fmla="*/ 2147483647 w 903"/>
              <a:gd name="T117" fmla="*/ 2147483647 h 759"/>
              <a:gd name="T118" fmla="*/ 2147483647 w 903"/>
              <a:gd name="T119" fmla="*/ 2147483647 h 759"/>
              <a:gd name="T120" fmla="*/ 2147483647 w 903"/>
              <a:gd name="T121" fmla="*/ 2147483647 h 759"/>
              <a:gd name="T122" fmla="*/ 2147483647 w 903"/>
              <a:gd name="T123" fmla="*/ 2147483647 h 759"/>
              <a:gd name="T124" fmla="*/ 2147483647 w 903"/>
              <a:gd name="T125" fmla="*/ 2147483647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21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557713" y="3251002"/>
            <a:ext cx="411162" cy="611187"/>
          </a:xfrm>
          <a:custGeom>
            <a:avLst/>
            <a:gdLst>
              <a:gd name="T0" fmla="*/ 141060831 w 943"/>
              <a:gd name="T1" fmla="*/ 1359526 h 1172"/>
              <a:gd name="T2" fmla="*/ 145433188 w 943"/>
              <a:gd name="T3" fmla="*/ 6254758 h 1172"/>
              <a:gd name="T4" fmla="*/ 152657518 w 943"/>
              <a:gd name="T5" fmla="*/ 8158721 h 1172"/>
              <a:gd name="T6" fmla="*/ 154748645 w 943"/>
              <a:gd name="T7" fmla="*/ 14957394 h 1172"/>
              <a:gd name="T8" fmla="*/ 158740797 w 943"/>
              <a:gd name="T9" fmla="*/ 29642569 h 1172"/>
              <a:gd name="T10" fmla="*/ 159121002 w 943"/>
              <a:gd name="T11" fmla="*/ 50855243 h 1172"/>
              <a:gd name="T12" fmla="*/ 162923488 w 943"/>
              <a:gd name="T13" fmla="*/ 66084334 h 1172"/>
              <a:gd name="T14" fmla="*/ 175280584 w 943"/>
              <a:gd name="T15" fmla="*/ 79409983 h 1172"/>
              <a:gd name="T16" fmla="*/ 167105742 w 943"/>
              <a:gd name="T17" fmla="*/ 98174780 h 1172"/>
              <a:gd name="T18" fmla="*/ 161782873 w 943"/>
              <a:gd name="T19" fmla="*/ 111500430 h 1172"/>
              <a:gd name="T20" fmla="*/ 153798133 w 943"/>
              <a:gd name="T21" fmla="*/ 172690052 h 1172"/>
              <a:gd name="T22" fmla="*/ 146383700 w 943"/>
              <a:gd name="T23" fmla="*/ 184111740 h 1172"/>
              <a:gd name="T24" fmla="*/ 145052983 w 943"/>
              <a:gd name="T25" fmla="*/ 196077864 h 1172"/>
              <a:gd name="T26" fmla="*/ 141631139 w 943"/>
              <a:gd name="T27" fmla="*/ 199885267 h 1172"/>
              <a:gd name="T28" fmla="*/ 137448884 w 943"/>
              <a:gd name="T29" fmla="*/ 217018319 h 1172"/>
              <a:gd name="T30" fmla="*/ 131555271 w 943"/>
              <a:gd name="T31" fmla="*/ 238502168 h 1172"/>
              <a:gd name="T32" fmla="*/ 125852197 w 943"/>
              <a:gd name="T33" fmla="*/ 245573059 h 1172"/>
              <a:gd name="T34" fmla="*/ 126232402 w 943"/>
              <a:gd name="T35" fmla="*/ 254003477 h 1172"/>
              <a:gd name="T36" fmla="*/ 130414657 w 943"/>
              <a:gd name="T37" fmla="*/ 255363524 h 1172"/>
              <a:gd name="T38" fmla="*/ 134787449 w 943"/>
              <a:gd name="T39" fmla="*/ 258354794 h 1172"/>
              <a:gd name="T40" fmla="*/ 141060831 w 943"/>
              <a:gd name="T41" fmla="*/ 264065638 h 1172"/>
              <a:gd name="T42" fmla="*/ 143722266 w 943"/>
              <a:gd name="T43" fmla="*/ 273856103 h 1172"/>
              <a:gd name="T44" fmla="*/ 147334649 w 943"/>
              <a:gd name="T45" fmla="*/ 283646567 h 1172"/>
              <a:gd name="T46" fmla="*/ 152657518 w 943"/>
              <a:gd name="T47" fmla="*/ 286366141 h 1172"/>
              <a:gd name="T48" fmla="*/ 153798133 w 943"/>
              <a:gd name="T49" fmla="*/ 297516132 h 1172"/>
              <a:gd name="T50" fmla="*/ 136498372 w 943"/>
              <a:gd name="T51" fmla="*/ 303226976 h 1172"/>
              <a:gd name="T52" fmla="*/ 130604759 w 943"/>
              <a:gd name="T53" fmla="*/ 314649185 h 1172"/>
              <a:gd name="T54" fmla="*/ 113685203 w 943"/>
              <a:gd name="T55" fmla="*/ 318184369 h 1172"/>
              <a:gd name="T56" fmla="*/ 97906262 w 943"/>
              <a:gd name="T57" fmla="*/ 314920881 h 1172"/>
              <a:gd name="T58" fmla="*/ 88210600 w 943"/>
              <a:gd name="T59" fmla="*/ 305402634 h 1172"/>
              <a:gd name="T60" fmla="*/ 74142581 w 943"/>
              <a:gd name="T61" fmla="*/ 305946549 h 1172"/>
              <a:gd name="T62" fmla="*/ 60644869 w 943"/>
              <a:gd name="T63" fmla="*/ 304586502 h 1172"/>
              <a:gd name="T64" fmla="*/ 56462179 w 943"/>
              <a:gd name="T65" fmla="*/ 300235705 h 1172"/>
              <a:gd name="T66" fmla="*/ 55891871 w 943"/>
              <a:gd name="T67" fmla="*/ 292348681 h 1172"/>
              <a:gd name="T68" fmla="*/ 52089822 w 943"/>
              <a:gd name="T69" fmla="*/ 279839165 h 1172"/>
              <a:gd name="T70" fmla="*/ 41063442 w 943"/>
              <a:gd name="T71" fmla="*/ 264881771 h 1172"/>
              <a:gd name="T72" fmla="*/ 36691085 w 943"/>
              <a:gd name="T73" fmla="*/ 251556121 h 1172"/>
              <a:gd name="T74" fmla="*/ 28896448 w 943"/>
              <a:gd name="T75" fmla="*/ 245573059 h 1172"/>
              <a:gd name="T76" fmla="*/ 22813169 w 943"/>
              <a:gd name="T77" fmla="*/ 230071751 h 1172"/>
              <a:gd name="T78" fmla="*/ 18440376 w 943"/>
              <a:gd name="T79" fmla="*/ 214298746 h 1172"/>
              <a:gd name="T80" fmla="*/ 12357097 w 943"/>
              <a:gd name="T81" fmla="*/ 206140025 h 1172"/>
              <a:gd name="T82" fmla="*/ 6273382 w 943"/>
              <a:gd name="T83" fmla="*/ 183840043 h 1172"/>
              <a:gd name="T84" fmla="*/ 760410 w 943"/>
              <a:gd name="T85" fmla="*/ 166163076 h 1172"/>
              <a:gd name="T86" fmla="*/ 3421845 w 943"/>
              <a:gd name="T87" fmla="*/ 156916526 h 1172"/>
              <a:gd name="T88" fmla="*/ 5512972 w 943"/>
              <a:gd name="T89" fmla="*/ 141687435 h 1172"/>
              <a:gd name="T90" fmla="*/ 12166994 w 943"/>
              <a:gd name="T91" fmla="*/ 128905700 h 1172"/>
              <a:gd name="T92" fmla="*/ 21482451 w 943"/>
              <a:gd name="T93" fmla="*/ 60373490 h 1172"/>
              <a:gd name="T94" fmla="*/ 23383476 w 943"/>
              <a:gd name="T95" fmla="*/ 48679584 h 1172"/>
              <a:gd name="T96" fmla="*/ 29086550 w 943"/>
              <a:gd name="T97" fmla="*/ 46503926 h 1172"/>
              <a:gd name="T98" fmla="*/ 30417268 w 943"/>
              <a:gd name="T99" fmla="*/ 33178276 h 1172"/>
              <a:gd name="T100" fmla="*/ 30227165 w 943"/>
              <a:gd name="T101" fmla="*/ 18220882 h 1172"/>
              <a:gd name="T102" fmla="*/ 129083939 w 943"/>
              <a:gd name="T103" fmla="*/ 1876479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322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341688" y="3452614"/>
            <a:ext cx="80962" cy="82550"/>
            <a:chOff x="2352" y="2343"/>
            <a:chExt cx="65" cy="53"/>
          </a:xfrm>
        </p:grpSpPr>
        <p:sp>
          <p:nvSpPr>
            <p:cNvPr id="2488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0 w 51"/>
                <a:gd name="T1" fmla="*/ 0 h 33"/>
                <a:gd name="T2" fmla="*/ 0 w 51"/>
                <a:gd name="T3" fmla="*/ 0 h 33"/>
                <a:gd name="T4" fmla="*/ 0 w 51"/>
                <a:gd name="T5" fmla="*/ 0 h 33"/>
                <a:gd name="T6" fmla="*/ 0 w 51"/>
                <a:gd name="T7" fmla="*/ 0 h 33"/>
                <a:gd name="T8" fmla="*/ 0 w 51"/>
                <a:gd name="T9" fmla="*/ 0 h 33"/>
                <a:gd name="T10" fmla="*/ 1 w 51"/>
                <a:gd name="T11" fmla="*/ 0 h 33"/>
                <a:gd name="T12" fmla="*/ 1 w 51"/>
                <a:gd name="T13" fmla="*/ 0 h 33"/>
                <a:gd name="T14" fmla="*/ 0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89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1 w 61"/>
                <a:gd name="T1" fmla="*/ 0 h 20"/>
                <a:gd name="T2" fmla="*/ 1 w 61"/>
                <a:gd name="T3" fmla="*/ 0 h 20"/>
                <a:gd name="T4" fmla="*/ 0 w 61"/>
                <a:gd name="T5" fmla="*/ 0 h 20"/>
                <a:gd name="T6" fmla="*/ 0 w 61"/>
                <a:gd name="T7" fmla="*/ 0 h 20"/>
                <a:gd name="T8" fmla="*/ 0 w 61"/>
                <a:gd name="T9" fmla="*/ 0 h 20"/>
                <a:gd name="T10" fmla="*/ 0 w 61"/>
                <a:gd name="T11" fmla="*/ 0 h 20"/>
                <a:gd name="T12" fmla="*/ 1 w 61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90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0 w 15"/>
                <a:gd name="T1" fmla="*/ 0 h 36"/>
                <a:gd name="T2" fmla="*/ 0 w 15"/>
                <a:gd name="T3" fmla="*/ 0 h 36"/>
                <a:gd name="T4" fmla="*/ 0 w 15"/>
                <a:gd name="T5" fmla="*/ 0 h 36"/>
                <a:gd name="T6" fmla="*/ 0 w 15"/>
                <a:gd name="T7" fmla="*/ 0 h 36"/>
                <a:gd name="T8" fmla="*/ 0 w 15"/>
                <a:gd name="T9" fmla="*/ 0 h 36"/>
                <a:gd name="T10" fmla="*/ 0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91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0 w 37"/>
                <a:gd name="T1" fmla="*/ 0 h 33"/>
                <a:gd name="T2" fmla="*/ 0 w 37"/>
                <a:gd name="T3" fmla="*/ 0 h 33"/>
                <a:gd name="T4" fmla="*/ 0 w 37"/>
                <a:gd name="T5" fmla="*/ 0 h 33"/>
                <a:gd name="T6" fmla="*/ 0 w 37"/>
                <a:gd name="T7" fmla="*/ 0 h 33"/>
                <a:gd name="T8" fmla="*/ 0 w 37"/>
                <a:gd name="T9" fmla="*/ 0 h 33"/>
                <a:gd name="T10" fmla="*/ 0 w 37"/>
                <a:gd name="T11" fmla="*/ 0 h 33"/>
                <a:gd name="T12" fmla="*/ 0 w 37"/>
                <a:gd name="T13" fmla="*/ 0 h 33"/>
                <a:gd name="T14" fmla="*/ 0 w 37"/>
                <a:gd name="T15" fmla="*/ 0 h 33"/>
                <a:gd name="T16" fmla="*/ 0 w 37"/>
                <a:gd name="T17" fmla="*/ 0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92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0 w 49"/>
                <a:gd name="T1" fmla="*/ 0 h 54"/>
                <a:gd name="T2" fmla="*/ 0 w 49"/>
                <a:gd name="T3" fmla="*/ 0 h 54"/>
                <a:gd name="T4" fmla="*/ 0 w 49"/>
                <a:gd name="T5" fmla="*/ 1 h 54"/>
                <a:gd name="T6" fmla="*/ 0 w 49"/>
                <a:gd name="T7" fmla="*/ 1 h 54"/>
                <a:gd name="T8" fmla="*/ 1 w 49"/>
                <a:gd name="T9" fmla="*/ 1 h 54"/>
                <a:gd name="T10" fmla="*/ 1 w 49"/>
                <a:gd name="T11" fmla="*/ 0 h 54"/>
                <a:gd name="T12" fmla="*/ 0 w 49"/>
                <a:gd name="T13" fmla="*/ 0 h 54"/>
                <a:gd name="T14" fmla="*/ 0 w 49"/>
                <a:gd name="T15" fmla="*/ 0 h 54"/>
                <a:gd name="T16" fmla="*/ 0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93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0 w 26"/>
                <a:gd name="T1" fmla="*/ 0 h 22"/>
                <a:gd name="T2" fmla="*/ 0 w 26"/>
                <a:gd name="T3" fmla="*/ 0 h 22"/>
                <a:gd name="T4" fmla="*/ 0 w 26"/>
                <a:gd name="T5" fmla="*/ 0 h 22"/>
                <a:gd name="T6" fmla="*/ 0 w 26"/>
                <a:gd name="T7" fmla="*/ 0 h 22"/>
                <a:gd name="T8" fmla="*/ 0 w 26"/>
                <a:gd name="T9" fmla="*/ 0 h 22"/>
                <a:gd name="T10" fmla="*/ 0 w 26"/>
                <a:gd name="T11" fmla="*/ 0 h 22"/>
                <a:gd name="T12" fmla="*/ 0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323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187450" y="1512689"/>
            <a:ext cx="1897063" cy="1133475"/>
            <a:chOff x="527" y="1110"/>
            <a:chExt cx="1410" cy="709"/>
          </a:xfrm>
        </p:grpSpPr>
        <p:sp>
          <p:nvSpPr>
            <p:cNvPr id="2446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0 h 54"/>
                <a:gd name="T2" fmla="*/ 0 w 98"/>
                <a:gd name="T3" fmla="*/ 0 h 54"/>
                <a:gd name="T4" fmla="*/ 0 w 98"/>
                <a:gd name="T5" fmla="*/ 1 h 54"/>
                <a:gd name="T6" fmla="*/ 0 w 98"/>
                <a:gd name="T7" fmla="*/ 1 h 54"/>
                <a:gd name="T8" fmla="*/ 0 w 98"/>
                <a:gd name="T9" fmla="*/ 1 h 54"/>
                <a:gd name="T10" fmla="*/ 0 w 98"/>
                <a:gd name="T11" fmla="*/ 1 h 54"/>
                <a:gd name="T12" fmla="*/ 0 w 98"/>
                <a:gd name="T13" fmla="*/ 1 h 54"/>
                <a:gd name="T14" fmla="*/ 1 w 98"/>
                <a:gd name="T15" fmla="*/ 1 h 54"/>
                <a:gd name="T16" fmla="*/ 1 w 98"/>
                <a:gd name="T17" fmla="*/ 1 h 54"/>
                <a:gd name="T18" fmla="*/ 1 w 98"/>
                <a:gd name="T19" fmla="*/ 0 h 54"/>
                <a:gd name="T20" fmla="*/ 1 w 98"/>
                <a:gd name="T21" fmla="*/ 0 h 54"/>
                <a:gd name="T22" fmla="*/ 1 w 98"/>
                <a:gd name="T23" fmla="*/ 0 h 54"/>
                <a:gd name="T24" fmla="*/ 1 w 98"/>
                <a:gd name="T25" fmla="*/ 0 h 54"/>
                <a:gd name="T26" fmla="*/ 1 w 98"/>
                <a:gd name="T27" fmla="*/ 0 h 54"/>
                <a:gd name="T28" fmla="*/ 1 w 98"/>
                <a:gd name="T29" fmla="*/ 0 h 54"/>
                <a:gd name="T30" fmla="*/ 1 w 98"/>
                <a:gd name="T31" fmla="*/ 0 h 54"/>
                <a:gd name="T32" fmla="*/ 1 w 98"/>
                <a:gd name="T33" fmla="*/ 0 h 54"/>
                <a:gd name="T34" fmla="*/ 1 w 98"/>
                <a:gd name="T35" fmla="*/ 0 h 54"/>
                <a:gd name="T36" fmla="*/ 1 w 98"/>
                <a:gd name="T37" fmla="*/ 0 h 54"/>
                <a:gd name="T38" fmla="*/ 1 w 98"/>
                <a:gd name="T39" fmla="*/ 0 h 54"/>
                <a:gd name="T40" fmla="*/ 1 w 98"/>
                <a:gd name="T41" fmla="*/ 0 h 54"/>
                <a:gd name="T42" fmla="*/ 0 w 98"/>
                <a:gd name="T43" fmla="*/ 0 h 54"/>
                <a:gd name="T44" fmla="*/ 0 w 98"/>
                <a:gd name="T45" fmla="*/ 0 h 54"/>
                <a:gd name="T46" fmla="*/ 0 w 98"/>
                <a:gd name="T47" fmla="*/ 0 h 54"/>
                <a:gd name="T48" fmla="*/ 0 w 98"/>
                <a:gd name="T49" fmla="*/ 0 h 54"/>
                <a:gd name="T50" fmla="*/ 0 w 98"/>
                <a:gd name="T51" fmla="*/ 0 h 54"/>
                <a:gd name="T52" fmla="*/ 0 w 98"/>
                <a:gd name="T53" fmla="*/ 0 h 54"/>
                <a:gd name="T54" fmla="*/ 0 w 98"/>
                <a:gd name="T55" fmla="*/ 0 h 54"/>
                <a:gd name="T56" fmla="*/ 0 w 98"/>
                <a:gd name="T57" fmla="*/ 0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47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0 h 28"/>
                <a:gd name="T2" fmla="*/ 0 w 67"/>
                <a:gd name="T3" fmla="*/ 0 h 28"/>
                <a:gd name="T4" fmla="*/ 0 w 67"/>
                <a:gd name="T5" fmla="*/ 0 h 28"/>
                <a:gd name="T6" fmla="*/ 0 w 67"/>
                <a:gd name="T7" fmla="*/ 0 h 28"/>
                <a:gd name="T8" fmla="*/ 0 w 67"/>
                <a:gd name="T9" fmla="*/ 0 h 28"/>
                <a:gd name="T10" fmla="*/ 1 w 67"/>
                <a:gd name="T11" fmla="*/ 0 h 28"/>
                <a:gd name="T12" fmla="*/ 1 w 67"/>
                <a:gd name="T13" fmla="*/ 0 h 28"/>
                <a:gd name="T14" fmla="*/ 1 w 67"/>
                <a:gd name="T15" fmla="*/ 0 h 28"/>
                <a:gd name="T16" fmla="*/ 1 w 67"/>
                <a:gd name="T17" fmla="*/ 0 h 28"/>
                <a:gd name="T18" fmla="*/ 1 w 67"/>
                <a:gd name="T19" fmla="*/ 0 h 28"/>
                <a:gd name="T20" fmla="*/ 0 w 67"/>
                <a:gd name="T21" fmla="*/ 0 h 28"/>
                <a:gd name="T22" fmla="*/ 0 w 67"/>
                <a:gd name="T23" fmla="*/ 0 h 28"/>
                <a:gd name="T24" fmla="*/ 0 w 67"/>
                <a:gd name="T25" fmla="*/ 0 h 28"/>
                <a:gd name="T26" fmla="*/ 0 w 67"/>
                <a:gd name="T27" fmla="*/ 0 h 28"/>
                <a:gd name="T28" fmla="*/ 0 w 67"/>
                <a:gd name="T29" fmla="*/ 0 h 28"/>
                <a:gd name="T30" fmla="*/ 0 w 67"/>
                <a:gd name="T31" fmla="*/ 0 h 28"/>
                <a:gd name="T32" fmla="*/ 0 w 67"/>
                <a:gd name="T33" fmla="*/ 0 h 28"/>
                <a:gd name="T34" fmla="*/ 0 w 67"/>
                <a:gd name="T35" fmla="*/ 0 h 28"/>
                <a:gd name="T36" fmla="*/ 0 w 67"/>
                <a:gd name="T37" fmla="*/ 0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48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0 h 36"/>
                <a:gd name="T2" fmla="*/ 0 w 32"/>
                <a:gd name="T3" fmla="*/ 0 h 36"/>
                <a:gd name="T4" fmla="*/ 0 w 32"/>
                <a:gd name="T5" fmla="*/ 0 h 36"/>
                <a:gd name="T6" fmla="*/ 0 w 32"/>
                <a:gd name="T7" fmla="*/ 0 h 36"/>
                <a:gd name="T8" fmla="*/ 0 w 32"/>
                <a:gd name="T9" fmla="*/ 0 h 36"/>
                <a:gd name="T10" fmla="*/ 0 w 32"/>
                <a:gd name="T11" fmla="*/ 0 h 36"/>
                <a:gd name="T12" fmla="*/ 0 w 32"/>
                <a:gd name="T13" fmla="*/ 0 h 36"/>
                <a:gd name="T14" fmla="*/ 0 w 32"/>
                <a:gd name="T15" fmla="*/ 0 h 36"/>
                <a:gd name="T16" fmla="*/ 0 w 32"/>
                <a:gd name="T17" fmla="*/ 0 h 36"/>
                <a:gd name="T18" fmla="*/ 0 w 32"/>
                <a:gd name="T19" fmla="*/ 0 h 36"/>
                <a:gd name="T20" fmla="*/ 0 w 32"/>
                <a:gd name="T21" fmla="*/ 0 h 36"/>
                <a:gd name="T22" fmla="*/ 0 w 32"/>
                <a:gd name="T23" fmla="*/ 0 h 36"/>
                <a:gd name="T24" fmla="*/ 0 w 32"/>
                <a:gd name="T25" fmla="*/ 0 h 36"/>
                <a:gd name="T26" fmla="*/ 0 w 32"/>
                <a:gd name="T27" fmla="*/ 0 h 36"/>
                <a:gd name="T28" fmla="*/ 0 w 32"/>
                <a:gd name="T29" fmla="*/ 0 h 36"/>
                <a:gd name="T30" fmla="*/ 0 w 32"/>
                <a:gd name="T31" fmla="*/ 0 h 36"/>
                <a:gd name="T32" fmla="*/ 0 w 32"/>
                <a:gd name="T33" fmla="*/ 0 h 36"/>
                <a:gd name="T34" fmla="*/ 0 w 32"/>
                <a:gd name="T35" fmla="*/ 0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49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1 h 52"/>
                <a:gd name="T2" fmla="*/ 0 w 146"/>
                <a:gd name="T3" fmla="*/ 1 h 52"/>
                <a:gd name="T4" fmla="*/ 0 w 146"/>
                <a:gd name="T5" fmla="*/ 1 h 52"/>
                <a:gd name="T6" fmla="*/ 0 w 146"/>
                <a:gd name="T7" fmla="*/ 1 h 52"/>
                <a:gd name="T8" fmla="*/ 0 w 146"/>
                <a:gd name="T9" fmla="*/ 1 h 52"/>
                <a:gd name="T10" fmla="*/ 1 w 146"/>
                <a:gd name="T11" fmla="*/ 1 h 52"/>
                <a:gd name="T12" fmla="*/ 1 w 146"/>
                <a:gd name="T13" fmla="*/ 1 h 52"/>
                <a:gd name="T14" fmla="*/ 1 w 146"/>
                <a:gd name="T15" fmla="*/ 1 h 52"/>
                <a:gd name="T16" fmla="*/ 1 w 146"/>
                <a:gd name="T17" fmla="*/ 1 h 52"/>
                <a:gd name="T18" fmla="*/ 1 w 146"/>
                <a:gd name="T19" fmla="*/ 0 h 52"/>
                <a:gd name="T20" fmla="*/ 1 w 146"/>
                <a:gd name="T21" fmla="*/ 0 h 52"/>
                <a:gd name="T22" fmla="*/ 1 w 146"/>
                <a:gd name="T23" fmla="*/ 0 h 52"/>
                <a:gd name="T24" fmla="*/ 1 w 146"/>
                <a:gd name="T25" fmla="*/ 0 h 52"/>
                <a:gd name="T26" fmla="*/ 1 w 146"/>
                <a:gd name="T27" fmla="*/ 0 h 52"/>
                <a:gd name="T28" fmla="*/ 1 w 146"/>
                <a:gd name="T29" fmla="*/ 0 h 52"/>
                <a:gd name="T30" fmla="*/ 1 w 146"/>
                <a:gd name="T31" fmla="*/ 0 h 52"/>
                <a:gd name="T32" fmla="*/ 1 w 146"/>
                <a:gd name="T33" fmla="*/ 0 h 52"/>
                <a:gd name="T34" fmla="*/ 1 w 146"/>
                <a:gd name="T35" fmla="*/ 0 h 52"/>
                <a:gd name="T36" fmla="*/ 1 w 146"/>
                <a:gd name="T37" fmla="*/ 0 h 52"/>
                <a:gd name="T38" fmla="*/ 1 w 146"/>
                <a:gd name="T39" fmla="*/ 0 h 52"/>
                <a:gd name="T40" fmla="*/ 1 w 146"/>
                <a:gd name="T41" fmla="*/ 0 h 52"/>
                <a:gd name="T42" fmla="*/ 1 w 146"/>
                <a:gd name="T43" fmla="*/ 0 h 52"/>
                <a:gd name="T44" fmla="*/ 1 w 146"/>
                <a:gd name="T45" fmla="*/ 0 h 52"/>
                <a:gd name="T46" fmla="*/ 0 w 146"/>
                <a:gd name="T47" fmla="*/ 0 h 52"/>
                <a:gd name="T48" fmla="*/ 0 w 146"/>
                <a:gd name="T49" fmla="*/ 0 h 52"/>
                <a:gd name="T50" fmla="*/ 0 w 146"/>
                <a:gd name="T51" fmla="*/ 0 h 52"/>
                <a:gd name="T52" fmla="*/ 0 w 146"/>
                <a:gd name="T53" fmla="*/ 0 h 52"/>
                <a:gd name="T54" fmla="*/ 0 w 146"/>
                <a:gd name="T55" fmla="*/ 0 h 52"/>
                <a:gd name="T56" fmla="*/ 0 w 146"/>
                <a:gd name="T57" fmla="*/ 1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50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1 w 60"/>
                <a:gd name="T1" fmla="*/ 0 h 31"/>
                <a:gd name="T2" fmla="*/ 1 w 60"/>
                <a:gd name="T3" fmla="*/ 0 h 31"/>
                <a:gd name="T4" fmla="*/ 0 w 60"/>
                <a:gd name="T5" fmla="*/ 0 h 31"/>
                <a:gd name="T6" fmla="*/ 0 w 60"/>
                <a:gd name="T7" fmla="*/ 0 h 31"/>
                <a:gd name="T8" fmla="*/ 0 w 60"/>
                <a:gd name="T9" fmla="*/ 0 h 31"/>
                <a:gd name="T10" fmla="*/ 0 w 60"/>
                <a:gd name="T11" fmla="*/ 0 h 31"/>
                <a:gd name="T12" fmla="*/ 0 w 60"/>
                <a:gd name="T13" fmla="*/ 0 h 31"/>
                <a:gd name="T14" fmla="*/ 0 w 60"/>
                <a:gd name="T15" fmla="*/ 0 h 31"/>
                <a:gd name="T16" fmla="*/ 0 w 60"/>
                <a:gd name="T17" fmla="*/ 0 h 31"/>
                <a:gd name="T18" fmla="*/ 0 w 60"/>
                <a:gd name="T19" fmla="*/ 0 h 31"/>
                <a:gd name="T20" fmla="*/ 0 w 60"/>
                <a:gd name="T21" fmla="*/ 0 h 31"/>
                <a:gd name="T22" fmla="*/ 0 w 60"/>
                <a:gd name="T23" fmla="*/ 0 h 31"/>
                <a:gd name="T24" fmla="*/ 0 w 60"/>
                <a:gd name="T25" fmla="*/ 0 h 31"/>
                <a:gd name="T26" fmla="*/ 0 w 60"/>
                <a:gd name="T27" fmla="*/ 0 h 31"/>
                <a:gd name="T28" fmla="*/ 0 w 60"/>
                <a:gd name="T29" fmla="*/ 0 h 31"/>
                <a:gd name="T30" fmla="*/ 0 w 60"/>
                <a:gd name="T31" fmla="*/ 0 h 31"/>
                <a:gd name="T32" fmla="*/ 0 w 60"/>
                <a:gd name="T33" fmla="*/ 0 h 31"/>
                <a:gd name="T34" fmla="*/ 0 w 60"/>
                <a:gd name="T35" fmla="*/ 0 h 31"/>
                <a:gd name="T36" fmla="*/ 0 w 60"/>
                <a:gd name="T37" fmla="*/ 0 h 31"/>
                <a:gd name="T38" fmla="*/ 0 w 60"/>
                <a:gd name="T39" fmla="*/ 0 h 31"/>
                <a:gd name="T40" fmla="*/ 0 w 60"/>
                <a:gd name="T41" fmla="*/ 0 h 31"/>
                <a:gd name="T42" fmla="*/ 1 w 60"/>
                <a:gd name="T43" fmla="*/ 0 h 31"/>
                <a:gd name="T44" fmla="*/ 1 w 60"/>
                <a:gd name="T45" fmla="*/ 0 h 31"/>
                <a:gd name="T46" fmla="*/ 1 w 60"/>
                <a:gd name="T47" fmla="*/ 0 h 31"/>
                <a:gd name="T48" fmla="*/ 1 w 60"/>
                <a:gd name="T49" fmla="*/ 0 h 31"/>
                <a:gd name="T50" fmla="*/ 1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51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1 h 62"/>
                <a:gd name="T2" fmla="*/ 0 w 80"/>
                <a:gd name="T3" fmla="*/ 1 h 62"/>
                <a:gd name="T4" fmla="*/ 0 w 80"/>
                <a:gd name="T5" fmla="*/ 1 h 62"/>
                <a:gd name="T6" fmla="*/ 0 w 80"/>
                <a:gd name="T7" fmla="*/ 1 h 62"/>
                <a:gd name="T8" fmla="*/ 0 w 80"/>
                <a:gd name="T9" fmla="*/ 1 h 62"/>
                <a:gd name="T10" fmla="*/ 0 w 80"/>
                <a:gd name="T11" fmla="*/ 1 h 62"/>
                <a:gd name="T12" fmla="*/ 0 w 80"/>
                <a:gd name="T13" fmla="*/ 1 h 62"/>
                <a:gd name="T14" fmla="*/ 0 w 80"/>
                <a:gd name="T15" fmla="*/ 1 h 62"/>
                <a:gd name="T16" fmla="*/ 0 w 80"/>
                <a:gd name="T17" fmla="*/ 1 h 62"/>
                <a:gd name="T18" fmla="*/ 1 w 80"/>
                <a:gd name="T19" fmla="*/ 1 h 62"/>
                <a:gd name="T20" fmla="*/ 1 w 80"/>
                <a:gd name="T21" fmla="*/ 1 h 62"/>
                <a:gd name="T22" fmla="*/ 1 w 80"/>
                <a:gd name="T23" fmla="*/ 1 h 62"/>
                <a:gd name="T24" fmla="*/ 1 w 80"/>
                <a:gd name="T25" fmla="*/ 1 h 62"/>
                <a:gd name="T26" fmla="*/ 1 w 80"/>
                <a:gd name="T27" fmla="*/ 1 h 62"/>
                <a:gd name="T28" fmla="*/ 1 w 80"/>
                <a:gd name="T29" fmla="*/ 0 h 62"/>
                <a:gd name="T30" fmla="*/ 1 w 80"/>
                <a:gd name="T31" fmla="*/ 0 h 62"/>
                <a:gd name="T32" fmla="*/ 1 w 80"/>
                <a:gd name="T33" fmla="*/ 0 h 62"/>
                <a:gd name="T34" fmla="*/ 1 w 80"/>
                <a:gd name="T35" fmla="*/ 0 h 62"/>
                <a:gd name="T36" fmla="*/ 1 w 80"/>
                <a:gd name="T37" fmla="*/ 0 h 62"/>
                <a:gd name="T38" fmla="*/ 1 w 80"/>
                <a:gd name="T39" fmla="*/ 0 h 62"/>
                <a:gd name="T40" fmla="*/ 1 w 80"/>
                <a:gd name="T41" fmla="*/ 0 h 62"/>
                <a:gd name="T42" fmla="*/ 1 w 80"/>
                <a:gd name="T43" fmla="*/ 0 h 62"/>
                <a:gd name="T44" fmla="*/ 0 w 80"/>
                <a:gd name="T45" fmla="*/ 0 h 62"/>
                <a:gd name="T46" fmla="*/ 0 w 80"/>
                <a:gd name="T47" fmla="*/ 0 h 62"/>
                <a:gd name="T48" fmla="*/ 0 w 80"/>
                <a:gd name="T49" fmla="*/ 0 h 62"/>
                <a:gd name="T50" fmla="*/ 0 w 80"/>
                <a:gd name="T51" fmla="*/ 0 h 62"/>
                <a:gd name="T52" fmla="*/ 0 w 80"/>
                <a:gd name="T53" fmla="*/ 0 h 62"/>
                <a:gd name="T54" fmla="*/ 0 w 80"/>
                <a:gd name="T55" fmla="*/ 0 h 62"/>
                <a:gd name="T56" fmla="*/ 0 w 80"/>
                <a:gd name="T57" fmla="*/ 1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52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1 w 106"/>
                <a:gd name="T1" fmla="*/ 0 h 49"/>
                <a:gd name="T2" fmla="*/ 1 w 106"/>
                <a:gd name="T3" fmla="*/ 0 h 49"/>
                <a:gd name="T4" fmla="*/ 1 w 106"/>
                <a:gd name="T5" fmla="*/ 0 h 49"/>
                <a:gd name="T6" fmla="*/ 1 w 106"/>
                <a:gd name="T7" fmla="*/ 0 h 49"/>
                <a:gd name="T8" fmla="*/ 1 w 106"/>
                <a:gd name="T9" fmla="*/ 0 h 49"/>
                <a:gd name="T10" fmla="*/ 1 w 106"/>
                <a:gd name="T11" fmla="*/ 0 h 49"/>
                <a:gd name="T12" fmla="*/ 0 w 106"/>
                <a:gd name="T13" fmla="*/ 0 h 49"/>
                <a:gd name="T14" fmla="*/ 0 w 106"/>
                <a:gd name="T15" fmla="*/ 0 h 49"/>
                <a:gd name="T16" fmla="*/ 0 w 106"/>
                <a:gd name="T17" fmla="*/ 0 h 49"/>
                <a:gd name="T18" fmla="*/ 0 w 106"/>
                <a:gd name="T19" fmla="*/ 0 h 49"/>
                <a:gd name="T20" fmla="*/ 0 w 106"/>
                <a:gd name="T21" fmla="*/ 0 h 49"/>
                <a:gd name="T22" fmla="*/ 0 w 106"/>
                <a:gd name="T23" fmla="*/ 0 h 49"/>
                <a:gd name="T24" fmla="*/ 0 w 106"/>
                <a:gd name="T25" fmla="*/ 0 h 49"/>
                <a:gd name="T26" fmla="*/ 0 w 106"/>
                <a:gd name="T27" fmla="*/ 0 h 49"/>
                <a:gd name="T28" fmla="*/ 0 w 106"/>
                <a:gd name="T29" fmla="*/ 0 h 49"/>
                <a:gd name="T30" fmla="*/ 0 w 106"/>
                <a:gd name="T31" fmla="*/ 1 h 49"/>
                <a:gd name="T32" fmla="*/ 1 w 106"/>
                <a:gd name="T33" fmla="*/ 1 h 49"/>
                <a:gd name="T34" fmla="*/ 1 w 106"/>
                <a:gd name="T35" fmla="*/ 1 h 49"/>
                <a:gd name="T36" fmla="*/ 1 w 106"/>
                <a:gd name="T37" fmla="*/ 1 h 49"/>
                <a:gd name="T38" fmla="*/ 1 w 106"/>
                <a:gd name="T39" fmla="*/ 1 h 49"/>
                <a:gd name="T40" fmla="*/ 1 w 106"/>
                <a:gd name="T41" fmla="*/ 1 h 49"/>
                <a:gd name="T42" fmla="*/ 1 w 106"/>
                <a:gd name="T43" fmla="*/ 0 h 49"/>
                <a:gd name="T44" fmla="*/ 1 w 106"/>
                <a:gd name="T45" fmla="*/ 0 h 49"/>
                <a:gd name="T46" fmla="*/ 1 w 106"/>
                <a:gd name="T47" fmla="*/ 0 h 49"/>
                <a:gd name="T48" fmla="*/ 1 w 106"/>
                <a:gd name="T49" fmla="*/ 0 h 49"/>
                <a:gd name="T50" fmla="*/ 1 w 106"/>
                <a:gd name="T51" fmla="*/ 0 h 49"/>
                <a:gd name="T52" fmla="*/ 1 w 106"/>
                <a:gd name="T53" fmla="*/ 0 h 49"/>
                <a:gd name="T54" fmla="*/ 1 w 106"/>
                <a:gd name="T55" fmla="*/ 0 h 49"/>
                <a:gd name="T56" fmla="*/ 1 w 106"/>
                <a:gd name="T57" fmla="*/ 0 h 49"/>
                <a:gd name="T58" fmla="*/ 1 w 106"/>
                <a:gd name="T59" fmla="*/ 0 h 49"/>
                <a:gd name="T60" fmla="*/ 1 w 106"/>
                <a:gd name="T61" fmla="*/ 0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53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0 h 22"/>
                <a:gd name="T2" fmla="*/ 0 w 47"/>
                <a:gd name="T3" fmla="*/ 0 h 22"/>
                <a:gd name="T4" fmla="*/ 0 w 47"/>
                <a:gd name="T5" fmla="*/ 0 h 22"/>
                <a:gd name="T6" fmla="*/ 0 w 47"/>
                <a:gd name="T7" fmla="*/ 0 h 22"/>
                <a:gd name="T8" fmla="*/ 0 w 47"/>
                <a:gd name="T9" fmla="*/ 0 h 22"/>
                <a:gd name="T10" fmla="*/ 0 w 47"/>
                <a:gd name="T11" fmla="*/ 0 h 22"/>
                <a:gd name="T12" fmla="*/ 0 w 47"/>
                <a:gd name="T13" fmla="*/ 0 h 22"/>
                <a:gd name="T14" fmla="*/ 0 w 47"/>
                <a:gd name="T15" fmla="*/ 0 h 22"/>
                <a:gd name="T16" fmla="*/ 0 w 47"/>
                <a:gd name="T17" fmla="*/ 0 h 22"/>
                <a:gd name="T18" fmla="*/ 0 w 47"/>
                <a:gd name="T19" fmla="*/ 0 h 22"/>
                <a:gd name="T20" fmla="*/ 1 w 47"/>
                <a:gd name="T21" fmla="*/ 0 h 22"/>
                <a:gd name="T22" fmla="*/ 0 w 47"/>
                <a:gd name="T23" fmla="*/ 0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54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1 w 53"/>
                <a:gd name="T1" fmla="*/ 0 h 32"/>
                <a:gd name="T2" fmla="*/ 0 w 53"/>
                <a:gd name="T3" fmla="*/ 0 h 32"/>
                <a:gd name="T4" fmla="*/ 0 w 53"/>
                <a:gd name="T5" fmla="*/ 0 h 32"/>
                <a:gd name="T6" fmla="*/ 0 w 53"/>
                <a:gd name="T7" fmla="*/ 0 h 32"/>
                <a:gd name="T8" fmla="*/ 0 w 53"/>
                <a:gd name="T9" fmla="*/ 0 h 32"/>
                <a:gd name="T10" fmla="*/ 0 w 53"/>
                <a:gd name="T11" fmla="*/ 0 h 32"/>
                <a:gd name="T12" fmla="*/ 0 w 53"/>
                <a:gd name="T13" fmla="*/ 0 h 32"/>
                <a:gd name="T14" fmla="*/ 0 w 53"/>
                <a:gd name="T15" fmla="*/ 0 h 32"/>
                <a:gd name="T16" fmla="*/ 1 w 53"/>
                <a:gd name="T17" fmla="*/ 0 h 32"/>
                <a:gd name="T18" fmla="*/ 1 w 53"/>
                <a:gd name="T19" fmla="*/ 0 h 32"/>
                <a:gd name="T20" fmla="*/ 1 w 53"/>
                <a:gd name="T21" fmla="*/ 0 h 32"/>
                <a:gd name="T22" fmla="*/ 1 w 53"/>
                <a:gd name="T23" fmla="*/ 0 h 32"/>
                <a:gd name="T24" fmla="*/ 1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55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0 w 46"/>
                <a:gd name="T1" fmla="*/ 0 h 34"/>
                <a:gd name="T2" fmla="*/ 0 w 46"/>
                <a:gd name="T3" fmla="*/ 0 h 34"/>
                <a:gd name="T4" fmla="*/ 0 w 46"/>
                <a:gd name="T5" fmla="*/ 0 h 34"/>
                <a:gd name="T6" fmla="*/ 0 w 46"/>
                <a:gd name="T7" fmla="*/ 0 h 34"/>
                <a:gd name="T8" fmla="*/ 0 w 46"/>
                <a:gd name="T9" fmla="*/ 0 h 34"/>
                <a:gd name="T10" fmla="*/ 0 w 46"/>
                <a:gd name="T11" fmla="*/ 0 h 34"/>
                <a:gd name="T12" fmla="*/ 0 w 46"/>
                <a:gd name="T13" fmla="*/ 0 h 34"/>
                <a:gd name="T14" fmla="*/ 0 w 46"/>
                <a:gd name="T15" fmla="*/ 0 h 34"/>
                <a:gd name="T16" fmla="*/ 0 w 46"/>
                <a:gd name="T17" fmla="*/ 0 h 34"/>
                <a:gd name="T18" fmla="*/ 0 w 46"/>
                <a:gd name="T19" fmla="*/ 0 h 34"/>
                <a:gd name="T20" fmla="*/ 0 w 46"/>
                <a:gd name="T21" fmla="*/ 0 h 34"/>
                <a:gd name="T22" fmla="*/ 0 w 46"/>
                <a:gd name="T23" fmla="*/ 0 h 34"/>
                <a:gd name="T24" fmla="*/ 0 w 46"/>
                <a:gd name="T25" fmla="*/ 0 h 34"/>
                <a:gd name="T26" fmla="*/ 0 w 46"/>
                <a:gd name="T27" fmla="*/ 0 h 34"/>
                <a:gd name="T28" fmla="*/ 0 w 46"/>
                <a:gd name="T29" fmla="*/ 0 h 34"/>
                <a:gd name="T30" fmla="*/ 0 w 46"/>
                <a:gd name="T31" fmla="*/ 0 h 34"/>
                <a:gd name="T32" fmla="*/ 0 w 46"/>
                <a:gd name="T33" fmla="*/ 0 h 34"/>
                <a:gd name="T34" fmla="*/ 0 w 46"/>
                <a:gd name="T35" fmla="*/ 0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56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0 h 25"/>
                <a:gd name="T2" fmla="*/ 0 w 48"/>
                <a:gd name="T3" fmla="*/ 0 h 25"/>
                <a:gd name="T4" fmla="*/ 0 w 48"/>
                <a:gd name="T5" fmla="*/ 0 h 25"/>
                <a:gd name="T6" fmla="*/ 0 w 48"/>
                <a:gd name="T7" fmla="*/ 0 h 25"/>
                <a:gd name="T8" fmla="*/ 0 w 48"/>
                <a:gd name="T9" fmla="*/ 0 h 25"/>
                <a:gd name="T10" fmla="*/ 0 w 48"/>
                <a:gd name="T11" fmla="*/ 0 h 25"/>
                <a:gd name="T12" fmla="*/ 0 w 48"/>
                <a:gd name="T13" fmla="*/ 0 h 25"/>
                <a:gd name="T14" fmla="*/ 1 w 48"/>
                <a:gd name="T15" fmla="*/ 0 h 25"/>
                <a:gd name="T16" fmla="*/ 1 w 48"/>
                <a:gd name="T17" fmla="*/ 0 h 25"/>
                <a:gd name="T18" fmla="*/ 0 w 48"/>
                <a:gd name="T19" fmla="*/ 0 h 25"/>
                <a:gd name="T20" fmla="*/ 0 w 48"/>
                <a:gd name="T21" fmla="*/ 0 h 25"/>
                <a:gd name="T22" fmla="*/ 0 w 48"/>
                <a:gd name="T23" fmla="*/ 0 h 25"/>
                <a:gd name="T24" fmla="*/ 0 w 48"/>
                <a:gd name="T25" fmla="*/ 0 h 25"/>
                <a:gd name="T26" fmla="*/ 0 w 48"/>
                <a:gd name="T27" fmla="*/ 0 h 25"/>
                <a:gd name="T28" fmla="*/ 0 w 48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57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0 h 37"/>
                <a:gd name="T4" fmla="*/ 0 w 30"/>
                <a:gd name="T5" fmla="*/ 0 h 37"/>
                <a:gd name="T6" fmla="*/ 0 w 30"/>
                <a:gd name="T7" fmla="*/ 0 h 37"/>
                <a:gd name="T8" fmla="*/ 0 w 30"/>
                <a:gd name="T9" fmla="*/ 0 h 37"/>
                <a:gd name="T10" fmla="*/ 0 w 30"/>
                <a:gd name="T11" fmla="*/ 0 h 37"/>
                <a:gd name="T12" fmla="*/ 0 w 30"/>
                <a:gd name="T13" fmla="*/ 0 h 37"/>
                <a:gd name="T14" fmla="*/ 0 w 30"/>
                <a:gd name="T15" fmla="*/ 0 h 37"/>
                <a:gd name="T16" fmla="*/ 0 w 30"/>
                <a:gd name="T17" fmla="*/ 0 h 37"/>
                <a:gd name="T18" fmla="*/ 0 w 30"/>
                <a:gd name="T19" fmla="*/ 0 h 37"/>
                <a:gd name="T20" fmla="*/ 0 w 30"/>
                <a:gd name="T21" fmla="*/ 0 h 37"/>
                <a:gd name="T22" fmla="*/ 0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58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0 w 113"/>
                <a:gd name="T1" fmla="*/ 0 h 46"/>
                <a:gd name="T2" fmla="*/ 0 w 113"/>
                <a:gd name="T3" fmla="*/ 0 h 46"/>
                <a:gd name="T4" fmla="*/ 0 w 113"/>
                <a:gd name="T5" fmla="*/ 0 h 46"/>
                <a:gd name="T6" fmla="*/ 0 w 113"/>
                <a:gd name="T7" fmla="*/ 0 h 46"/>
                <a:gd name="T8" fmla="*/ 0 w 113"/>
                <a:gd name="T9" fmla="*/ 0 h 46"/>
                <a:gd name="T10" fmla="*/ 0 w 113"/>
                <a:gd name="T11" fmla="*/ 0 h 46"/>
                <a:gd name="T12" fmla="*/ 0 w 113"/>
                <a:gd name="T13" fmla="*/ 0 h 46"/>
                <a:gd name="T14" fmla="*/ 0 w 113"/>
                <a:gd name="T15" fmla="*/ 0 h 46"/>
                <a:gd name="T16" fmla="*/ 0 w 113"/>
                <a:gd name="T17" fmla="*/ 0 h 46"/>
                <a:gd name="T18" fmla="*/ 0 w 113"/>
                <a:gd name="T19" fmla="*/ 1 h 46"/>
                <a:gd name="T20" fmla="*/ 0 w 113"/>
                <a:gd name="T21" fmla="*/ 1 h 46"/>
                <a:gd name="T22" fmla="*/ 0 w 113"/>
                <a:gd name="T23" fmla="*/ 1 h 46"/>
                <a:gd name="T24" fmla="*/ 0 w 113"/>
                <a:gd name="T25" fmla="*/ 1 h 46"/>
                <a:gd name="T26" fmla="*/ 0 w 113"/>
                <a:gd name="T27" fmla="*/ 1 h 46"/>
                <a:gd name="T28" fmla="*/ 0 w 113"/>
                <a:gd name="T29" fmla="*/ 1 h 46"/>
                <a:gd name="T30" fmla="*/ 1 w 113"/>
                <a:gd name="T31" fmla="*/ 1 h 46"/>
                <a:gd name="T32" fmla="*/ 1 w 113"/>
                <a:gd name="T33" fmla="*/ 1 h 46"/>
                <a:gd name="T34" fmla="*/ 1 w 113"/>
                <a:gd name="T35" fmla="*/ 1 h 46"/>
                <a:gd name="T36" fmla="*/ 1 w 113"/>
                <a:gd name="T37" fmla="*/ 1 h 46"/>
                <a:gd name="T38" fmla="*/ 1 w 113"/>
                <a:gd name="T39" fmla="*/ 1 h 46"/>
                <a:gd name="T40" fmla="*/ 1 w 113"/>
                <a:gd name="T41" fmla="*/ 0 h 46"/>
                <a:gd name="T42" fmla="*/ 1 w 113"/>
                <a:gd name="T43" fmla="*/ 0 h 46"/>
                <a:gd name="T44" fmla="*/ 1 w 113"/>
                <a:gd name="T45" fmla="*/ 0 h 46"/>
                <a:gd name="T46" fmla="*/ 1 w 113"/>
                <a:gd name="T47" fmla="*/ 0 h 46"/>
                <a:gd name="T48" fmla="*/ 1 w 113"/>
                <a:gd name="T49" fmla="*/ 0 h 46"/>
                <a:gd name="T50" fmla="*/ 1 w 113"/>
                <a:gd name="T51" fmla="*/ 0 h 46"/>
                <a:gd name="T52" fmla="*/ 1 w 113"/>
                <a:gd name="T53" fmla="*/ 0 h 46"/>
                <a:gd name="T54" fmla="*/ 1 w 113"/>
                <a:gd name="T55" fmla="*/ 0 h 46"/>
                <a:gd name="T56" fmla="*/ 1 w 113"/>
                <a:gd name="T57" fmla="*/ 0 h 46"/>
                <a:gd name="T58" fmla="*/ 1 w 113"/>
                <a:gd name="T59" fmla="*/ 0 h 46"/>
                <a:gd name="T60" fmla="*/ 0 w 113"/>
                <a:gd name="T61" fmla="*/ 0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59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1 h 82"/>
                <a:gd name="T2" fmla="*/ 0 w 153"/>
                <a:gd name="T3" fmla="*/ 1 h 82"/>
                <a:gd name="T4" fmla="*/ 0 w 153"/>
                <a:gd name="T5" fmla="*/ 1 h 82"/>
                <a:gd name="T6" fmla="*/ 0 w 153"/>
                <a:gd name="T7" fmla="*/ 1 h 82"/>
                <a:gd name="T8" fmla="*/ 0 w 153"/>
                <a:gd name="T9" fmla="*/ 1 h 82"/>
                <a:gd name="T10" fmla="*/ 0 w 153"/>
                <a:gd name="T11" fmla="*/ 1 h 82"/>
                <a:gd name="T12" fmla="*/ 0 w 153"/>
                <a:gd name="T13" fmla="*/ 1 h 82"/>
                <a:gd name="T14" fmla="*/ 0 w 153"/>
                <a:gd name="T15" fmla="*/ 1 h 82"/>
                <a:gd name="T16" fmla="*/ 1 w 153"/>
                <a:gd name="T17" fmla="*/ 1 h 82"/>
                <a:gd name="T18" fmla="*/ 1 w 153"/>
                <a:gd name="T19" fmla="*/ 1 h 82"/>
                <a:gd name="T20" fmla="*/ 1 w 153"/>
                <a:gd name="T21" fmla="*/ 1 h 82"/>
                <a:gd name="T22" fmla="*/ 1 w 153"/>
                <a:gd name="T23" fmla="*/ 1 h 82"/>
                <a:gd name="T24" fmla="*/ 1 w 153"/>
                <a:gd name="T25" fmla="*/ 1 h 82"/>
                <a:gd name="T26" fmla="*/ 1 w 153"/>
                <a:gd name="T27" fmla="*/ 1 h 82"/>
                <a:gd name="T28" fmla="*/ 1 w 153"/>
                <a:gd name="T29" fmla="*/ 1 h 82"/>
                <a:gd name="T30" fmla="*/ 1 w 153"/>
                <a:gd name="T31" fmla="*/ 1 h 82"/>
                <a:gd name="T32" fmla="*/ 1 w 153"/>
                <a:gd name="T33" fmla="*/ 0 h 82"/>
                <a:gd name="T34" fmla="*/ 1 w 153"/>
                <a:gd name="T35" fmla="*/ 0 h 82"/>
                <a:gd name="T36" fmla="*/ 2 w 153"/>
                <a:gd name="T37" fmla="*/ 0 h 82"/>
                <a:gd name="T38" fmla="*/ 2 w 153"/>
                <a:gd name="T39" fmla="*/ 0 h 82"/>
                <a:gd name="T40" fmla="*/ 2 w 153"/>
                <a:gd name="T41" fmla="*/ 0 h 82"/>
                <a:gd name="T42" fmla="*/ 1 w 153"/>
                <a:gd name="T43" fmla="*/ 0 h 82"/>
                <a:gd name="T44" fmla="*/ 1 w 153"/>
                <a:gd name="T45" fmla="*/ 0 h 82"/>
                <a:gd name="T46" fmla="*/ 1 w 153"/>
                <a:gd name="T47" fmla="*/ 0 h 82"/>
                <a:gd name="T48" fmla="*/ 1 w 153"/>
                <a:gd name="T49" fmla="*/ 0 h 82"/>
                <a:gd name="T50" fmla="*/ 1 w 153"/>
                <a:gd name="T51" fmla="*/ 0 h 82"/>
                <a:gd name="T52" fmla="*/ 1 w 153"/>
                <a:gd name="T53" fmla="*/ 0 h 82"/>
                <a:gd name="T54" fmla="*/ 1 w 153"/>
                <a:gd name="T55" fmla="*/ 0 h 82"/>
                <a:gd name="T56" fmla="*/ 0 w 153"/>
                <a:gd name="T57" fmla="*/ 0 h 82"/>
                <a:gd name="T58" fmla="*/ 0 w 153"/>
                <a:gd name="T59" fmla="*/ 0 h 82"/>
                <a:gd name="T60" fmla="*/ 0 w 153"/>
                <a:gd name="T61" fmla="*/ 0 h 82"/>
                <a:gd name="T62" fmla="*/ 0 w 153"/>
                <a:gd name="T63" fmla="*/ 0 h 82"/>
                <a:gd name="T64" fmla="*/ 0 w 153"/>
                <a:gd name="T65" fmla="*/ 0 h 82"/>
                <a:gd name="T66" fmla="*/ 0 w 153"/>
                <a:gd name="T67" fmla="*/ 0 h 82"/>
                <a:gd name="T68" fmla="*/ 0 w 153"/>
                <a:gd name="T69" fmla="*/ 0 h 82"/>
                <a:gd name="T70" fmla="*/ 0 w 153"/>
                <a:gd name="T71" fmla="*/ 0 h 82"/>
                <a:gd name="T72" fmla="*/ 0 w 153"/>
                <a:gd name="T73" fmla="*/ 0 h 82"/>
                <a:gd name="T74" fmla="*/ 0 w 153"/>
                <a:gd name="T75" fmla="*/ 0 h 82"/>
                <a:gd name="T76" fmla="*/ 1 w 153"/>
                <a:gd name="T77" fmla="*/ 0 h 82"/>
                <a:gd name="T78" fmla="*/ 0 w 153"/>
                <a:gd name="T79" fmla="*/ 1 h 82"/>
                <a:gd name="T80" fmla="*/ 0 w 153"/>
                <a:gd name="T81" fmla="*/ 1 h 82"/>
                <a:gd name="T82" fmla="*/ 0 w 153"/>
                <a:gd name="T83" fmla="*/ 1 h 82"/>
                <a:gd name="T84" fmla="*/ 0 w 153"/>
                <a:gd name="T85" fmla="*/ 1 h 82"/>
                <a:gd name="T86" fmla="*/ 0 w 153"/>
                <a:gd name="T87" fmla="*/ 1 h 82"/>
                <a:gd name="T88" fmla="*/ 0 w 153"/>
                <a:gd name="T89" fmla="*/ 1 h 82"/>
                <a:gd name="T90" fmla="*/ 0 w 153"/>
                <a:gd name="T91" fmla="*/ 1 h 82"/>
                <a:gd name="T92" fmla="*/ 0 w 153"/>
                <a:gd name="T93" fmla="*/ 1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60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0 h 50"/>
                <a:gd name="T2" fmla="*/ 0 w 86"/>
                <a:gd name="T3" fmla="*/ 1 h 50"/>
                <a:gd name="T4" fmla="*/ 0 w 86"/>
                <a:gd name="T5" fmla="*/ 1 h 50"/>
                <a:gd name="T6" fmla="*/ 0 w 86"/>
                <a:gd name="T7" fmla="*/ 1 h 50"/>
                <a:gd name="T8" fmla="*/ 0 w 86"/>
                <a:gd name="T9" fmla="*/ 1 h 50"/>
                <a:gd name="T10" fmla="*/ 0 w 86"/>
                <a:gd name="T11" fmla="*/ 1 h 50"/>
                <a:gd name="T12" fmla="*/ 1 w 86"/>
                <a:gd name="T13" fmla="*/ 1 h 50"/>
                <a:gd name="T14" fmla="*/ 1 w 86"/>
                <a:gd name="T15" fmla="*/ 1 h 50"/>
                <a:gd name="T16" fmla="*/ 1 w 86"/>
                <a:gd name="T17" fmla="*/ 1 h 50"/>
                <a:gd name="T18" fmla="*/ 1 w 86"/>
                <a:gd name="T19" fmla="*/ 1 h 50"/>
                <a:gd name="T20" fmla="*/ 1 w 86"/>
                <a:gd name="T21" fmla="*/ 1 h 50"/>
                <a:gd name="T22" fmla="*/ 1 w 86"/>
                <a:gd name="T23" fmla="*/ 1 h 50"/>
                <a:gd name="T24" fmla="*/ 1 w 86"/>
                <a:gd name="T25" fmla="*/ 0 h 50"/>
                <a:gd name="T26" fmla="*/ 1 w 86"/>
                <a:gd name="T27" fmla="*/ 0 h 50"/>
                <a:gd name="T28" fmla="*/ 1 w 86"/>
                <a:gd name="T29" fmla="*/ 0 h 50"/>
                <a:gd name="T30" fmla="*/ 1 w 86"/>
                <a:gd name="T31" fmla="*/ 0 h 50"/>
                <a:gd name="T32" fmla="*/ 1 w 86"/>
                <a:gd name="T33" fmla="*/ 0 h 50"/>
                <a:gd name="T34" fmla="*/ 1 w 86"/>
                <a:gd name="T35" fmla="*/ 0 h 50"/>
                <a:gd name="T36" fmla="*/ 1 w 86"/>
                <a:gd name="T37" fmla="*/ 0 h 50"/>
                <a:gd name="T38" fmla="*/ 1 w 86"/>
                <a:gd name="T39" fmla="*/ 0 h 50"/>
                <a:gd name="T40" fmla="*/ 1 w 86"/>
                <a:gd name="T41" fmla="*/ 0 h 50"/>
                <a:gd name="T42" fmla="*/ 0 w 86"/>
                <a:gd name="T43" fmla="*/ 0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61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 w 172"/>
                <a:gd name="T1" fmla="*/ 1 h 74"/>
                <a:gd name="T2" fmla="*/ 1 w 172"/>
                <a:gd name="T3" fmla="*/ 1 h 74"/>
                <a:gd name="T4" fmla="*/ 1 w 172"/>
                <a:gd name="T5" fmla="*/ 1 h 74"/>
                <a:gd name="T6" fmla="*/ 1 w 172"/>
                <a:gd name="T7" fmla="*/ 1 h 74"/>
                <a:gd name="T8" fmla="*/ 1 w 172"/>
                <a:gd name="T9" fmla="*/ 1 h 74"/>
                <a:gd name="T10" fmla="*/ 1 w 172"/>
                <a:gd name="T11" fmla="*/ 1 h 74"/>
                <a:gd name="T12" fmla="*/ 0 w 172"/>
                <a:gd name="T13" fmla="*/ 1 h 74"/>
                <a:gd name="T14" fmla="*/ 0 w 172"/>
                <a:gd name="T15" fmla="*/ 1 h 74"/>
                <a:gd name="T16" fmla="*/ 0 w 172"/>
                <a:gd name="T17" fmla="*/ 1 h 74"/>
                <a:gd name="T18" fmla="*/ 0 w 172"/>
                <a:gd name="T19" fmla="*/ 1 h 74"/>
                <a:gd name="T20" fmla="*/ 0 w 172"/>
                <a:gd name="T21" fmla="*/ 1 h 74"/>
                <a:gd name="T22" fmla="*/ 0 w 172"/>
                <a:gd name="T23" fmla="*/ 1 h 74"/>
                <a:gd name="T24" fmla="*/ 0 w 172"/>
                <a:gd name="T25" fmla="*/ 1 h 74"/>
                <a:gd name="T26" fmla="*/ 0 w 172"/>
                <a:gd name="T27" fmla="*/ 1 h 74"/>
                <a:gd name="T28" fmla="*/ 0 w 172"/>
                <a:gd name="T29" fmla="*/ 0 h 74"/>
                <a:gd name="T30" fmla="*/ 0 w 172"/>
                <a:gd name="T31" fmla="*/ 0 h 74"/>
                <a:gd name="T32" fmla="*/ 0 w 172"/>
                <a:gd name="T33" fmla="*/ 0 h 74"/>
                <a:gd name="T34" fmla="*/ 0 w 172"/>
                <a:gd name="T35" fmla="*/ 0 h 74"/>
                <a:gd name="T36" fmla="*/ 0 w 172"/>
                <a:gd name="T37" fmla="*/ 0 h 74"/>
                <a:gd name="T38" fmla="*/ 0 w 172"/>
                <a:gd name="T39" fmla="*/ 0 h 74"/>
                <a:gd name="T40" fmla="*/ 0 w 172"/>
                <a:gd name="T41" fmla="*/ 0 h 74"/>
                <a:gd name="T42" fmla="*/ 0 w 172"/>
                <a:gd name="T43" fmla="*/ 0 h 74"/>
                <a:gd name="T44" fmla="*/ 0 w 172"/>
                <a:gd name="T45" fmla="*/ 0 h 74"/>
                <a:gd name="T46" fmla="*/ 0 w 172"/>
                <a:gd name="T47" fmla="*/ 0 h 74"/>
                <a:gd name="T48" fmla="*/ 0 w 172"/>
                <a:gd name="T49" fmla="*/ 0 h 74"/>
                <a:gd name="T50" fmla="*/ 0 w 172"/>
                <a:gd name="T51" fmla="*/ 0 h 74"/>
                <a:gd name="T52" fmla="*/ 1 w 172"/>
                <a:gd name="T53" fmla="*/ 0 h 74"/>
                <a:gd name="T54" fmla="*/ 1 w 172"/>
                <a:gd name="T55" fmla="*/ 0 h 74"/>
                <a:gd name="T56" fmla="*/ 1 w 172"/>
                <a:gd name="T57" fmla="*/ 0 h 74"/>
                <a:gd name="T58" fmla="*/ 1 w 172"/>
                <a:gd name="T59" fmla="*/ 0 h 74"/>
                <a:gd name="T60" fmla="*/ 1 w 172"/>
                <a:gd name="T61" fmla="*/ 0 h 74"/>
                <a:gd name="T62" fmla="*/ 1 w 172"/>
                <a:gd name="T63" fmla="*/ 0 h 74"/>
                <a:gd name="T64" fmla="*/ 1 w 172"/>
                <a:gd name="T65" fmla="*/ 0 h 74"/>
                <a:gd name="T66" fmla="*/ 1 w 172"/>
                <a:gd name="T67" fmla="*/ 0 h 74"/>
                <a:gd name="T68" fmla="*/ 2 w 172"/>
                <a:gd name="T69" fmla="*/ 0 h 74"/>
                <a:gd name="T70" fmla="*/ 2 w 172"/>
                <a:gd name="T71" fmla="*/ 0 h 74"/>
                <a:gd name="T72" fmla="*/ 2 w 172"/>
                <a:gd name="T73" fmla="*/ 0 h 74"/>
                <a:gd name="T74" fmla="*/ 2 w 172"/>
                <a:gd name="T75" fmla="*/ 1 h 74"/>
                <a:gd name="T76" fmla="*/ 2 w 172"/>
                <a:gd name="T77" fmla="*/ 1 h 74"/>
                <a:gd name="T78" fmla="*/ 2 w 172"/>
                <a:gd name="T79" fmla="*/ 1 h 74"/>
                <a:gd name="T80" fmla="*/ 2 w 172"/>
                <a:gd name="T81" fmla="*/ 1 h 74"/>
                <a:gd name="T82" fmla="*/ 2 w 172"/>
                <a:gd name="T83" fmla="*/ 1 h 74"/>
                <a:gd name="T84" fmla="*/ 2 w 172"/>
                <a:gd name="T85" fmla="*/ 1 h 74"/>
                <a:gd name="T86" fmla="*/ 2 w 172"/>
                <a:gd name="T87" fmla="*/ 1 h 74"/>
                <a:gd name="T88" fmla="*/ 2 w 172"/>
                <a:gd name="T89" fmla="*/ 1 h 74"/>
                <a:gd name="T90" fmla="*/ 1 w 172"/>
                <a:gd name="T91" fmla="*/ 1 h 74"/>
                <a:gd name="T92" fmla="*/ 1 w 172"/>
                <a:gd name="T93" fmla="*/ 1 h 74"/>
                <a:gd name="T94" fmla="*/ 1 w 172"/>
                <a:gd name="T95" fmla="*/ 1 h 74"/>
                <a:gd name="T96" fmla="*/ 1 w 172"/>
                <a:gd name="T97" fmla="*/ 1 h 74"/>
                <a:gd name="T98" fmla="*/ 1 w 172"/>
                <a:gd name="T99" fmla="*/ 1 h 74"/>
                <a:gd name="T100" fmla="*/ 1 w 172"/>
                <a:gd name="T101" fmla="*/ 1 h 74"/>
                <a:gd name="T102" fmla="*/ 1 w 172"/>
                <a:gd name="T103" fmla="*/ 1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62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0 w 120"/>
                <a:gd name="T1" fmla="*/ 1 h 49"/>
                <a:gd name="T2" fmla="*/ 1 w 120"/>
                <a:gd name="T3" fmla="*/ 1 h 49"/>
                <a:gd name="T4" fmla="*/ 1 w 120"/>
                <a:gd name="T5" fmla="*/ 1 h 49"/>
                <a:gd name="T6" fmla="*/ 1 w 120"/>
                <a:gd name="T7" fmla="*/ 1 h 49"/>
                <a:gd name="T8" fmla="*/ 1 w 120"/>
                <a:gd name="T9" fmla="*/ 1 h 49"/>
                <a:gd name="T10" fmla="*/ 1 w 120"/>
                <a:gd name="T11" fmla="*/ 1 h 49"/>
                <a:gd name="T12" fmla="*/ 1 w 120"/>
                <a:gd name="T13" fmla="*/ 1 h 49"/>
                <a:gd name="T14" fmla="*/ 1 w 120"/>
                <a:gd name="T15" fmla="*/ 0 h 49"/>
                <a:gd name="T16" fmla="*/ 1 w 120"/>
                <a:gd name="T17" fmla="*/ 0 h 49"/>
                <a:gd name="T18" fmla="*/ 1 w 120"/>
                <a:gd name="T19" fmla="*/ 0 h 49"/>
                <a:gd name="T20" fmla="*/ 1 w 120"/>
                <a:gd name="T21" fmla="*/ 0 h 49"/>
                <a:gd name="T22" fmla="*/ 1 w 120"/>
                <a:gd name="T23" fmla="*/ 0 h 49"/>
                <a:gd name="T24" fmla="*/ 1 w 120"/>
                <a:gd name="T25" fmla="*/ 0 h 49"/>
                <a:gd name="T26" fmla="*/ 1 w 120"/>
                <a:gd name="T27" fmla="*/ 0 h 49"/>
                <a:gd name="T28" fmla="*/ 1 w 120"/>
                <a:gd name="T29" fmla="*/ 0 h 49"/>
                <a:gd name="T30" fmla="*/ 0 w 120"/>
                <a:gd name="T31" fmla="*/ 0 h 49"/>
                <a:gd name="T32" fmla="*/ 0 w 120"/>
                <a:gd name="T33" fmla="*/ 0 h 49"/>
                <a:gd name="T34" fmla="*/ 0 w 120"/>
                <a:gd name="T35" fmla="*/ 0 h 49"/>
                <a:gd name="T36" fmla="*/ 0 w 120"/>
                <a:gd name="T37" fmla="*/ 0 h 49"/>
                <a:gd name="T38" fmla="*/ 0 w 120"/>
                <a:gd name="T39" fmla="*/ 0 h 49"/>
                <a:gd name="T40" fmla="*/ 0 w 120"/>
                <a:gd name="T41" fmla="*/ 0 h 49"/>
                <a:gd name="T42" fmla="*/ 0 w 120"/>
                <a:gd name="T43" fmla="*/ 1 h 49"/>
                <a:gd name="T44" fmla="*/ 0 w 120"/>
                <a:gd name="T45" fmla="*/ 1 h 49"/>
                <a:gd name="T46" fmla="*/ 0 w 120"/>
                <a:gd name="T47" fmla="*/ 1 h 49"/>
                <a:gd name="T48" fmla="*/ 0 w 120"/>
                <a:gd name="T49" fmla="*/ 1 h 49"/>
                <a:gd name="T50" fmla="*/ 0 w 120"/>
                <a:gd name="T51" fmla="*/ 1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63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0 w 85"/>
                <a:gd name="T1" fmla="*/ 0 h 61"/>
                <a:gd name="T2" fmla="*/ 0 w 85"/>
                <a:gd name="T3" fmla="*/ 0 h 61"/>
                <a:gd name="T4" fmla="*/ 0 w 85"/>
                <a:gd name="T5" fmla="*/ 0 h 61"/>
                <a:gd name="T6" fmla="*/ 0 w 85"/>
                <a:gd name="T7" fmla="*/ 0 h 61"/>
                <a:gd name="T8" fmla="*/ 0 w 85"/>
                <a:gd name="T9" fmla="*/ 0 h 61"/>
                <a:gd name="T10" fmla="*/ 0 w 85"/>
                <a:gd name="T11" fmla="*/ 0 h 61"/>
                <a:gd name="T12" fmla="*/ 0 w 85"/>
                <a:gd name="T13" fmla="*/ 0 h 61"/>
                <a:gd name="T14" fmla="*/ 0 w 85"/>
                <a:gd name="T15" fmla="*/ 0 h 61"/>
                <a:gd name="T16" fmla="*/ 0 w 85"/>
                <a:gd name="T17" fmla="*/ 0 h 61"/>
                <a:gd name="T18" fmla="*/ 0 w 85"/>
                <a:gd name="T19" fmla="*/ 0 h 61"/>
                <a:gd name="T20" fmla="*/ 0 w 85"/>
                <a:gd name="T21" fmla="*/ 0 h 61"/>
                <a:gd name="T22" fmla="*/ 0 w 85"/>
                <a:gd name="T23" fmla="*/ 1 h 61"/>
                <a:gd name="T24" fmla="*/ 0 w 85"/>
                <a:gd name="T25" fmla="*/ 1 h 61"/>
                <a:gd name="T26" fmla="*/ 0 w 85"/>
                <a:gd name="T27" fmla="*/ 1 h 61"/>
                <a:gd name="T28" fmla="*/ 0 w 85"/>
                <a:gd name="T29" fmla="*/ 1 h 61"/>
                <a:gd name="T30" fmla="*/ 0 w 85"/>
                <a:gd name="T31" fmla="*/ 1 h 61"/>
                <a:gd name="T32" fmla="*/ 1 w 85"/>
                <a:gd name="T33" fmla="*/ 1 h 61"/>
                <a:gd name="T34" fmla="*/ 1 w 85"/>
                <a:gd name="T35" fmla="*/ 1 h 61"/>
                <a:gd name="T36" fmla="*/ 1 w 85"/>
                <a:gd name="T37" fmla="*/ 1 h 61"/>
                <a:gd name="T38" fmla="*/ 1 w 85"/>
                <a:gd name="T39" fmla="*/ 1 h 61"/>
                <a:gd name="T40" fmla="*/ 1 w 85"/>
                <a:gd name="T41" fmla="*/ 1 h 61"/>
                <a:gd name="T42" fmla="*/ 1 w 85"/>
                <a:gd name="T43" fmla="*/ 1 h 61"/>
                <a:gd name="T44" fmla="*/ 1 w 85"/>
                <a:gd name="T45" fmla="*/ 1 h 61"/>
                <a:gd name="T46" fmla="*/ 1 w 85"/>
                <a:gd name="T47" fmla="*/ 0 h 61"/>
                <a:gd name="T48" fmla="*/ 1 w 85"/>
                <a:gd name="T49" fmla="*/ 0 h 61"/>
                <a:gd name="T50" fmla="*/ 1 w 85"/>
                <a:gd name="T51" fmla="*/ 0 h 61"/>
                <a:gd name="T52" fmla="*/ 1 w 85"/>
                <a:gd name="T53" fmla="*/ 0 h 61"/>
                <a:gd name="T54" fmla="*/ 0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64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0 h 19"/>
                <a:gd name="T2" fmla="*/ 0 w 100"/>
                <a:gd name="T3" fmla="*/ 0 h 19"/>
                <a:gd name="T4" fmla="*/ 0 w 100"/>
                <a:gd name="T5" fmla="*/ 0 h 19"/>
                <a:gd name="T6" fmla="*/ 0 w 100"/>
                <a:gd name="T7" fmla="*/ 0 h 19"/>
                <a:gd name="T8" fmla="*/ 0 w 100"/>
                <a:gd name="T9" fmla="*/ 0 h 19"/>
                <a:gd name="T10" fmla="*/ 1 w 100"/>
                <a:gd name="T11" fmla="*/ 0 h 19"/>
                <a:gd name="T12" fmla="*/ 1 w 100"/>
                <a:gd name="T13" fmla="*/ 0 h 19"/>
                <a:gd name="T14" fmla="*/ 1 w 100"/>
                <a:gd name="T15" fmla="*/ 0 h 19"/>
                <a:gd name="T16" fmla="*/ 0 w 100"/>
                <a:gd name="T17" fmla="*/ 0 h 19"/>
                <a:gd name="T18" fmla="*/ 0 w 100"/>
                <a:gd name="T19" fmla="*/ 0 h 19"/>
                <a:gd name="T20" fmla="*/ 0 w 100"/>
                <a:gd name="T21" fmla="*/ 0 h 19"/>
                <a:gd name="T22" fmla="*/ 0 w 100"/>
                <a:gd name="T23" fmla="*/ 0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65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0 h 45"/>
                <a:gd name="T2" fmla="*/ 0 w 166"/>
                <a:gd name="T3" fmla="*/ 0 h 45"/>
                <a:gd name="T4" fmla="*/ 0 w 166"/>
                <a:gd name="T5" fmla="*/ 0 h 45"/>
                <a:gd name="T6" fmla="*/ 0 w 166"/>
                <a:gd name="T7" fmla="*/ 0 h 45"/>
                <a:gd name="T8" fmla="*/ 0 w 166"/>
                <a:gd name="T9" fmla="*/ 0 h 45"/>
                <a:gd name="T10" fmla="*/ 0 w 166"/>
                <a:gd name="T11" fmla="*/ 0 h 45"/>
                <a:gd name="T12" fmla="*/ 0 w 166"/>
                <a:gd name="T13" fmla="*/ 1 h 45"/>
                <a:gd name="T14" fmla="*/ 1 w 166"/>
                <a:gd name="T15" fmla="*/ 1 h 45"/>
                <a:gd name="T16" fmla="*/ 1 w 166"/>
                <a:gd name="T17" fmla="*/ 1 h 45"/>
                <a:gd name="T18" fmla="*/ 2 w 166"/>
                <a:gd name="T19" fmla="*/ 0 h 45"/>
                <a:gd name="T20" fmla="*/ 2 w 166"/>
                <a:gd name="T21" fmla="*/ 0 h 45"/>
                <a:gd name="T22" fmla="*/ 1 w 166"/>
                <a:gd name="T23" fmla="*/ 0 h 45"/>
                <a:gd name="T24" fmla="*/ 1 w 166"/>
                <a:gd name="T25" fmla="*/ 0 h 45"/>
                <a:gd name="T26" fmla="*/ 1 w 166"/>
                <a:gd name="T27" fmla="*/ 0 h 45"/>
                <a:gd name="T28" fmla="*/ 1 w 166"/>
                <a:gd name="T29" fmla="*/ 0 h 45"/>
                <a:gd name="T30" fmla="*/ 1 w 166"/>
                <a:gd name="T31" fmla="*/ 0 h 45"/>
                <a:gd name="T32" fmla="*/ 0 w 166"/>
                <a:gd name="T33" fmla="*/ 0 h 45"/>
                <a:gd name="T34" fmla="*/ 0 w 166"/>
                <a:gd name="T35" fmla="*/ 0 h 45"/>
                <a:gd name="T36" fmla="*/ 0 w 166"/>
                <a:gd name="T37" fmla="*/ 0 h 45"/>
                <a:gd name="T38" fmla="*/ 0 w 166"/>
                <a:gd name="T39" fmla="*/ 0 h 45"/>
                <a:gd name="T40" fmla="*/ 0 w 166"/>
                <a:gd name="T41" fmla="*/ 0 h 45"/>
                <a:gd name="T42" fmla="*/ 0 w 166"/>
                <a:gd name="T43" fmla="*/ 0 h 45"/>
                <a:gd name="T44" fmla="*/ 0 w 166"/>
                <a:gd name="T45" fmla="*/ 0 h 45"/>
                <a:gd name="T46" fmla="*/ 0 w 166"/>
                <a:gd name="T47" fmla="*/ 0 h 45"/>
                <a:gd name="T48" fmla="*/ 0 w 166"/>
                <a:gd name="T49" fmla="*/ 0 h 45"/>
                <a:gd name="T50" fmla="*/ 0 w 166"/>
                <a:gd name="T51" fmla="*/ 0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66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0 h 25"/>
                <a:gd name="T4" fmla="*/ 0 w 33"/>
                <a:gd name="T5" fmla="*/ 0 h 25"/>
                <a:gd name="T6" fmla="*/ 0 w 33"/>
                <a:gd name="T7" fmla="*/ 0 h 25"/>
                <a:gd name="T8" fmla="*/ 0 w 33"/>
                <a:gd name="T9" fmla="*/ 0 h 25"/>
                <a:gd name="T10" fmla="*/ 0 w 33"/>
                <a:gd name="T11" fmla="*/ 0 h 25"/>
                <a:gd name="T12" fmla="*/ 0 w 33"/>
                <a:gd name="T13" fmla="*/ 0 h 25"/>
                <a:gd name="T14" fmla="*/ 0 w 33"/>
                <a:gd name="T15" fmla="*/ 0 h 25"/>
                <a:gd name="T16" fmla="*/ 0 w 33"/>
                <a:gd name="T17" fmla="*/ 0 h 25"/>
                <a:gd name="T18" fmla="*/ 0 w 33"/>
                <a:gd name="T19" fmla="*/ 0 h 25"/>
                <a:gd name="T20" fmla="*/ 0 w 33"/>
                <a:gd name="T21" fmla="*/ 0 h 25"/>
                <a:gd name="T22" fmla="*/ 0 w 33"/>
                <a:gd name="T23" fmla="*/ 0 h 25"/>
                <a:gd name="T24" fmla="*/ 0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67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1 h 62"/>
                <a:gd name="T2" fmla="*/ 0 w 48"/>
                <a:gd name="T3" fmla="*/ 1 h 62"/>
                <a:gd name="T4" fmla="*/ 0 w 48"/>
                <a:gd name="T5" fmla="*/ 1 h 62"/>
                <a:gd name="T6" fmla="*/ 0 w 48"/>
                <a:gd name="T7" fmla="*/ 1 h 62"/>
                <a:gd name="T8" fmla="*/ 0 w 48"/>
                <a:gd name="T9" fmla="*/ 0 h 62"/>
                <a:gd name="T10" fmla="*/ 1 w 48"/>
                <a:gd name="T11" fmla="*/ 0 h 62"/>
                <a:gd name="T12" fmla="*/ 1 w 48"/>
                <a:gd name="T13" fmla="*/ 0 h 62"/>
                <a:gd name="T14" fmla="*/ 1 w 48"/>
                <a:gd name="T15" fmla="*/ 0 h 62"/>
                <a:gd name="T16" fmla="*/ 1 w 48"/>
                <a:gd name="T17" fmla="*/ 0 h 62"/>
                <a:gd name="T18" fmla="*/ 0 w 48"/>
                <a:gd name="T19" fmla="*/ 0 h 62"/>
                <a:gd name="T20" fmla="*/ 0 w 48"/>
                <a:gd name="T21" fmla="*/ 0 h 62"/>
                <a:gd name="T22" fmla="*/ 0 w 48"/>
                <a:gd name="T23" fmla="*/ 0 h 62"/>
                <a:gd name="T24" fmla="*/ 0 w 48"/>
                <a:gd name="T25" fmla="*/ 0 h 62"/>
                <a:gd name="T26" fmla="*/ 0 w 48"/>
                <a:gd name="T27" fmla="*/ 0 h 62"/>
                <a:gd name="T28" fmla="*/ 0 w 48"/>
                <a:gd name="T29" fmla="*/ 0 h 62"/>
                <a:gd name="T30" fmla="*/ 0 w 48"/>
                <a:gd name="T31" fmla="*/ 0 h 62"/>
                <a:gd name="T32" fmla="*/ 0 w 48"/>
                <a:gd name="T33" fmla="*/ 0 h 62"/>
                <a:gd name="T34" fmla="*/ 0 w 48"/>
                <a:gd name="T35" fmla="*/ 0 h 62"/>
                <a:gd name="T36" fmla="*/ 0 w 48"/>
                <a:gd name="T37" fmla="*/ 1 h 62"/>
                <a:gd name="T38" fmla="*/ 0 w 48"/>
                <a:gd name="T39" fmla="*/ 1 h 62"/>
                <a:gd name="T40" fmla="*/ 0 w 48"/>
                <a:gd name="T41" fmla="*/ 1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68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1 w 113"/>
                <a:gd name="T1" fmla="*/ 0 h 62"/>
                <a:gd name="T2" fmla="*/ 0 w 113"/>
                <a:gd name="T3" fmla="*/ 0 h 62"/>
                <a:gd name="T4" fmla="*/ 0 w 113"/>
                <a:gd name="T5" fmla="*/ 0 h 62"/>
                <a:gd name="T6" fmla="*/ 0 w 113"/>
                <a:gd name="T7" fmla="*/ 0 h 62"/>
                <a:gd name="T8" fmla="*/ 0 w 113"/>
                <a:gd name="T9" fmla="*/ 0 h 62"/>
                <a:gd name="T10" fmla="*/ 0 w 113"/>
                <a:gd name="T11" fmla="*/ 1 h 62"/>
                <a:gd name="T12" fmla="*/ 0 w 113"/>
                <a:gd name="T13" fmla="*/ 1 h 62"/>
                <a:gd name="T14" fmla="*/ 1 w 113"/>
                <a:gd name="T15" fmla="*/ 1 h 62"/>
                <a:gd name="T16" fmla="*/ 1 w 113"/>
                <a:gd name="T17" fmla="*/ 1 h 62"/>
                <a:gd name="T18" fmla="*/ 1 w 113"/>
                <a:gd name="T19" fmla="*/ 1 h 62"/>
                <a:gd name="T20" fmla="*/ 1 w 113"/>
                <a:gd name="T21" fmla="*/ 1 h 62"/>
                <a:gd name="T22" fmla="*/ 1 w 113"/>
                <a:gd name="T23" fmla="*/ 1 h 62"/>
                <a:gd name="T24" fmla="*/ 1 w 113"/>
                <a:gd name="T25" fmla="*/ 1 h 62"/>
                <a:gd name="T26" fmla="*/ 1 w 113"/>
                <a:gd name="T27" fmla="*/ 1 h 62"/>
                <a:gd name="T28" fmla="*/ 1 w 113"/>
                <a:gd name="T29" fmla="*/ 1 h 62"/>
                <a:gd name="T30" fmla="*/ 1 w 113"/>
                <a:gd name="T31" fmla="*/ 1 h 62"/>
                <a:gd name="T32" fmla="*/ 1 w 113"/>
                <a:gd name="T33" fmla="*/ 1 h 62"/>
                <a:gd name="T34" fmla="*/ 1 w 113"/>
                <a:gd name="T35" fmla="*/ 0 h 62"/>
                <a:gd name="T36" fmla="*/ 1 w 113"/>
                <a:gd name="T37" fmla="*/ 0 h 62"/>
                <a:gd name="T38" fmla="*/ 1 w 113"/>
                <a:gd name="T39" fmla="*/ 0 h 62"/>
                <a:gd name="T40" fmla="*/ 1 w 113"/>
                <a:gd name="T41" fmla="*/ 0 h 62"/>
                <a:gd name="T42" fmla="*/ 1 w 113"/>
                <a:gd name="T43" fmla="*/ 0 h 62"/>
                <a:gd name="T44" fmla="*/ 1 w 113"/>
                <a:gd name="T45" fmla="*/ 0 h 62"/>
                <a:gd name="T46" fmla="*/ 1 w 113"/>
                <a:gd name="T47" fmla="*/ 0 h 62"/>
                <a:gd name="T48" fmla="*/ 1 w 113"/>
                <a:gd name="T49" fmla="*/ 0 h 62"/>
                <a:gd name="T50" fmla="*/ 1 w 113"/>
                <a:gd name="T51" fmla="*/ 0 h 62"/>
                <a:gd name="T52" fmla="*/ 1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69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0 w 93"/>
                <a:gd name="T3" fmla="*/ 0 h 50"/>
                <a:gd name="T4" fmla="*/ 0 w 93"/>
                <a:gd name="T5" fmla="*/ 0 h 50"/>
                <a:gd name="T6" fmla="*/ 0 w 93"/>
                <a:gd name="T7" fmla="*/ 0 h 50"/>
                <a:gd name="T8" fmla="*/ 1 w 93"/>
                <a:gd name="T9" fmla="*/ 0 h 50"/>
                <a:gd name="T10" fmla="*/ 1 w 93"/>
                <a:gd name="T11" fmla="*/ 0 h 50"/>
                <a:gd name="T12" fmla="*/ 1 w 93"/>
                <a:gd name="T13" fmla="*/ 0 h 50"/>
                <a:gd name="T14" fmla="*/ 1 w 93"/>
                <a:gd name="T15" fmla="*/ 0 h 50"/>
                <a:gd name="T16" fmla="*/ 1 w 93"/>
                <a:gd name="T17" fmla="*/ 0 h 50"/>
                <a:gd name="T18" fmla="*/ 1 w 93"/>
                <a:gd name="T19" fmla="*/ 0 h 50"/>
                <a:gd name="T20" fmla="*/ 1 w 93"/>
                <a:gd name="T21" fmla="*/ 0 h 50"/>
                <a:gd name="T22" fmla="*/ 1 w 93"/>
                <a:gd name="T23" fmla="*/ 0 h 50"/>
                <a:gd name="T24" fmla="*/ 1 w 93"/>
                <a:gd name="T25" fmla="*/ 0 h 50"/>
                <a:gd name="T26" fmla="*/ 1 w 93"/>
                <a:gd name="T27" fmla="*/ 0 h 50"/>
                <a:gd name="T28" fmla="*/ 1 w 93"/>
                <a:gd name="T29" fmla="*/ 0 h 50"/>
                <a:gd name="T30" fmla="*/ 1 w 93"/>
                <a:gd name="T31" fmla="*/ 0 h 50"/>
                <a:gd name="T32" fmla="*/ 1 w 93"/>
                <a:gd name="T33" fmla="*/ 0 h 50"/>
                <a:gd name="T34" fmla="*/ 0 w 93"/>
                <a:gd name="T35" fmla="*/ 0 h 50"/>
                <a:gd name="T36" fmla="*/ 0 w 93"/>
                <a:gd name="T37" fmla="*/ 1 h 50"/>
                <a:gd name="T38" fmla="*/ 0 w 93"/>
                <a:gd name="T39" fmla="*/ 1 h 50"/>
                <a:gd name="T40" fmla="*/ 0 w 93"/>
                <a:gd name="T41" fmla="*/ 0 h 50"/>
                <a:gd name="T42" fmla="*/ 0 w 93"/>
                <a:gd name="T43" fmla="*/ 0 h 50"/>
                <a:gd name="T44" fmla="*/ 0 w 93"/>
                <a:gd name="T45" fmla="*/ 0 h 50"/>
                <a:gd name="T46" fmla="*/ 0 w 93"/>
                <a:gd name="T47" fmla="*/ 0 h 50"/>
                <a:gd name="T48" fmla="*/ 0 w 93"/>
                <a:gd name="T49" fmla="*/ 0 h 50"/>
                <a:gd name="T50" fmla="*/ 0 w 93"/>
                <a:gd name="T51" fmla="*/ 0 h 50"/>
                <a:gd name="T52" fmla="*/ 0 w 93"/>
                <a:gd name="T53" fmla="*/ 0 h 50"/>
                <a:gd name="T54" fmla="*/ 0 w 93"/>
                <a:gd name="T55" fmla="*/ 0 h 50"/>
                <a:gd name="T56" fmla="*/ 0 w 93"/>
                <a:gd name="T57" fmla="*/ 0 h 50"/>
                <a:gd name="T58" fmla="*/ 0 w 93"/>
                <a:gd name="T59" fmla="*/ 0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70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0 w 1029"/>
                <a:gd name="T1" fmla="*/ 1 h 604"/>
                <a:gd name="T2" fmla="*/ 1 w 1029"/>
                <a:gd name="T3" fmla="*/ 1 h 604"/>
                <a:gd name="T4" fmla="*/ 3 w 1029"/>
                <a:gd name="T5" fmla="*/ 0 h 604"/>
                <a:gd name="T6" fmla="*/ 2 w 1029"/>
                <a:gd name="T7" fmla="*/ 1 h 604"/>
                <a:gd name="T8" fmla="*/ 2 w 1029"/>
                <a:gd name="T9" fmla="*/ 1 h 604"/>
                <a:gd name="T10" fmla="*/ 3 w 1029"/>
                <a:gd name="T11" fmla="*/ 1 h 604"/>
                <a:gd name="T12" fmla="*/ 4 w 1029"/>
                <a:gd name="T13" fmla="*/ 0 h 604"/>
                <a:gd name="T14" fmla="*/ 5 w 1029"/>
                <a:gd name="T15" fmla="*/ 0 h 604"/>
                <a:gd name="T16" fmla="*/ 5 w 1029"/>
                <a:gd name="T17" fmla="*/ 1 h 604"/>
                <a:gd name="T18" fmla="*/ 6 w 1029"/>
                <a:gd name="T19" fmla="*/ 1 h 604"/>
                <a:gd name="T20" fmla="*/ 7 w 1029"/>
                <a:gd name="T21" fmla="*/ 1 h 604"/>
                <a:gd name="T22" fmla="*/ 8 w 1029"/>
                <a:gd name="T23" fmla="*/ 1 h 604"/>
                <a:gd name="T24" fmla="*/ 8 w 1029"/>
                <a:gd name="T25" fmla="*/ 2 h 604"/>
                <a:gd name="T26" fmla="*/ 8 w 1029"/>
                <a:gd name="T27" fmla="*/ 2 h 604"/>
                <a:gd name="T28" fmla="*/ 9 w 1029"/>
                <a:gd name="T29" fmla="*/ 2 h 604"/>
                <a:gd name="T30" fmla="*/ 9 w 1029"/>
                <a:gd name="T31" fmla="*/ 2 h 604"/>
                <a:gd name="T32" fmla="*/ 9 w 1029"/>
                <a:gd name="T33" fmla="*/ 3 h 604"/>
                <a:gd name="T34" fmla="*/ 8 w 1029"/>
                <a:gd name="T35" fmla="*/ 3 h 604"/>
                <a:gd name="T36" fmla="*/ 9 w 1029"/>
                <a:gd name="T37" fmla="*/ 3 h 604"/>
                <a:gd name="T38" fmla="*/ 10 w 1029"/>
                <a:gd name="T39" fmla="*/ 4 h 604"/>
                <a:gd name="T40" fmla="*/ 10 w 1029"/>
                <a:gd name="T41" fmla="*/ 4 h 604"/>
                <a:gd name="T42" fmla="*/ 11 w 1029"/>
                <a:gd name="T43" fmla="*/ 4 h 604"/>
                <a:gd name="T44" fmla="*/ 10 w 1029"/>
                <a:gd name="T45" fmla="*/ 5 h 604"/>
                <a:gd name="T46" fmla="*/ 10 w 1029"/>
                <a:gd name="T47" fmla="*/ 5 h 604"/>
                <a:gd name="T48" fmla="*/ 9 w 1029"/>
                <a:gd name="T49" fmla="*/ 5 h 604"/>
                <a:gd name="T50" fmla="*/ 9 w 1029"/>
                <a:gd name="T51" fmla="*/ 5 h 604"/>
                <a:gd name="T52" fmla="*/ 9 w 1029"/>
                <a:gd name="T53" fmla="*/ 5 h 604"/>
                <a:gd name="T54" fmla="*/ 8 w 1029"/>
                <a:gd name="T55" fmla="*/ 4 h 604"/>
                <a:gd name="T56" fmla="*/ 8 w 1029"/>
                <a:gd name="T57" fmla="*/ 4 h 604"/>
                <a:gd name="T58" fmla="*/ 8 w 1029"/>
                <a:gd name="T59" fmla="*/ 5 h 604"/>
                <a:gd name="T60" fmla="*/ 8 w 1029"/>
                <a:gd name="T61" fmla="*/ 5 h 604"/>
                <a:gd name="T62" fmla="*/ 8 w 1029"/>
                <a:gd name="T63" fmla="*/ 6 h 604"/>
                <a:gd name="T64" fmla="*/ 8 w 1029"/>
                <a:gd name="T65" fmla="*/ 6 h 604"/>
                <a:gd name="T66" fmla="*/ 7 w 1029"/>
                <a:gd name="T67" fmla="*/ 7 h 604"/>
                <a:gd name="T68" fmla="*/ 7 w 1029"/>
                <a:gd name="T69" fmla="*/ 6 h 604"/>
                <a:gd name="T70" fmla="*/ 7 w 1029"/>
                <a:gd name="T71" fmla="*/ 7 h 604"/>
                <a:gd name="T72" fmla="*/ 7 w 1029"/>
                <a:gd name="T73" fmla="*/ 7 h 604"/>
                <a:gd name="T74" fmla="*/ 5 w 1029"/>
                <a:gd name="T75" fmla="*/ 7 h 604"/>
                <a:gd name="T76" fmla="*/ 5 w 1029"/>
                <a:gd name="T77" fmla="*/ 6 h 604"/>
                <a:gd name="T78" fmla="*/ 5 w 1029"/>
                <a:gd name="T79" fmla="*/ 6 h 604"/>
                <a:gd name="T80" fmla="*/ 4 w 1029"/>
                <a:gd name="T81" fmla="*/ 5 h 604"/>
                <a:gd name="T82" fmla="*/ 4 w 1029"/>
                <a:gd name="T83" fmla="*/ 5 h 604"/>
                <a:gd name="T84" fmla="*/ 5 w 1029"/>
                <a:gd name="T85" fmla="*/ 5 h 604"/>
                <a:gd name="T86" fmla="*/ 5 w 1029"/>
                <a:gd name="T87" fmla="*/ 4 h 604"/>
                <a:gd name="T88" fmla="*/ 6 w 1029"/>
                <a:gd name="T89" fmla="*/ 4 h 604"/>
                <a:gd name="T90" fmla="*/ 7 w 1029"/>
                <a:gd name="T91" fmla="*/ 5 h 604"/>
                <a:gd name="T92" fmla="*/ 7 w 1029"/>
                <a:gd name="T93" fmla="*/ 5 h 604"/>
                <a:gd name="T94" fmla="*/ 6 w 1029"/>
                <a:gd name="T95" fmla="*/ 4 h 604"/>
                <a:gd name="T96" fmla="*/ 6 w 1029"/>
                <a:gd name="T97" fmla="*/ 4 h 604"/>
                <a:gd name="T98" fmla="*/ 6 w 1029"/>
                <a:gd name="T99" fmla="*/ 4 h 604"/>
                <a:gd name="T100" fmla="*/ 6 w 1029"/>
                <a:gd name="T101" fmla="*/ 4 h 604"/>
                <a:gd name="T102" fmla="*/ 6 w 1029"/>
                <a:gd name="T103" fmla="*/ 3 h 604"/>
                <a:gd name="T104" fmla="*/ 5 w 1029"/>
                <a:gd name="T105" fmla="*/ 3 h 604"/>
                <a:gd name="T106" fmla="*/ 5 w 1029"/>
                <a:gd name="T107" fmla="*/ 2 h 604"/>
                <a:gd name="T108" fmla="*/ 5 w 1029"/>
                <a:gd name="T109" fmla="*/ 2 h 604"/>
                <a:gd name="T110" fmla="*/ 5 w 1029"/>
                <a:gd name="T111" fmla="*/ 2 h 604"/>
                <a:gd name="T112" fmla="*/ 4 w 1029"/>
                <a:gd name="T113" fmla="*/ 2 h 604"/>
                <a:gd name="T114" fmla="*/ 2 w 1029"/>
                <a:gd name="T115" fmla="*/ 2 h 604"/>
                <a:gd name="T116" fmla="*/ 1 w 1029"/>
                <a:gd name="T117" fmla="*/ 2 h 604"/>
                <a:gd name="T118" fmla="*/ 1 w 1029"/>
                <a:gd name="T119" fmla="*/ 2 h 604"/>
                <a:gd name="T120" fmla="*/ 0 w 1029"/>
                <a:gd name="T121" fmla="*/ 2 h 604"/>
                <a:gd name="T122" fmla="*/ 0 w 1029"/>
                <a:gd name="T123" fmla="*/ 2 h 604"/>
                <a:gd name="T124" fmla="*/ 1 w 1029"/>
                <a:gd name="T125" fmla="*/ 2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71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9 w 1268"/>
                <a:gd name="T1" fmla="*/ 0 h 321"/>
                <a:gd name="T2" fmla="*/ 9 w 1268"/>
                <a:gd name="T3" fmla="*/ 0 h 321"/>
                <a:gd name="T4" fmla="*/ 9 w 1268"/>
                <a:gd name="T5" fmla="*/ 0 h 321"/>
                <a:gd name="T6" fmla="*/ 9 w 1268"/>
                <a:gd name="T7" fmla="*/ 0 h 321"/>
                <a:gd name="T8" fmla="*/ 10 w 1268"/>
                <a:gd name="T9" fmla="*/ 0 h 321"/>
                <a:gd name="T10" fmla="*/ 11 w 1268"/>
                <a:gd name="T11" fmla="*/ 0 h 321"/>
                <a:gd name="T12" fmla="*/ 12 w 1268"/>
                <a:gd name="T13" fmla="*/ 0 h 321"/>
                <a:gd name="T14" fmla="*/ 12 w 1268"/>
                <a:gd name="T15" fmla="*/ 0 h 321"/>
                <a:gd name="T16" fmla="*/ 14 w 1268"/>
                <a:gd name="T17" fmla="*/ 0 h 321"/>
                <a:gd name="T18" fmla="*/ 14 w 1268"/>
                <a:gd name="T19" fmla="*/ 1 h 321"/>
                <a:gd name="T20" fmla="*/ 13 w 1268"/>
                <a:gd name="T21" fmla="*/ 1 h 321"/>
                <a:gd name="T22" fmla="*/ 11 w 1268"/>
                <a:gd name="T23" fmla="*/ 1 h 321"/>
                <a:gd name="T24" fmla="*/ 11 w 1268"/>
                <a:gd name="T25" fmla="*/ 1 h 321"/>
                <a:gd name="T26" fmla="*/ 11 w 1268"/>
                <a:gd name="T27" fmla="*/ 1 h 321"/>
                <a:gd name="T28" fmla="*/ 10 w 1268"/>
                <a:gd name="T29" fmla="*/ 1 h 321"/>
                <a:gd name="T30" fmla="*/ 10 w 1268"/>
                <a:gd name="T31" fmla="*/ 1 h 321"/>
                <a:gd name="T32" fmla="*/ 8 w 1268"/>
                <a:gd name="T33" fmla="*/ 2 h 321"/>
                <a:gd name="T34" fmla="*/ 7 w 1268"/>
                <a:gd name="T35" fmla="*/ 2 h 321"/>
                <a:gd name="T36" fmla="*/ 7 w 1268"/>
                <a:gd name="T37" fmla="*/ 2 h 321"/>
                <a:gd name="T38" fmla="*/ 6 w 1268"/>
                <a:gd name="T39" fmla="*/ 2 h 321"/>
                <a:gd name="T40" fmla="*/ 6 w 1268"/>
                <a:gd name="T41" fmla="*/ 2 h 321"/>
                <a:gd name="T42" fmla="*/ 6 w 1268"/>
                <a:gd name="T43" fmla="*/ 2 h 321"/>
                <a:gd name="T44" fmla="*/ 6 w 1268"/>
                <a:gd name="T45" fmla="*/ 3 h 321"/>
                <a:gd name="T46" fmla="*/ 5 w 1268"/>
                <a:gd name="T47" fmla="*/ 3 h 321"/>
                <a:gd name="T48" fmla="*/ 5 w 1268"/>
                <a:gd name="T49" fmla="*/ 3 h 321"/>
                <a:gd name="T50" fmla="*/ 5 w 1268"/>
                <a:gd name="T51" fmla="*/ 3 h 321"/>
                <a:gd name="T52" fmla="*/ 4 w 1268"/>
                <a:gd name="T53" fmla="*/ 3 h 321"/>
                <a:gd name="T54" fmla="*/ 4 w 1268"/>
                <a:gd name="T55" fmla="*/ 4 h 321"/>
                <a:gd name="T56" fmla="*/ 3 w 1268"/>
                <a:gd name="T57" fmla="*/ 3 h 321"/>
                <a:gd name="T58" fmla="*/ 3 w 1268"/>
                <a:gd name="T59" fmla="*/ 3 h 321"/>
                <a:gd name="T60" fmla="*/ 1 w 1268"/>
                <a:gd name="T61" fmla="*/ 3 h 321"/>
                <a:gd name="T62" fmla="*/ 0 w 1268"/>
                <a:gd name="T63" fmla="*/ 3 h 321"/>
                <a:gd name="T64" fmla="*/ 0 w 1268"/>
                <a:gd name="T65" fmla="*/ 3 h 321"/>
                <a:gd name="T66" fmla="*/ 1 w 1268"/>
                <a:gd name="T67" fmla="*/ 3 h 321"/>
                <a:gd name="T68" fmla="*/ 2 w 1268"/>
                <a:gd name="T69" fmla="*/ 3 h 321"/>
                <a:gd name="T70" fmla="*/ 2 w 1268"/>
                <a:gd name="T71" fmla="*/ 3 h 321"/>
                <a:gd name="T72" fmla="*/ 2 w 1268"/>
                <a:gd name="T73" fmla="*/ 3 h 321"/>
                <a:gd name="T74" fmla="*/ 2 w 1268"/>
                <a:gd name="T75" fmla="*/ 3 h 321"/>
                <a:gd name="T76" fmla="*/ 3 w 1268"/>
                <a:gd name="T77" fmla="*/ 3 h 321"/>
                <a:gd name="T78" fmla="*/ 2 w 1268"/>
                <a:gd name="T79" fmla="*/ 2 h 321"/>
                <a:gd name="T80" fmla="*/ 2 w 1268"/>
                <a:gd name="T81" fmla="*/ 2 h 321"/>
                <a:gd name="T82" fmla="*/ 2 w 1268"/>
                <a:gd name="T83" fmla="*/ 2 h 321"/>
                <a:gd name="T84" fmla="*/ 3 w 1268"/>
                <a:gd name="T85" fmla="*/ 2 h 321"/>
                <a:gd name="T86" fmla="*/ 4 w 1268"/>
                <a:gd name="T87" fmla="*/ 2 h 321"/>
                <a:gd name="T88" fmla="*/ 5 w 1268"/>
                <a:gd name="T89" fmla="*/ 2 h 321"/>
                <a:gd name="T90" fmla="*/ 4 w 1268"/>
                <a:gd name="T91" fmla="*/ 2 h 321"/>
                <a:gd name="T92" fmla="*/ 3 w 1268"/>
                <a:gd name="T93" fmla="*/ 2 h 321"/>
                <a:gd name="T94" fmla="*/ 4 w 1268"/>
                <a:gd name="T95" fmla="*/ 2 h 321"/>
                <a:gd name="T96" fmla="*/ 5 w 1268"/>
                <a:gd name="T97" fmla="*/ 2 h 321"/>
                <a:gd name="T98" fmla="*/ 5 w 1268"/>
                <a:gd name="T99" fmla="*/ 1 h 321"/>
                <a:gd name="T100" fmla="*/ 7 w 1268"/>
                <a:gd name="T101" fmla="*/ 1 h 321"/>
                <a:gd name="T102" fmla="*/ 6 w 1268"/>
                <a:gd name="T103" fmla="*/ 1 h 321"/>
                <a:gd name="T104" fmla="*/ 5 w 1268"/>
                <a:gd name="T105" fmla="*/ 1 h 321"/>
                <a:gd name="T106" fmla="*/ 4 w 1268"/>
                <a:gd name="T107" fmla="*/ 1 h 321"/>
                <a:gd name="T108" fmla="*/ 3 w 1268"/>
                <a:gd name="T109" fmla="*/ 1 h 321"/>
                <a:gd name="T110" fmla="*/ 2 w 1268"/>
                <a:gd name="T111" fmla="*/ 1 h 321"/>
                <a:gd name="T112" fmla="*/ 3 w 1268"/>
                <a:gd name="T113" fmla="*/ 1 h 321"/>
                <a:gd name="T114" fmla="*/ 5 w 1268"/>
                <a:gd name="T115" fmla="*/ 1 h 321"/>
                <a:gd name="T116" fmla="*/ 7 w 1268"/>
                <a:gd name="T117" fmla="*/ 0 h 321"/>
                <a:gd name="T118" fmla="*/ 7 w 1268"/>
                <a:gd name="T119" fmla="*/ 0 h 321"/>
                <a:gd name="T120" fmla="*/ 8 w 1268"/>
                <a:gd name="T121" fmla="*/ 0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72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0 h 117"/>
                <a:gd name="T4" fmla="*/ 0 w 160"/>
                <a:gd name="T5" fmla="*/ 0 h 117"/>
                <a:gd name="T6" fmla="*/ 0 w 160"/>
                <a:gd name="T7" fmla="*/ 0 h 117"/>
                <a:gd name="T8" fmla="*/ 0 w 160"/>
                <a:gd name="T9" fmla="*/ 0 h 117"/>
                <a:gd name="T10" fmla="*/ 0 w 160"/>
                <a:gd name="T11" fmla="*/ 1 h 117"/>
                <a:gd name="T12" fmla="*/ 0 w 160"/>
                <a:gd name="T13" fmla="*/ 1 h 117"/>
                <a:gd name="T14" fmla="*/ 0 w 160"/>
                <a:gd name="T15" fmla="*/ 1 h 117"/>
                <a:gd name="T16" fmla="*/ 1 w 160"/>
                <a:gd name="T17" fmla="*/ 1 h 117"/>
                <a:gd name="T18" fmla="*/ 1 w 160"/>
                <a:gd name="T19" fmla="*/ 1 h 117"/>
                <a:gd name="T20" fmla="*/ 1 w 160"/>
                <a:gd name="T21" fmla="*/ 1 h 117"/>
                <a:gd name="T22" fmla="*/ 1 w 160"/>
                <a:gd name="T23" fmla="*/ 1 h 117"/>
                <a:gd name="T24" fmla="*/ 1 w 160"/>
                <a:gd name="T25" fmla="*/ 1 h 117"/>
                <a:gd name="T26" fmla="*/ 1 w 160"/>
                <a:gd name="T27" fmla="*/ 1 h 117"/>
                <a:gd name="T28" fmla="*/ 1 w 160"/>
                <a:gd name="T29" fmla="*/ 1 h 117"/>
                <a:gd name="T30" fmla="*/ 1 w 160"/>
                <a:gd name="T31" fmla="*/ 1 h 117"/>
                <a:gd name="T32" fmla="*/ 1 w 160"/>
                <a:gd name="T33" fmla="*/ 1 h 117"/>
                <a:gd name="T34" fmla="*/ 1 w 160"/>
                <a:gd name="T35" fmla="*/ 1 h 117"/>
                <a:gd name="T36" fmla="*/ 2 w 160"/>
                <a:gd name="T37" fmla="*/ 1 h 117"/>
                <a:gd name="T38" fmla="*/ 2 w 160"/>
                <a:gd name="T39" fmla="*/ 1 h 117"/>
                <a:gd name="T40" fmla="*/ 2 w 160"/>
                <a:gd name="T41" fmla="*/ 1 h 117"/>
                <a:gd name="T42" fmla="*/ 2 w 160"/>
                <a:gd name="T43" fmla="*/ 1 h 117"/>
                <a:gd name="T44" fmla="*/ 1 w 160"/>
                <a:gd name="T45" fmla="*/ 1 h 117"/>
                <a:gd name="T46" fmla="*/ 1 w 160"/>
                <a:gd name="T47" fmla="*/ 1 h 117"/>
                <a:gd name="T48" fmla="*/ 1 w 160"/>
                <a:gd name="T49" fmla="*/ 1 h 117"/>
                <a:gd name="T50" fmla="*/ 1 w 160"/>
                <a:gd name="T51" fmla="*/ 1 h 117"/>
                <a:gd name="T52" fmla="*/ 1 w 160"/>
                <a:gd name="T53" fmla="*/ 1 h 117"/>
                <a:gd name="T54" fmla="*/ 1 w 160"/>
                <a:gd name="T55" fmla="*/ 1 h 117"/>
                <a:gd name="T56" fmla="*/ 1 w 160"/>
                <a:gd name="T57" fmla="*/ 1 h 117"/>
                <a:gd name="T58" fmla="*/ 1 w 160"/>
                <a:gd name="T59" fmla="*/ 0 h 117"/>
                <a:gd name="T60" fmla="*/ 1 w 160"/>
                <a:gd name="T61" fmla="*/ 0 h 117"/>
                <a:gd name="T62" fmla="*/ 1 w 160"/>
                <a:gd name="T63" fmla="*/ 0 h 117"/>
                <a:gd name="T64" fmla="*/ 1 w 160"/>
                <a:gd name="T65" fmla="*/ 0 h 117"/>
                <a:gd name="T66" fmla="*/ 1 w 160"/>
                <a:gd name="T67" fmla="*/ 0 h 117"/>
                <a:gd name="T68" fmla="*/ 1 w 160"/>
                <a:gd name="T69" fmla="*/ 0 h 117"/>
                <a:gd name="T70" fmla="*/ 1 w 160"/>
                <a:gd name="T71" fmla="*/ 0 h 117"/>
                <a:gd name="T72" fmla="*/ 1 w 160"/>
                <a:gd name="T73" fmla="*/ 0 h 117"/>
                <a:gd name="T74" fmla="*/ 1 w 160"/>
                <a:gd name="T75" fmla="*/ 0 h 117"/>
                <a:gd name="T76" fmla="*/ 1 w 160"/>
                <a:gd name="T77" fmla="*/ 0 h 117"/>
                <a:gd name="T78" fmla="*/ 0 w 160"/>
                <a:gd name="T79" fmla="*/ 0 h 117"/>
                <a:gd name="T80" fmla="*/ 0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73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0 w 80"/>
                <a:gd name="T1" fmla="*/ 1 h 141"/>
                <a:gd name="T2" fmla="*/ 1 w 80"/>
                <a:gd name="T3" fmla="*/ 0 h 141"/>
                <a:gd name="T4" fmla="*/ 1 w 80"/>
                <a:gd name="T5" fmla="*/ 0 h 141"/>
                <a:gd name="T6" fmla="*/ 1 w 80"/>
                <a:gd name="T7" fmla="*/ 0 h 141"/>
                <a:gd name="T8" fmla="*/ 1 w 80"/>
                <a:gd name="T9" fmla="*/ 0 h 141"/>
                <a:gd name="T10" fmla="*/ 1 w 80"/>
                <a:gd name="T11" fmla="*/ 0 h 141"/>
                <a:gd name="T12" fmla="*/ 1 w 80"/>
                <a:gd name="T13" fmla="*/ 0 h 141"/>
                <a:gd name="T14" fmla="*/ 1 w 80"/>
                <a:gd name="T15" fmla="*/ 0 h 141"/>
                <a:gd name="T16" fmla="*/ 1 w 80"/>
                <a:gd name="T17" fmla="*/ 0 h 141"/>
                <a:gd name="T18" fmla="*/ 0 w 80"/>
                <a:gd name="T19" fmla="*/ 0 h 141"/>
                <a:gd name="T20" fmla="*/ 0 w 80"/>
                <a:gd name="T21" fmla="*/ 0 h 141"/>
                <a:gd name="T22" fmla="*/ 0 w 80"/>
                <a:gd name="T23" fmla="*/ 0 h 141"/>
                <a:gd name="T24" fmla="*/ 0 w 80"/>
                <a:gd name="T25" fmla="*/ 0 h 141"/>
                <a:gd name="T26" fmla="*/ 0 w 80"/>
                <a:gd name="T27" fmla="*/ 0 h 141"/>
                <a:gd name="T28" fmla="*/ 0 w 80"/>
                <a:gd name="T29" fmla="*/ 1 h 141"/>
                <a:gd name="T30" fmla="*/ 0 w 80"/>
                <a:gd name="T31" fmla="*/ 1 h 141"/>
                <a:gd name="T32" fmla="*/ 0 w 80"/>
                <a:gd name="T33" fmla="*/ 1 h 141"/>
                <a:gd name="T34" fmla="*/ 0 w 80"/>
                <a:gd name="T35" fmla="*/ 1 h 141"/>
                <a:gd name="T36" fmla="*/ 0 w 80"/>
                <a:gd name="T37" fmla="*/ 1 h 141"/>
                <a:gd name="T38" fmla="*/ 0 w 80"/>
                <a:gd name="T39" fmla="*/ 1 h 141"/>
                <a:gd name="T40" fmla="*/ 0 w 80"/>
                <a:gd name="T41" fmla="*/ 1 h 141"/>
                <a:gd name="T42" fmla="*/ 0 w 80"/>
                <a:gd name="T43" fmla="*/ 2 h 141"/>
                <a:gd name="T44" fmla="*/ 0 w 80"/>
                <a:gd name="T45" fmla="*/ 2 h 141"/>
                <a:gd name="T46" fmla="*/ 0 w 80"/>
                <a:gd name="T47" fmla="*/ 2 h 141"/>
                <a:gd name="T48" fmla="*/ 0 w 80"/>
                <a:gd name="T49" fmla="*/ 1 h 141"/>
                <a:gd name="T50" fmla="*/ 0 w 80"/>
                <a:gd name="T51" fmla="*/ 1 h 141"/>
                <a:gd name="T52" fmla="*/ 0 w 80"/>
                <a:gd name="T53" fmla="*/ 1 h 141"/>
                <a:gd name="T54" fmla="*/ 0 w 80"/>
                <a:gd name="T55" fmla="*/ 1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74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1 h 124"/>
                <a:gd name="T2" fmla="*/ 0 w 259"/>
                <a:gd name="T3" fmla="*/ 1 h 124"/>
                <a:gd name="T4" fmla="*/ 0 w 259"/>
                <a:gd name="T5" fmla="*/ 1 h 124"/>
                <a:gd name="T6" fmla="*/ 0 w 259"/>
                <a:gd name="T7" fmla="*/ 1 h 124"/>
                <a:gd name="T8" fmla="*/ 0 w 259"/>
                <a:gd name="T9" fmla="*/ 1 h 124"/>
                <a:gd name="T10" fmla="*/ 0 w 259"/>
                <a:gd name="T11" fmla="*/ 1 h 124"/>
                <a:gd name="T12" fmla="*/ 0 w 259"/>
                <a:gd name="T13" fmla="*/ 1 h 124"/>
                <a:gd name="T14" fmla="*/ 0 w 259"/>
                <a:gd name="T15" fmla="*/ 1 h 124"/>
                <a:gd name="T16" fmla="*/ 0 w 259"/>
                <a:gd name="T17" fmla="*/ 1 h 124"/>
                <a:gd name="T18" fmla="*/ 1 w 259"/>
                <a:gd name="T19" fmla="*/ 2 h 124"/>
                <a:gd name="T20" fmla="*/ 1 w 259"/>
                <a:gd name="T21" fmla="*/ 2 h 124"/>
                <a:gd name="T22" fmla="*/ 1 w 259"/>
                <a:gd name="T23" fmla="*/ 2 h 124"/>
                <a:gd name="T24" fmla="*/ 1 w 259"/>
                <a:gd name="T25" fmla="*/ 2 h 124"/>
                <a:gd name="T26" fmla="*/ 1 w 259"/>
                <a:gd name="T27" fmla="*/ 1 h 124"/>
                <a:gd name="T28" fmla="*/ 1 w 259"/>
                <a:gd name="T29" fmla="*/ 1 h 124"/>
                <a:gd name="T30" fmla="*/ 1 w 259"/>
                <a:gd name="T31" fmla="*/ 1 h 124"/>
                <a:gd name="T32" fmla="*/ 1 w 259"/>
                <a:gd name="T33" fmla="*/ 1 h 124"/>
                <a:gd name="T34" fmla="*/ 1 w 259"/>
                <a:gd name="T35" fmla="*/ 1 h 124"/>
                <a:gd name="T36" fmla="*/ 1 w 259"/>
                <a:gd name="T37" fmla="*/ 1 h 124"/>
                <a:gd name="T38" fmla="*/ 1 w 259"/>
                <a:gd name="T39" fmla="*/ 1 h 124"/>
                <a:gd name="T40" fmla="*/ 1 w 259"/>
                <a:gd name="T41" fmla="*/ 1 h 124"/>
                <a:gd name="T42" fmla="*/ 2 w 259"/>
                <a:gd name="T43" fmla="*/ 1 h 124"/>
                <a:gd name="T44" fmla="*/ 2 w 259"/>
                <a:gd name="T45" fmla="*/ 1 h 124"/>
                <a:gd name="T46" fmla="*/ 2 w 259"/>
                <a:gd name="T47" fmla="*/ 1 h 124"/>
                <a:gd name="T48" fmla="*/ 2 w 259"/>
                <a:gd name="T49" fmla="*/ 1 h 124"/>
                <a:gd name="T50" fmla="*/ 2 w 259"/>
                <a:gd name="T51" fmla="*/ 1 h 124"/>
                <a:gd name="T52" fmla="*/ 2 w 259"/>
                <a:gd name="T53" fmla="*/ 1 h 124"/>
                <a:gd name="T54" fmla="*/ 2 w 259"/>
                <a:gd name="T55" fmla="*/ 1 h 124"/>
                <a:gd name="T56" fmla="*/ 2 w 259"/>
                <a:gd name="T57" fmla="*/ 1 h 124"/>
                <a:gd name="T58" fmla="*/ 3 w 259"/>
                <a:gd name="T59" fmla="*/ 1 h 124"/>
                <a:gd name="T60" fmla="*/ 3 w 259"/>
                <a:gd name="T61" fmla="*/ 1 h 124"/>
                <a:gd name="T62" fmla="*/ 3 w 259"/>
                <a:gd name="T63" fmla="*/ 1 h 124"/>
                <a:gd name="T64" fmla="*/ 3 w 259"/>
                <a:gd name="T65" fmla="*/ 1 h 124"/>
                <a:gd name="T66" fmla="*/ 3 w 259"/>
                <a:gd name="T67" fmla="*/ 1 h 124"/>
                <a:gd name="T68" fmla="*/ 2 w 259"/>
                <a:gd name="T69" fmla="*/ 1 h 124"/>
                <a:gd name="T70" fmla="*/ 3 w 259"/>
                <a:gd name="T71" fmla="*/ 1 h 124"/>
                <a:gd name="T72" fmla="*/ 3 w 259"/>
                <a:gd name="T73" fmla="*/ 1 h 124"/>
                <a:gd name="T74" fmla="*/ 3 w 259"/>
                <a:gd name="T75" fmla="*/ 1 h 124"/>
                <a:gd name="T76" fmla="*/ 3 w 259"/>
                <a:gd name="T77" fmla="*/ 1 h 124"/>
                <a:gd name="T78" fmla="*/ 3 w 259"/>
                <a:gd name="T79" fmla="*/ 1 h 124"/>
                <a:gd name="T80" fmla="*/ 3 w 259"/>
                <a:gd name="T81" fmla="*/ 1 h 124"/>
                <a:gd name="T82" fmla="*/ 2 w 259"/>
                <a:gd name="T83" fmla="*/ 1 h 124"/>
                <a:gd name="T84" fmla="*/ 2 w 259"/>
                <a:gd name="T85" fmla="*/ 1 h 124"/>
                <a:gd name="T86" fmla="*/ 2 w 259"/>
                <a:gd name="T87" fmla="*/ 0 h 124"/>
                <a:gd name="T88" fmla="*/ 2 w 259"/>
                <a:gd name="T89" fmla="*/ 0 h 124"/>
                <a:gd name="T90" fmla="*/ 2 w 259"/>
                <a:gd name="T91" fmla="*/ 0 h 124"/>
                <a:gd name="T92" fmla="*/ 2 w 259"/>
                <a:gd name="T93" fmla="*/ 0 h 124"/>
                <a:gd name="T94" fmla="*/ 2 w 259"/>
                <a:gd name="T95" fmla="*/ 0 h 124"/>
                <a:gd name="T96" fmla="*/ 1 w 259"/>
                <a:gd name="T97" fmla="*/ 0 h 124"/>
                <a:gd name="T98" fmla="*/ 1 w 259"/>
                <a:gd name="T99" fmla="*/ 0 h 124"/>
                <a:gd name="T100" fmla="*/ 1 w 259"/>
                <a:gd name="T101" fmla="*/ 0 h 124"/>
                <a:gd name="T102" fmla="*/ 1 w 259"/>
                <a:gd name="T103" fmla="*/ 0 h 124"/>
                <a:gd name="T104" fmla="*/ 1 w 259"/>
                <a:gd name="T105" fmla="*/ 0 h 124"/>
                <a:gd name="T106" fmla="*/ 1 w 259"/>
                <a:gd name="T107" fmla="*/ 0 h 124"/>
                <a:gd name="T108" fmla="*/ 1 w 259"/>
                <a:gd name="T109" fmla="*/ 0 h 124"/>
                <a:gd name="T110" fmla="*/ 1 w 259"/>
                <a:gd name="T111" fmla="*/ 0 h 124"/>
                <a:gd name="T112" fmla="*/ 1 w 259"/>
                <a:gd name="T113" fmla="*/ 1 h 124"/>
                <a:gd name="T114" fmla="*/ 0 w 259"/>
                <a:gd name="T115" fmla="*/ 1 h 124"/>
                <a:gd name="T116" fmla="*/ 0 w 259"/>
                <a:gd name="T117" fmla="*/ 1 h 124"/>
                <a:gd name="T118" fmla="*/ 0 w 259"/>
                <a:gd name="T119" fmla="*/ 1 h 124"/>
                <a:gd name="T120" fmla="*/ 0 w 259"/>
                <a:gd name="T121" fmla="*/ 1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75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0 h 57"/>
                <a:gd name="T2" fmla="*/ 0 w 119"/>
                <a:gd name="T3" fmla="*/ 0 h 57"/>
                <a:gd name="T4" fmla="*/ 0 w 119"/>
                <a:gd name="T5" fmla="*/ 0 h 57"/>
                <a:gd name="T6" fmla="*/ 0 w 119"/>
                <a:gd name="T7" fmla="*/ 1 h 57"/>
                <a:gd name="T8" fmla="*/ 0 w 119"/>
                <a:gd name="T9" fmla="*/ 1 h 57"/>
                <a:gd name="T10" fmla="*/ 0 w 119"/>
                <a:gd name="T11" fmla="*/ 1 h 57"/>
                <a:gd name="T12" fmla="*/ 0 w 119"/>
                <a:gd name="T13" fmla="*/ 1 h 57"/>
                <a:gd name="T14" fmla="*/ 0 w 119"/>
                <a:gd name="T15" fmla="*/ 1 h 57"/>
                <a:gd name="T16" fmla="*/ 1 w 119"/>
                <a:gd name="T17" fmla="*/ 1 h 57"/>
                <a:gd name="T18" fmla="*/ 1 w 119"/>
                <a:gd name="T19" fmla="*/ 1 h 57"/>
                <a:gd name="T20" fmla="*/ 1 w 119"/>
                <a:gd name="T21" fmla="*/ 1 h 57"/>
                <a:gd name="T22" fmla="*/ 1 w 119"/>
                <a:gd name="T23" fmla="*/ 1 h 57"/>
                <a:gd name="T24" fmla="*/ 1 w 119"/>
                <a:gd name="T25" fmla="*/ 1 h 57"/>
                <a:gd name="T26" fmla="*/ 1 w 119"/>
                <a:gd name="T27" fmla="*/ 1 h 57"/>
                <a:gd name="T28" fmla="*/ 1 w 119"/>
                <a:gd name="T29" fmla="*/ 1 h 57"/>
                <a:gd name="T30" fmla="*/ 1 w 119"/>
                <a:gd name="T31" fmla="*/ 1 h 57"/>
                <a:gd name="T32" fmla="*/ 1 w 119"/>
                <a:gd name="T33" fmla="*/ 0 h 57"/>
                <a:gd name="T34" fmla="*/ 1 w 119"/>
                <a:gd name="T35" fmla="*/ 0 h 57"/>
                <a:gd name="T36" fmla="*/ 1 w 119"/>
                <a:gd name="T37" fmla="*/ 0 h 57"/>
                <a:gd name="T38" fmla="*/ 1 w 119"/>
                <a:gd name="T39" fmla="*/ 0 h 57"/>
                <a:gd name="T40" fmla="*/ 1 w 119"/>
                <a:gd name="T41" fmla="*/ 0 h 57"/>
                <a:gd name="T42" fmla="*/ 1 w 119"/>
                <a:gd name="T43" fmla="*/ 0 h 57"/>
                <a:gd name="T44" fmla="*/ 1 w 119"/>
                <a:gd name="T45" fmla="*/ 0 h 57"/>
                <a:gd name="T46" fmla="*/ 1 w 119"/>
                <a:gd name="T47" fmla="*/ 0 h 57"/>
                <a:gd name="T48" fmla="*/ 0 w 119"/>
                <a:gd name="T49" fmla="*/ 0 h 57"/>
                <a:gd name="T50" fmla="*/ 0 w 119"/>
                <a:gd name="T51" fmla="*/ 0 h 57"/>
                <a:gd name="T52" fmla="*/ 0 w 119"/>
                <a:gd name="T53" fmla="*/ 0 h 57"/>
                <a:gd name="T54" fmla="*/ 0 w 119"/>
                <a:gd name="T55" fmla="*/ 0 h 57"/>
                <a:gd name="T56" fmla="*/ 0 w 119"/>
                <a:gd name="T57" fmla="*/ 0 h 57"/>
                <a:gd name="T58" fmla="*/ 0 w 119"/>
                <a:gd name="T59" fmla="*/ 0 h 57"/>
                <a:gd name="T60" fmla="*/ 0 w 119"/>
                <a:gd name="T61" fmla="*/ 0 h 57"/>
                <a:gd name="T62" fmla="*/ 0 w 119"/>
                <a:gd name="T63" fmla="*/ 0 h 57"/>
                <a:gd name="T64" fmla="*/ 0 w 119"/>
                <a:gd name="T65" fmla="*/ 0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76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1 h 52"/>
                <a:gd name="T2" fmla="*/ 0 w 107"/>
                <a:gd name="T3" fmla="*/ 1 h 52"/>
                <a:gd name="T4" fmla="*/ 0 w 107"/>
                <a:gd name="T5" fmla="*/ 1 h 52"/>
                <a:gd name="T6" fmla="*/ 0 w 107"/>
                <a:gd name="T7" fmla="*/ 1 h 52"/>
                <a:gd name="T8" fmla="*/ 0 w 107"/>
                <a:gd name="T9" fmla="*/ 1 h 52"/>
                <a:gd name="T10" fmla="*/ 0 w 107"/>
                <a:gd name="T11" fmla="*/ 1 h 52"/>
                <a:gd name="T12" fmla="*/ 0 w 107"/>
                <a:gd name="T13" fmla="*/ 1 h 52"/>
                <a:gd name="T14" fmla="*/ 0 w 107"/>
                <a:gd name="T15" fmla="*/ 1 h 52"/>
                <a:gd name="T16" fmla="*/ 1 w 107"/>
                <a:gd name="T17" fmla="*/ 1 h 52"/>
                <a:gd name="T18" fmla="*/ 1 w 107"/>
                <a:gd name="T19" fmla="*/ 1 h 52"/>
                <a:gd name="T20" fmla="*/ 1 w 107"/>
                <a:gd name="T21" fmla="*/ 1 h 52"/>
                <a:gd name="T22" fmla="*/ 1 w 107"/>
                <a:gd name="T23" fmla="*/ 0 h 52"/>
                <a:gd name="T24" fmla="*/ 1 w 107"/>
                <a:gd name="T25" fmla="*/ 0 h 52"/>
                <a:gd name="T26" fmla="*/ 1 w 107"/>
                <a:gd name="T27" fmla="*/ 0 h 52"/>
                <a:gd name="T28" fmla="*/ 1 w 107"/>
                <a:gd name="T29" fmla="*/ 0 h 52"/>
                <a:gd name="T30" fmla="*/ 1 w 107"/>
                <a:gd name="T31" fmla="*/ 0 h 52"/>
                <a:gd name="T32" fmla="*/ 1 w 107"/>
                <a:gd name="T33" fmla="*/ 0 h 52"/>
                <a:gd name="T34" fmla="*/ 1 w 107"/>
                <a:gd name="T35" fmla="*/ 0 h 52"/>
                <a:gd name="T36" fmla="*/ 1 w 107"/>
                <a:gd name="T37" fmla="*/ 0 h 52"/>
                <a:gd name="T38" fmla="*/ 1 w 107"/>
                <a:gd name="T39" fmla="*/ 0 h 52"/>
                <a:gd name="T40" fmla="*/ 0 w 107"/>
                <a:gd name="T41" fmla="*/ 0 h 52"/>
                <a:gd name="T42" fmla="*/ 0 w 107"/>
                <a:gd name="T43" fmla="*/ 0 h 52"/>
                <a:gd name="T44" fmla="*/ 0 w 107"/>
                <a:gd name="T45" fmla="*/ 0 h 52"/>
                <a:gd name="T46" fmla="*/ 0 w 107"/>
                <a:gd name="T47" fmla="*/ 0 h 52"/>
                <a:gd name="T48" fmla="*/ 0 w 107"/>
                <a:gd name="T49" fmla="*/ 1 h 52"/>
                <a:gd name="T50" fmla="*/ 0 w 107"/>
                <a:gd name="T51" fmla="*/ 1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77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0 w 246"/>
                <a:gd name="T1" fmla="*/ 1 h 99"/>
                <a:gd name="T2" fmla="*/ 0 w 246"/>
                <a:gd name="T3" fmla="*/ 1 h 99"/>
                <a:gd name="T4" fmla="*/ 0 w 246"/>
                <a:gd name="T5" fmla="*/ 1 h 99"/>
                <a:gd name="T6" fmla="*/ 0 w 246"/>
                <a:gd name="T7" fmla="*/ 1 h 99"/>
                <a:gd name="T8" fmla="*/ 0 w 246"/>
                <a:gd name="T9" fmla="*/ 1 h 99"/>
                <a:gd name="T10" fmla="*/ 0 w 246"/>
                <a:gd name="T11" fmla="*/ 1 h 99"/>
                <a:gd name="T12" fmla="*/ 0 w 246"/>
                <a:gd name="T13" fmla="*/ 1 h 99"/>
                <a:gd name="T14" fmla="*/ 0 w 246"/>
                <a:gd name="T15" fmla="*/ 1 h 99"/>
                <a:gd name="T16" fmla="*/ 0 w 246"/>
                <a:gd name="T17" fmla="*/ 1 h 99"/>
                <a:gd name="T18" fmla="*/ 0 w 246"/>
                <a:gd name="T19" fmla="*/ 1 h 99"/>
                <a:gd name="T20" fmla="*/ 0 w 246"/>
                <a:gd name="T21" fmla="*/ 1 h 99"/>
                <a:gd name="T22" fmla="*/ 0 w 246"/>
                <a:gd name="T23" fmla="*/ 1 h 99"/>
                <a:gd name="T24" fmla="*/ 0 w 246"/>
                <a:gd name="T25" fmla="*/ 1 h 99"/>
                <a:gd name="T26" fmla="*/ 0 w 246"/>
                <a:gd name="T27" fmla="*/ 1 h 99"/>
                <a:gd name="T28" fmla="*/ 0 w 246"/>
                <a:gd name="T29" fmla="*/ 0 h 99"/>
                <a:gd name="T30" fmla="*/ 0 w 246"/>
                <a:gd name="T31" fmla="*/ 0 h 99"/>
                <a:gd name="T32" fmla="*/ 0 w 246"/>
                <a:gd name="T33" fmla="*/ 0 h 99"/>
                <a:gd name="T34" fmla="*/ 1 w 246"/>
                <a:gd name="T35" fmla="*/ 0 h 99"/>
                <a:gd name="T36" fmla="*/ 1 w 246"/>
                <a:gd name="T37" fmla="*/ 0 h 99"/>
                <a:gd name="T38" fmla="*/ 1 w 246"/>
                <a:gd name="T39" fmla="*/ 0 h 99"/>
                <a:gd name="T40" fmla="*/ 1 w 246"/>
                <a:gd name="T41" fmla="*/ 0 h 99"/>
                <a:gd name="T42" fmla="*/ 1 w 246"/>
                <a:gd name="T43" fmla="*/ 0 h 99"/>
                <a:gd name="T44" fmla="*/ 1 w 246"/>
                <a:gd name="T45" fmla="*/ 0 h 99"/>
                <a:gd name="T46" fmla="*/ 1 w 246"/>
                <a:gd name="T47" fmla="*/ 0 h 99"/>
                <a:gd name="T48" fmla="*/ 1 w 246"/>
                <a:gd name="T49" fmla="*/ 0 h 99"/>
                <a:gd name="T50" fmla="*/ 2 w 246"/>
                <a:gd name="T51" fmla="*/ 0 h 99"/>
                <a:gd name="T52" fmla="*/ 2 w 246"/>
                <a:gd name="T53" fmla="*/ 0 h 99"/>
                <a:gd name="T54" fmla="*/ 2 w 246"/>
                <a:gd name="T55" fmla="*/ 0 h 99"/>
                <a:gd name="T56" fmla="*/ 3 w 246"/>
                <a:gd name="T57" fmla="*/ 0 h 99"/>
                <a:gd name="T58" fmla="*/ 3 w 246"/>
                <a:gd name="T59" fmla="*/ 0 h 99"/>
                <a:gd name="T60" fmla="*/ 3 w 246"/>
                <a:gd name="T61" fmla="*/ 0 h 99"/>
                <a:gd name="T62" fmla="*/ 3 w 246"/>
                <a:gd name="T63" fmla="*/ 0 h 99"/>
                <a:gd name="T64" fmla="*/ 3 w 246"/>
                <a:gd name="T65" fmla="*/ 0 h 99"/>
                <a:gd name="T66" fmla="*/ 2 w 246"/>
                <a:gd name="T67" fmla="*/ 0 h 99"/>
                <a:gd name="T68" fmla="*/ 2 w 246"/>
                <a:gd name="T69" fmla="*/ 1 h 99"/>
                <a:gd name="T70" fmla="*/ 2 w 246"/>
                <a:gd name="T71" fmla="*/ 1 h 99"/>
                <a:gd name="T72" fmla="*/ 2 w 246"/>
                <a:gd name="T73" fmla="*/ 1 h 99"/>
                <a:gd name="T74" fmla="*/ 2 w 246"/>
                <a:gd name="T75" fmla="*/ 1 h 99"/>
                <a:gd name="T76" fmla="*/ 2 w 246"/>
                <a:gd name="T77" fmla="*/ 1 h 99"/>
                <a:gd name="T78" fmla="*/ 1 w 246"/>
                <a:gd name="T79" fmla="*/ 1 h 99"/>
                <a:gd name="T80" fmla="*/ 1 w 246"/>
                <a:gd name="T81" fmla="*/ 1 h 99"/>
                <a:gd name="T82" fmla="*/ 1 w 246"/>
                <a:gd name="T83" fmla="*/ 1 h 99"/>
                <a:gd name="T84" fmla="*/ 1 w 246"/>
                <a:gd name="T85" fmla="*/ 1 h 99"/>
                <a:gd name="T86" fmla="*/ 1 w 246"/>
                <a:gd name="T87" fmla="*/ 1 h 99"/>
                <a:gd name="T88" fmla="*/ 1 w 246"/>
                <a:gd name="T89" fmla="*/ 1 h 99"/>
                <a:gd name="T90" fmla="*/ 1 w 246"/>
                <a:gd name="T91" fmla="*/ 1 h 99"/>
                <a:gd name="T92" fmla="*/ 1 w 246"/>
                <a:gd name="T93" fmla="*/ 1 h 99"/>
                <a:gd name="T94" fmla="*/ 1 w 246"/>
                <a:gd name="T95" fmla="*/ 1 h 99"/>
                <a:gd name="T96" fmla="*/ 1 w 246"/>
                <a:gd name="T97" fmla="*/ 1 h 99"/>
                <a:gd name="T98" fmla="*/ 1 w 246"/>
                <a:gd name="T99" fmla="*/ 1 h 99"/>
                <a:gd name="T100" fmla="*/ 0 w 246"/>
                <a:gd name="T101" fmla="*/ 1 h 99"/>
                <a:gd name="T102" fmla="*/ 0 w 246"/>
                <a:gd name="T103" fmla="*/ 1 h 99"/>
                <a:gd name="T104" fmla="*/ 0 w 246"/>
                <a:gd name="T105" fmla="*/ 1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78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0 w 233"/>
                <a:gd name="T1" fmla="*/ 1 h 123"/>
                <a:gd name="T2" fmla="*/ 0 w 233"/>
                <a:gd name="T3" fmla="*/ 1 h 123"/>
                <a:gd name="T4" fmla="*/ 0 w 233"/>
                <a:gd name="T5" fmla="*/ 1 h 123"/>
                <a:gd name="T6" fmla="*/ 0 w 233"/>
                <a:gd name="T7" fmla="*/ 0 h 123"/>
                <a:gd name="T8" fmla="*/ 0 w 233"/>
                <a:gd name="T9" fmla="*/ 0 h 123"/>
                <a:gd name="T10" fmla="*/ 1 w 233"/>
                <a:gd name="T11" fmla="*/ 0 h 123"/>
                <a:gd name="T12" fmla="*/ 1 w 233"/>
                <a:gd name="T13" fmla="*/ 0 h 123"/>
                <a:gd name="T14" fmla="*/ 1 w 233"/>
                <a:gd name="T15" fmla="*/ 0 h 123"/>
                <a:gd name="T16" fmla="*/ 1 w 233"/>
                <a:gd name="T17" fmla="*/ 0 h 123"/>
                <a:gd name="T18" fmla="*/ 1 w 233"/>
                <a:gd name="T19" fmla="*/ 0 h 123"/>
                <a:gd name="T20" fmla="*/ 2 w 233"/>
                <a:gd name="T21" fmla="*/ 0 h 123"/>
                <a:gd name="T22" fmla="*/ 2 w 233"/>
                <a:gd name="T23" fmla="*/ 0 h 123"/>
                <a:gd name="T24" fmla="*/ 2 w 233"/>
                <a:gd name="T25" fmla="*/ 0 h 123"/>
                <a:gd name="T26" fmla="*/ 2 w 233"/>
                <a:gd name="T27" fmla="*/ 0 h 123"/>
                <a:gd name="T28" fmla="*/ 2 w 233"/>
                <a:gd name="T29" fmla="*/ 0 h 123"/>
                <a:gd name="T30" fmla="*/ 3 w 233"/>
                <a:gd name="T31" fmla="*/ 0 h 123"/>
                <a:gd name="T32" fmla="*/ 3 w 233"/>
                <a:gd name="T33" fmla="*/ 0 h 123"/>
                <a:gd name="T34" fmla="*/ 3 w 233"/>
                <a:gd name="T35" fmla="*/ 0 h 123"/>
                <a:gd name="T36" fmla="*/ 3 w 233"/>
                <a:gd name="T37" fmla="*/ 0 h 123"/>
                <a:gd name="T38" fmla="*/ 2 w 233"/>
                <a:gd name="T39" fmla="*/ 0 h 123"/>
                <a:gd name="T40" fmla="*/ 2 w 233"/>
                <a:gd name="T41" fmla="*/ 1 h 123"/>
                <a:gd name="T42" fmla="*/ 2 w 233"/>
                <a:gd name="T43" fmla="*/ 1 h 123"/>
                <a:gd name="T44" fmla="*/ 2 w 233"/>
                <a:gd name="T45" fmla="*/ 1 h 123"/>
                <a:gd name="T46" fmla="*/ 2 w 233"/>
                <a:gd name="T47" fmla="*/ 1 h 123"/>
                <a:gd name="T48" fmla="*/ 2 w 233"/>
                <a:gd name="T49" fmla="*/ 1 h 123"/>
                <a:gd name="T50" fmla="*/ 1 w 233"/>
                <a:gd name="T51" fmla="*/ 1 h 123"/>
                <a:gd name="T52" fmla="*/ 1 w 233"/>
                <a:gd name="T53" fmla="*/ 1 h 123"/>
                <a:gd name="T54" fmla="*/ 1 w 233"/>
                <a:gd name="T55" fmla="*/ 1 h 123"/>
                <a:gd name="T56" fmla="*/ 1 w 233"/>
                <a:gd name="T57" fmla="*/ 1 h 123"/>
                <a:gd name="T58" fmla="*/ 1 w 233"/>
                <a:gd name="T59" fmla="*/ 1 h 123"/>
                <a:gd name="T60" fmla="*/ 1 w 233"/>
                <a:gd name="T61" fmla="*/ 1 h 123"/>
                <a:gd name="T62" fmla="*/ 1 w 233"/>
                <a:gd name="T63" fmla="*/ 1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79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2 h 172"/>
                <a:gd name="T2" fmla="*/ 0 w 484"/>
                <a:gd name="T3" fmla="*/ 2 h 172"/>
                <a:gd name="T4" fmla="*/ 0 w 484"/>
                <a:gd name="T5" fmla="*/ 2 h 172"/>
                <a:gd name="T6" fmla="*/ 0 w 484"/>
                <a:gd name="T7" fmla="*/ 2 h 172"/>
                <a:gd name="T8" fmla="*/ 0 w 484"/>
                <a:gd name="T9" fmla="*/ 2 h 172"/>
                <a:gd name="T10" fmla="*/ 1 w 484"/>
                <a:gd name="T11" fmla="*/ 2 h 172"/>
                <a:gd name="T12" fmla="*/ 1 w 484"/>
                <a:gd name="T13" fmla="*/ 2 h 172"/>
                <a:gd name="T14" fmla="*/ 1 w 484"/>
                <a:gd name="T15" fmla="*/ 2 h 172"/>
                <a:gd name="T16" fmla="*/ 2 w 484"/>
                <a:gd name="T17" fmla="*/ 2 h 172"/>
                <a:gd name="T18" fmla="*/ 2 w 484"/>
                <a:gd name="T19" fmla="*/ 2 h 172"/>
                <a:gd name="T20" fmla="*/ 3 w 484"/>
                <a:gd name="T21" fmla="*/ 1 h 172"/>
                <a:gd name="T22" fmla="*/ 3 w 484"/>
                <a:gd name="T23" fmla="*/ 1 h 172"/>
                <a:gd name="T24" fmla="*/ 4 w 484"/>
                <a:gd name="T25" fmla="*/ 1 h 172"/>
                <a:gd name="T26" fmla="*/ 5 w 484"/>
                <a:gd name="T27" fmla="*/ 1 h 172"/>
                <a:gd name="T28" fmla="*/ 5 w 484"/>
                <a:gd name="T29" fmla="*/ 1 h 172"/>
                <a:gd name="T30" fmla="*/ 5 w 484"/>
                <a:gd name="T31" fmla="*/ 1 h 172"/>
                <a:gd name="T32" fmla="*/ 5 w 484"/>
                <a:gd name="T33" fmla="*/ 1 h 172"/>
                <a:gd name="T34" fmla="*/ 6 w 484"/>
                <a:gd name="T35" fmla="*/ 0 h 172"/>
                <a:gd name="T36" fmla="*/ 5 w 484"/>
                <a:gd name="T37" fmla="*/ 0 h 172"/>
                <a:gd name="T38" fmla="*/ 4 w 484"/>
                <a:gd name="T39" fmla="*/ 0 h 172"/>
                <a:gd name="T40" fmla="*/ 4 w 484"/>
                <a:gd name="T41" fmla="*/ 0 h 172"/>
                <a:gd name="T42" fmla="*/ 3 w 484"/>
                <a:gd name="T43" fmla="*/ 0 h 172"/>
                <a:gd name="T44" fmla="*/ 3 w 484"/>
                <a:gd name="T45" fmla="*/ 0 h 172"/>
                <a:gd name="T46" fmla="*/ 2 w 484"/>
                <a:gd name="T47" fmla="*/ 0 h 172"/>
                <a:gd name="T48" fmla="*/ 2 w 484"/>
                <a:gd name="T49" fmla="*/ 0 h 172"/>
                <a:gd name="T50" fmla="*/ 2 w 484"/>
                <a:gd name="T51" fmla="*/ 0 h 172"/>
                <a:gd name="T52" fmla="*/ 2 w 484"/>
                <a:gd name="T53" fmla="*/ 0 h 172"/>
                <a:gd name="T54" fmla="*/ 2 w 484"/>
                <a:gd name="T55" fmla="*/ 0 h 172"/>
                <a:gd name="T56" fmla="*/ 2 w 484"/>
                <a:gd name="T57" fmla="*/ 0 h 172"/>
                <a:gd name="T58" fmla="*/ 2 w 484"/>
                <a:gd name="T59" fmla="*/ 0 h 172"/>
                <a:gd name="T60" fmla="*/ 2 w 484"/>
                <a:gd name="T61" fmla="*/ 1 h 172"/>
                <a:gd name="T62" fmla="*/ 1 w 484"/>
                <a:gd name="T63" fmla="*/ 1 h 172"/>
                <a:gd name="T64" fmla="*/ 1 w 484"/>
                <a:gd name="T65" fmla="*/ 1 h 172"/>
                <a:gd name="T66" fmla="*/ 1 w 484"/>
                <a:gd name="T67" fmla="*/ 1 h 172"/>
                <a:gd name="T68" fmla="*/ 0 w 484"/>
                <a:gd name="T69" fmla="*/ 1 h 172"/>
                <a:gd name="T70" fmla="*/ 0 w 484"/>
                <a:gd name="T71" fmla="*/ 1 h 172"/>
                <a:gd name="T72" fmla="*/ 0 w 484"/>
                <a:gd name="T73" fmla="*/ 1 h 172"/>
                <a:gd name="T74" fmla="*/ 0 w 484"/>
                <a:gd name="T75" fmla="*/ 1 h 172"/>
                <a:gd name="T76" fmla="*/ 0 w 484"/>
                <a:gd name="T77" fmla="*/ 2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80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4 w 684"/>
                <a:gd name="T1" fmla="*/ 0 h 240"/>
                <a:gd name="T2" fmla="*/ 3 w 684"/>
                <a:gd name="T3" fmla="*/ 0 h 240"/>
                <a:gd name="T4" fmla="*/ 3 w 684"/>
                <a:gd name="T5" fmla="*/ 0 h 240"/>
                <a:gd name="T6" fmla="*/ 3 w 684"/>
                <a:gd name="T7" fmla="*/ 1 h 240"/>
                <a:gd name="T8" fmla="*/ 4 w 684"/>
                <a:gd name="T9" fmla="*/ 0 h 240"/>
                <a:gd name="T10" fmla="*/ 4 w 684"/>
                <a:gd name="T11" fmla="*/ 0 h 240"/>
                <a:gd name="T12" fmla="*/ 4 w 684"/>
                <a:gd name="T13" fmla="*/ 0 h 240"/>
                <a:gd name="T14" fmla="*/ 4 w 684"/>
                <a:gd name="T15" fmla="*/ 1 h 240"/>
                <a:gd name="T16" fmla="*/ 5 w 684"/>
                <a:gd name="T17" fmla="*/ 1 h 240"/>
                <a:gd name="T18" fmla="*/ 5 w 684"/>
                <a:gd name="T19" fmla="*/ 1 h 240"/>
                <a:gd name="T20" fmla="*/ 5 w 684"/>
                <a:gd name="T21" fmla="*/ 1 h 240"/>
                <a:gd name="T22" fmla="*/ 6 w 684"/>
                <a:gd name="T23" fmla="*/ 1 h 240"/>
                <a:gd name="T24" fmla="*/ 6 w 684"/>
                <a:gd name="T25" fmla="*/ 1 h 240"/>
                <a:gd name="T26" fmla="*/ 6 w 684"/>
                <a:gd name="T27" fmla="*/ 0 h 240"/>
                <a:gd name="T28" fmla="*/ 6 w 684"/>
                <a:gd name="T29" fmla="*/ 0 h 240"/>
                <a:gd name="T30" fmla="*/ 6 w 684"/>
                <a:gd name="T31" fmla="*/ 0 h 240"/>
                <a:gd name="T32" fmla="*/ 7 w 684"/>
                <a:gd name="T33" fmla="*/ 0 h 240"/>
                <a:gd name="T34" fmla="*/ 7 w 684"/>
                <a:gd name="T35" fmla="*/ 0 h 240"/>
                <a:gd name="T36" fmla="*/ 7 w 684"/>
                <a:gd name="T37" fmla="*/ 0 h 240"/>
                <a:gd name="T38" fmla="*/ 7 w 684"/>
                <a:gd name="T39" fmla="*/ 1 h 240"/>
                <a:gd name="T40" fmla="*/ 7 w 684"/>
                <a:gd name="T41" fmla="*/ 1 h 240"/>
                <a:gd name="T42" fmla="*/ 7 w 684"/>
                <a:gd name="T43" fmla="*/ 1 h 240"/>
                <a:gd name="T44" fmla="*/ 7 w 684"/>
                <a:gd name="T45" fmla="*/ 2 h 240"/>
                <a:gd name="T46" fmla="*/ 7 w 684"/>
                <a:gd name="T47" fmla="*/ 2 h 240"/>
                <a:gd name="T48" fmla="*/ 7 w 684"/>
                <a:gd name="T49" fmla="*/ 2 h 240"/>
                <a:gd name="T50" fmla="*/ 7 w 684"/>
                <a:gd name="T51" fmla="*/ 2 h 240"/>
                <a:gd name="T52" fmla="*/ 6 w 684"/>
                <a:gd name="T53" fmla="*/ 2 h 240"/>
                <a:gd name="T54" fmla="*/ 6 w 684"/>
                <a:gd name="T55" fmla="*/ 2 h 240"/>
                <a:gd name="T56" fmla="*/ 6 w 684"/>
                <a:gd name="T57" fmla="*/ 2 h 240"/>
                <a:gd name="T58" fmla="*/ 6 w 684"/>
                <a:gd name="T59" fmla="*/ 2 h 240"/>
                <a:gd name="T60" fmla="*/ 6 w 684"/>
                <a:gd name="T61" fmla="*/ 3 h 240"/>
                <a:gd name="T62" fmla="*/ 5 w 684"/>
                <a:gd name="T63" fmla="*/ 3 h 240"/>
                <a:gd name="T64" fmla="*/ 5 w 684"/>
                <a:gd name="T65" fmla="*/ 2 h 240"/>
                <a:gd name="T66" fmla="*/ 5 w 684"/>
                <a:gd name="T67" fmla="*/ 2 h 240"/>
                <a:gd name="T68" fmla="*/ 4 w 684"/>
                <a:gd name="T69" fmla="*/ 3 h 240"/>
                <a:gd name="T70" fmla="*/ 3 w 684"/>
                <a:gd name="T71" fmla="*/ 3 h 240"/>
                <a:gd name="T72" fmla="*/ 2 w 684"/>
                <a:gd name="T73" fmla="*/ 3 h 240"/>
                <a:gd name="T74" fmla="*/ 1 w 684"/>
                <a:gd name="T75" fmla="*/ 3 h 240"/>
                <a:gd name="T76" fmla="*/ 1 w 684"/>
                <a:gd name="T77" fmla="*/ 3 h 240"/>
                <a:gd name="T78" fmla="*/ 1 w 684"/>
                <a:gd name="T79" fmla="*/ 2 h 240"/>
                <a:gd name="T80" fmla="*/ 0 w 684"/>
                <a:gd name="T81" fmla="*/ 2 h 240"/>
                <a:gd name="T82" fmla="*/ 0 w 684"/>
                <a:gd name="T83" fmla="*/ 2 h 240"/>
                <a:gd name="T84" fmla="*/ 1 w 684"/>
                <a:gd name="T85" fmla="*/ 2 h 240"/>
                <a:gd name="T86" fmla="*/ 1 w 684"/>
                <a:gd name="T87" fmla="*/ 2 h 240"/>
                <a:gd name="T88" fmla="*/ 2 w 684"/>
                <a:gd name="T89" fmla="*/ 2 h 240"/>
                <a:gd name="T90" fmla="*/ 2 w 684"/>
                <a:gd name="T91" fmla="*/ 2 h 240"/>
                <a:gd name="T92" fmla="*/ 2 w 684"/>
                <a:gd name="T93" fmla="*/ 2 h 240"/>
                <a:gd name="T94" fmla="*/ 0 w 684"/>
                <a:gd name="T95" fmla="*/ 2 h 240"/>
                <a:gd name="T96" fmla="*/ 1 w 684"/>
                <a:gd name="T97" fmla="*/ 2 h 240"/>
                <a:gd name="T98" fmla="*/ 1 w 684"/>
                <a:gd name="T99" fmla="*/ 1 h 240"/>
                <a:gd name="T100" fmla="*/ 2 w 684"/>
                <a:gd name="T101" fmla="*/ 1 h 240"/>
                <a:gd name="T102" fmla="*/ 2 w 684"/>
                <a:gd name="T103" fmla="*/ 1 h 240"/>
                <a:gd name="T104" fmla="*/ 2 w 684"/>
                <a:gd name="T105" fmla="*/ 1 h 240"/>
                <a:gd name="T106" fmla="*/ 1 w 684"/>
                <a:gd name="T107" fmla="*/ 1 h 240"/>
                <a:gd name="T108" fmla="*/ 1 w 684"/>
                <a:gd name="T109" fmla="*/ 1 h 240"/>
                <a:gd name="T110" fmla="*/ 1 w 684"/>
                <a:gd name="T111" fmla="*/ 1 h 240"/>
                <a:gd name="T112" fmla="*/ 1 w 684"/>
                <a:gd name="T113" fmla="*/ 1 h 240"/>
                <a:gd name="T114" fmla="*/ 1 w 684"/>
                <a:gd name="T115" fmla="*/ 1 h 240"/>
                <a:gd name="T116" fmla="*/ 1 w 684"/>
                <a:gd name="T117" fmla="*/ 1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81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2 w 332"/>
                <a:gd name="T1" fmla="*/ 0 h 287"/>
                <a:gd name="T2" fmla="*/ 2 w 332"/>
                <a:gd name="T3" fmla="*/ 0 h 287"/>
                <a:gd name="T4" fmla="*/ 3 w 332"/>
                <a:gd name="T5" fmla="*/ 0 h 287"/>
                <a:gd name="T6" fmla="*/ 3 w 332"/>
                <a:gd name="T7" fmla="*/ 0 h 287"/>
                <a:gd name="T8" fmla="*/ 3 w 332"/>
                <a:gd name="T9" fmla="*/ 0 h 287"/>
                <a:gd name="T10" fmla="*/ 3 w 332"/>
                <a:gd name="T11" fmla="*/ 0 h 287"/>
                <a:gd name="T12" fmla="*/ 3 w 332"/>
                <a:gd name="T13" fmla="*/ 0 h 287"/>
                <a:gd name="T14" fmla="*/ 2 w 332"/>
                <a:gd name="T15" fmla="*/ 1 h 287"/>
                <a:gd name="T16" fmla="*/ 2 w 332"/>
                <a:gd name="T17" fmla="*/ 1 h 287"/>
                <a:gd name="T18" fmla="*/ 2 w 332"/>
                <a:gd name="T19" fmla="*/ 1 h 287"/>
                <a:gd name="T20" fmla="*/ 2 w 332"/>
                <a:gd name="T21" fmla="*/ 1 h 287"/>
                <a:gd name="T22" fmla="*/ 2 w 332"/>
                <a:gd name="T23" fmla="*/ 1 h 287"/>
                <a:gd name="T24" fmla="*/ 2 w 332"/>
                <a:gd name="T25" fmla="*/ 1 h 287"/>
                <a:gd name="T26" fmla="*/ 3 w 332"/>
                <a:gd name="T27" fmla="*/ 1 h 287"/>
                <a:gd name="T28" fmla="*/ 2 w 332"/>
                <a:gd name="T29" fmla="*/ 1 h 287"/>
                <a:gd name="T30" fmla="*/ 2 w 332"/>
                <a:gd name="T31" fmla="*/ 1 h 287"/>
                <a:gd name="T32" fmla="*/ 2 w 332"/>
                <a:gd name="T33" fmla="*/ 1 h 287"/>
                <a:gd name="T34" fmla="*/ 3 w 332"/>
                <a:gd name="T35" fmla="*/ 1 h 287"/>
                <a:gd name="T36" fmla="*/ 4 w 332"/>
                <a:gd name="T37" fmla="*/ 1 h 287"/>
                <a:gd name="T38" fmla="*/ 4 w 332"/>
                <a:gd name="T39" fmla="*/ 2 h 287"/>
                <a:gd name="T40" fmla="*/ 4 w 332"/>
                <a:gd name="T41" fmla="*/ 2 h 287"/>
                <a:gd name="T42" fmla="*/ 3 w 332"/>
                <a:gd name="T43" fmla="*/ 2 h 287"/>
                <a:gd name="T44" fmla="*/ 3 w 332"/>
                <a:gd name="T45" fmla="*/ 2 h 287"/>
                <a:gd name="T46" fmla="*/ 3 w 332"/>
                <a:gd name="T47" fmla="*/ 2 h 287"/>
                <a:gd name="T48" fmla="*/ 4 w 332"/>
                <a:gd name="T49" fmla="*/ 2 h 287"/>
                <a:gd name="T50" fmla="*/ 4 w 332"/>
                <a:gd name="T51" fmla="*/ 2 h 287"/>
                <a:gd name="T52" fmla="*/ 4 w 332"/>
                <a:gd name="T53" fmla="*/ 2 h 287"/>
                <a:gd name="T54" fmla="*/ 3 w 332"/>
                <a:gd name="T55" fmla="*/ 2 h 287"/>
                <a:gd name="T56" fmla="*/ 3 w 332"/>
                <a:gd name="T57" fmla="*/ 3 h 287"/>
                <a:gd name="T58" fmla="*/ 2 w 332"/>
                <a:gd name="T59" fmla="*/ 3 h 287"/>
                <a:gd name="T60" fmla="*/ 2 w 332"/>
                <a:gd name="T61" fmla="*/ 3 h 287"/>
                <a:gd name="T62" fmla="*/ 2 w 332"/>
                <a:gd name="T63" fmla="*/ 3 h 287"/>
                <a:gd name="T64" fmla="*/ 2 w 332"/>
                <a:gd name="T65" fmla="*/ 3 h 287"/>
                <a:gd name="T66" fmla="*/ 2 w 332"/>
                <a:gd name="T67" fmla="*/ 3 h 287"/>
                <a:gd name="T68" fmla="*/ 2 w 332"/>
                <a:gd name="T69" fmla="*/ 3 h 287"/>
                <a:gd name="T70" fmla="*/ 1 w 332"/>
                <a:gd name="T71" fmla="*/ 3 h 287"/>
                <a:gd name="T72" fmla="*/ 1 w 332"/>
                <a:gd name="T73" fmla="*/ 3 h 287"/>
                <a:gd name="T74" fmla="*/ 0 w 332"/>
                <a:gd name="T75" fmla="*/ 3 h 287"/>
                <a:gd name="T76" fmla="*/ 0 w 332"/>
                <a:gd name="T77" fmla="*/ 3 h 287"/>
                <a:gd name="T78" fmla="*/ 0 w 332"/>
                <a:gd name="T79" fmla="*/ 2 h 287"/>
                <a:gd name="T80" fmla="*/ 0 w 332"/>
                <a:gd name="T81" fmla="*/ 2 h 287"/>
                <a:gd name="T82" fmla="*/ 0 w 332"/>
                <a:gd name="T83" fmla="*/ 2 h 287"/>
                <a:gd name="T84" fmla="*/ 0 w 332"/>
                <a:gd name="T85" fmla="*/ 2 h 287"/>
                <a:gd name="T86" fmla="*/ 0 w 332"/>
                <a:gd name="T87" fmla="*/ 2 h 287"/>
                <a:gd name="T88" fmla="*/ 1 w 332"/>
                <a:gd name="T89" fmla="*/ 2 h 287"/>
                <a:gd name="T90" fmla="*/ 1 w 332"/>
                <a:gd name="T91" fmla="*/ 2 h 287"/>
                <a:gd name="T92" fmla="*/ 1 w 332"/>
                <a:gd name="T93" fmla="*/ 2 h 287"/>
                <a:gd name="T94" fmla="*/ 1 w 332"/>
                <a:gd name="T95" fmla="*/ 2 h 287"/>
                <a:gd name="T96" fmla="*/ 1 w 332"/>
                <a:gd name="T97" fmla="*/ 1 h 287"/>
                <a:gd name="T98" fmla="*/ 2 w 332"/>
                <a:gd name="T99" fmla="*/ 1 h 287"/>
                <a:gd name="T100" fmla="*/ 2 w 332"/>
                <a:gd name="T101" fmla="*/ 1 h 287"/>
                <a:gd name="T102" fmla="*/ 2 w 332"/>
                <a:gd name="T103" fmla="*/ 1 h 287"/>
                <a:gd name="T104" fmla="*/ 2 w 332"/>
                <a:gd name="T105" fmla="*/ 1 h 287"/>
                <a:gd name="T106" fmla="*/ 2 w 332"/>
                <a:gd name="T107" fmla="*/ 0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82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 w 345"/>
                <a:gd name="T1" fmla="*/ 1 h 86"/>
                <a:gd name="T2" fmla="*/ 1 w 345"/>
                <a:gd name="T3" fmla="*/ 1 h 86"/>
                <a:gd name="T4" fmla="*/ 2 w 345"/>
                <a:gd name="T5" fmla="*/ 1 h 86"/>
                <a:gd name="T6" fmla="*/ 2 w 345"/>
                <a:gd name="T7" fmla="*/ 1 h 86"/>
                <a:gd name="T8" fmla="*/ 2 w 345"/>
                <a:gd name="T9" fmla="*/ 1 h 86"/>
                <a:gd name="T10" fmla="*/ 2 w 345"/>
                <a:gd name="T11" fmla="*/ 1 h 86"/>
                <a:gd name="T12" fmla="*/ 3 w 345"/>
                <a:gd name="T13" fmla="*/ 1 h 86"/>
                <a:gd name="T14" fmla="*/ 3 w 345"/>
                <a:gd name="T15" fmla="*/ 1 h 86"/>
                <a:gd name="T16" fmla="*/ 3 w 345"/>
                <a:gd name="T17" fmla="*/ 1 h 86"/>
                <a:gd name="T18" fmla="*/ 3 w 345"/>
                <a:gd name="T19" fmla="*/ 0 h 86"/>
                <a:gd name="T20" fmla="*/ 3 w 345"/>
                <a:gd name="T21" fmla="*/ 0 h 86"/>
                <a:gd name="T22" fmla="*/ 3 w 345"/>
                <a:gd name="T23" fmla="*/ 0 h 86"/>
                <a:gd name="T24" fmla="*/ 4 w 345"/>
                <a:gd name="T25" fmla="*/ 0 h 86"/>
                <a:gd name="T26" fmla="*/ 4 w 345"/>
                <a:gd name="T27" fmla="*/ 0 h 86"/>
                <a:gd name="T28" fmla="*/ 4 w 345"/>
                <a:gd name="T29" fmla="*/ 0 h 86"/>
                <a:gd name="T30" fmla="*/ 4 w 345"/>
                <a:gd name="T31" fmla="*/ 0 h 86"/>
                <a:gd name="T32" fmla="*/ 4 w 345"/>
                <a:gd name="T33" fmla="*/ 0 h 86"/>
                <a:gd name="T34" fmla="*/ 4 w 345"/>
                <a:gd name="T35" fmla="*/ 0 h 86"/>
                <a:gd name="T36" fmla="*/ 3 w 345"/>
                <a:gd name="T37" fmla="*/ 0 h 86"/>
                <a:gd name="T38" fmla="*/ 3 w 345"/>
                <a:gd name="T39" fmla="*/ 0 h 86"/>
                <a:gd name="T40" fmla="*/ 3 w 345"/>
                <a:gd name="T41" fmla="*/ 0 h 86"/>
                <a:gd name="T42" fmla="*/ 3 w 345"/>
                <a:gd name="T43" fmla="*/ 0 h 86"/>
                <a:gd name="T44" fmla="*/ 3 w 345"/>
                <a:gd name="T45" fmla="*/ 0 h 86"/>
                <a:gd name="T46" fmla="*/ 3 w 345"/>
                <a:gd name="T47" fmla="*/ 0 h 86"/>
                <a:gd name="T48" fmla="*/ 3 w 345"/>
                <a:gd name="T49" fmla="*/ 0 h 86"/>
                <a:gd name="T50" fmla="*/ 2 w 345"/>
                <a:gd name="T51" fmla="*/ 0 h 86"/>
                <a:gd name="T52" fmla="*/ 2 w 345"/>
                <a:gd name="T53" fmla="*/ 0 h 86"/>
                <a:gd name="T54" fmla="*/ 2 w 345"/>
                <a:gd name="T55" fmla="*/ 0 h 86"/>
                <a:gd name="T56" fmla="*/ 1 w 345"/>
                <a:gd name="T57" fmla="*/ 0 h 86"/>
                <a:gd name="T58" fmla="*/ 1 w 345"/>
                <a:gd name="T59" fmla="*/ 0 h 86"/>
                <a:gd name="T60" fmla="*/ 1 w 345"/>
                <a:gd name="T61" fmla="*/ 0 h 86"/>
                <a:gd name="T62" fmla="*/ 1 w 345"/>
                <a:gd name="T63" fmla="*/ 1 h 86"/>
                <a:gd name="T64" fmla="*/ 1 w 345"/>
                <a:gd name="T65" fmla="*/ 1 h 86"/>
                <a:gd name="T66" fmla="*/ 0 w 345"/>
                <a:gd name="T67" fmla="*/ 1 h 86"/>
                <a:gd name="T68" fmla="*/ 0 w 345"/>
                <a:gd name="T69" fmla="*/ 1 h 86"/>
                <a:gd name="T70" fmla="*/ 0 w 345"/>
                <a:gd name="T71" fmla="*/ 1 h 86"/>
                <a:gd name="T72" fmla="*/ 0 w 345"/>
                <a:gd name="T73" fmla="*/ 1 h 86"/>
                <a:gd name="T74" fmla="*/ 1 w 345"/>
                <a:gd name="T75" fmla="*/ 1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83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0 w 464"/>
                <a:gd name="T1" fmla="*/ 1 h 130"/>
                <a:gd name="T2" fmla="*/ 1 w 464"/>
                <a:gd name="T3" fmla="*/ 1 h 130"/>
                <a:gd name="T4" fmla="*/ 1 w 464"/>
                <a:gd name="T5" fmla="*/ 1 h 130"/>
                <a:gd name="T6" fmla="*/ 1 w 464"/>
                <a:gd name="T7" fmla="*/ 1 h 130"/>
                <a:gd name="T8" fmla="*/ 1 w 464"/>
                <a:gd name="T9" fmla="*/ 1 h 130"/>
                <a:gd name="T10" fmla="*/ 1 w 464"/>
                <a:gd name="T11" fmla="*/ 1 h 130"/>
                <a:gd name="T12" fmla="*/ 1 w 464"/>
                <a:gd name="T13" fmla="*/ 1 h 130"/>
                <a:gd name="T14" fmla="*/ 1 w 464"/>
                <a:gd name="T15" fmla="*/ 2 h 130"/>
                <a:gd name="T16" fmla="*/ 1 w 464"/>
                <a:gd name="T17" fmla="*/ 2 h 130"/>
                <a:gd name="T18" fmla="*/ 1 w 464"/>
                <a:gd name="T19" fmla="*/ 2 h 130"/>
                <a:gd name="T20" fmla="*/ 1 w 464"/>
                <a:gd name="T21" fmla="*/ 2 h 130"/>
                <a:gd name="T22" fmla="*/ 2 w 464"/>
                <a:gd name="T23" fmla="*/ 1 h 130"/>
                <a:gd name="T24" fmla="*/ 2 w 464"/>
                <a:gd name="T25" fmla="*/ 1 h 130"/>
                <a:gd name="T26" fmla="*/ 2 w 464"/>
                <a:gd name="T27" fmla="*/ 1 h 130"/>
                <a:gd name="T28" fmla="*/ 3 w 464"/>
                <a:gd name="T29" fmla="*/ 1 h 130"/>
                <a:gd name="T30" fmla="*/ 3 w 464"/>
                <a:gd name="T31" fmla="*/ 1 h 130"/>
                <a:gd name="T32" fmla="*/ 3 w 464"/>
                <a:gd name="T33" fmla="*/ 1 h 130"/>
                <a:gd name="T34" fmla="*/ 4 w 464"/>
                <a:gd name="T35" fmla="*/ 1 h 130"/>
                <a:gd name="T36" fmla="*/ 4 w 464"/>
                <a:gd name="T37" fmla="*/ 1 h 130"/>
                <a:gd name="T38" fmla="*/ 4 w 464"/>
                <a:gd name="T39" fmla="*/ 1 h 130"/>
                <a:gd name="T40" fmla="*/ 5 w 464"/>
                <a:gd name="T41" fmla="*/ 1 h 130"/>
                <a:gd name="T42" fmla="*/ 5 w 464"/>
                <a:gd name="T43" fmla="*/ 1 h 130"/>
                <a:gd name="T44" fmla="*/ 4 w 464"/>
                <a:gd name="T45" fmla="*/ 1 h 130"/>
                <a:gd name="T46" fmla="*/ 4 w 464"/>
                <a:gd name="T47" fmla="*/ 1 h 130"/>
                <a:gd name="T48" fmla="*/ 4 w 464"/>
                <a:gd name="T49" fmla="*/ 1 h 130"/>
                <a:gd name="T50" fmla="*/ 4 w 464"/>
                <a:gd name="T51" fmla="*/ 0 h 130"/>
                <a:gd name="T52" fmla="*/ 4 w 464"/>
                <a:gd name="T53" fmla="*/ 0 h 130"/>
                <a:gd name="T54" fmla="*/ 4 w 464"/>
                <a:gd name="T55" fmla="*/ 0 h 130"/>
                <a:gd name="T56" fmla="*/ 4 w 464"/>
                <a:gd name="T57" fmla="*/ 0 h 130"/>
                <a:gd name="T58" fmla="*/ 4 w 464"/>
                <a:gd name="T59" fmla="*/ 0 h 130"/>
                <a:gd name="T60" fmla="*/ 4 w 464"/>
                <a:gd name="T61" fmla="*/ 1 h 130"/>
                <a:gd name="T62" fmla="*/ 4 w 464"/>
                <a:gd name="T63" fmla="*/ 1 h 130"/>
                <a:gd name="T64" fmla="*/ 3 w 464"/>
                <a:gd name="T65" fmla="*/ 1 h 130"/>
                <a:gd name="T66" fmla="*/ 3 w 464"/>
                <a:gd name="T67" fmla="*/ 1 h 130"/>
                <a:gd name="T68" fmla="*/ 3 w 464"/>
                <a:gd name="T69" fmla="*/ 1 h 130"/>
                <a:gd name="T70" fmla="*/ 3 w 464"/>
                <a:gd name="T71" fmla="*/ 1 h 130"/>
                <a:gd name="T72" fmla="*/ 3 w 464"/>
                <a:gd name="T73" fmla="*/ 1 h 130"/>
                <a:gd name="T74" fmla="*/ 2 w 464"/>
                <a:gd name="T75" fmla="*/ 0 h 130"/>
                <a:gd name="T76" fmla="*/ 2 w 464"/>
                <a:gd name="T77" fmla="*/ 0 h 130"/>
                <a:gd name="T78" fmla="*/ 2 w 464"/>
                <a:gd name="T79" fmla="*/ 0 h 130"/>
                <a:gd name="T80" fmla="*/ 1 w 464"/>
                <a:gd name="T81" fmla="*/ 0 h 130"/>
                <a:gd name="T82" fmla="*/ 1 w 464"/>
                <a:gd name="T83" fmla="*/ 1 h 130"/>
                <a:gd name="T84" fmla="*/ 1 w 464"/>
                <a:gd name="T85" fmla="*/ 1 h 130"/>
                <a:gd name="T86" fmla="*/ 0 w 464"/>
                <a:gd name="T87" fmla="*/ 1 h 130"/>
                <a:gd name="T88" fmla="*/ 0 w 464"/>
                <a:gd name="T89" fmla="*/ 1 h 130"/>
                <a:gd name="T90" fmla="*/ 0 w 464"/>
                <a:gd name="T91" fmla="*/ 1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84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1 w 472"/>
                <a:gd name="T1" fmla="*/ 0 h 92"/>
                <a:gd name="T2" fmla="*/ 1 w 472"/>
                <a:gd name="T3" fmla="*/ 0 h 92"/>
                <a:gd name="T4" fmla="*/ 0 w 472"/>
                <a:gd name="T5" fmla="*/ 0 h 92"/>
                <a:gd name="T6" fmla="*/ 0 w 472"/>
                <a:gd name="T7" fmla="*/ 0 h 92"/>
                <a:gd name="T8" fmla="*/ 0 w 472"/>
                <a:gd name="T9" fmla="*/ 0 h 92"/>
                <a:gd name="T10" fmla="*/ 0 w 472"/>
                <a:gd name="T11" fmla="*/ 0 h 92"/>
                <a:gd name="T12" fmla="*/ 0 w 472"/>
                <a:gd name="T13" fmla="*/ 0 h 92"/>
                <a:gd name="T14" fmla="*/ 0 w 472"/>
                <a:gd name="T15" fmla="*/ 0 h 92"/>
                <a:gd name="T16" fmla="*/ 0 w 472"/>
                <a:gd name="T17" fmla="*/ 1 h 92"/>
                <a:gd name="T18" fmla="*/ 0 w 472"/>
                <a:gd name="T19" fmla="*/ 1 h 92"/>
                <a:gd name="T20" fmla="*/ 0 w 472"/>
                <a:gd name="T21" fmla="*/ 1 h 92"/>
                <a:gd name="T22" fmla="*/ 0 w 472"/>
                <a:gd name="T23" fmla="*/ 1 h 92"/>
                <a:gd name="T24" fmla="*/ 0 w 472"/>
                <a:gd name="T25" fmla="*/ 1 h 92"/>
                <a:gd name="T26" fmla="*/ 1 w 472"/>
                <a:gd name="T27" fmla="*/ 1 h 92"/>
                <a:gd name="T28" fmla="*/ 1 w 472"/>
                <a:gd name="T29" fmla="*/ 1 h 92"/>
                <a:gd name="T30" fmla="*/ 2 w 472"/>
                <a:gd name="T31" fmla="*/ 1 h 92"/>
                <a:gd name="T32" fmla="*/ 4 w 472"/>
                <a:gd name="T33" fmla="*/ 1 h 92"/>
                <a:gd name="T34" fmla="*/ 4 w 472"/>
                <a:gd name="T35" fmla="*/ 1 h 92"/>
                <a:gd name="T36" fmla="*/ 4 w 472"/>
                <a:gd name="T37" fmla="*/ 1 h 92"/>
                <a:gd name="T38" fmla="*/ 5 w 472"/>
                <a:gd name="T39" fmla="*/ 1 h 92"/>
                <a:gd name="T40" fmla="*/ 5 w 472"/>
                <a:gd name="T41" fmla="*/ 1 h 92"/>
                <a:gd name="T42" fmla="*/ 5 w 472"/>
                <a:gd name="T43" fmla="*/ 1 h 92"/>
                <a:gd name="T44" fmla="*/ 5 w 472"/>
                <a:gd name="T45" fmla="*/ 1 h 92"/>
                <a:gd name="T46" fmla="*/ 5 w 472"/>
                <a:gd name="T47" fmla="*/ 1 h 92"/>
                <a:gd name="T48" fmla="*/ 5 w 472"/>
                <a:gd name="T49" fmla="*/ 0 h 92"/>
                <a:gd name="T50" fmla="*/ 5 w 472"/>
                <a:gd name="T51" fmla="*/ 0 h 92"/>
                <a:gd name="T52" fmla="*/ 5 w 472"/>
                <a:gd name="T53" fmla="*/ 0 h 92"/>
                <a:gd name="T54" fmla="*/ 5 w 472"/>
                <a:gd name="T55" fmla="*/ 0 h 92"/>
                <a:gd name="T56" fmla="*/ 5 w 472"/>
                <a:gd name="T57" fmla="*/ 0 h 92"/>
                <a:gd name="T58" fmla="*/ 4 w 472"/>
                <a:gd name="T59" fmla="*/ 0 h 92"/>
                <a:gd name="T60" fmla="*/ 4 w 472"/>
                <a:gd name="T61" fmla="*/ 0 h 92"/>
                <a:gd name="T62" fmla="*/ 4 w 472"/>
                <a:gd name="T63" fmla="*/ 0 h 92"/>
                <a:gd name="T64" fmla="*/ 3 w 472"/>
                <a:gd name="T65" fmla="*/ 0 h 92"/>
                <a:gd name="T66" fmla="*/ 3 w 472"/>
                <a:gd name="T67" fmla="*/ 1 h 92"/>
                <a:gd name="T68" fmla="*/ 3 w 472"/>
                <a:gd name="T69" fmla="*/ 1 h 92"/>
                <a:gd name="T70" fmla="*/ 2 w 472"/>
                <a:gd name="T71" fmla="*/ 1 h 92"/>
                <a:gd name="T72" fmla="*/ 2 w 472"/>
                <a:gd name="T73" fmla="*/ 1 h 92"/>
                <a:gd name="T74" fmla="*/ 1 w 472"/>
                <a:gd name="T75" fmla="*/ 1 h 92"/>
                <a:gd name="T76" fmla="*/ 1 w 472"/>
                <a:gd name="T77" fmla="*/ 1 h 92"/>
                <a:gd name="T78" fmla="*/ 1 w 472"/>
                <a:gd name="T79" fmla="*/ 0 h 92"/>
                <a:gd name="T80" fmla="*/ 1 w 472"/>
                <a:gd name="T81" fmla="*/ 0 h 92"/>
                <a:gd name="T82" fmla="*/ 1 w 472"/>
                <a:gd name="T83" fmla="*/ 0 h 92"/>
                <a:gd name="T84" fmla="*/ 1 w 472"/>
                <a:gd name="T85" fmla="*/ 0 h 92"/>
                <a:gd name="T86" fmla="*/ 1 w 472"/>
                <a:gd name="T87" fmla="*/ 0 h 92"/>
                <a:gd name="T88" fmla="*/ 1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85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2 w 326"/>
                <a:gd name="T1" fmla="*/ 1 h 135"/>
                <a:gd name="T2" fmla="*/ 2 w 326"/>
                <a:gd name="T3" fmla="*/ 1 h 135"/>
                <a:gd name="T4" fmla="*/ 3 w 326"/>
                <a:gd name="T5" fmla="*/ 1 h 135"/>
                <a:gd name="T6" fmla="*/ 3 w 326"/>
                <a:gd name="T7" fmla="*/ 1 h 135"/>
                <a:gd name="T8" fmla="*/ 4 w 326"/>
                <a:gd name="T9" fmla="*/ 1 h 135"/>
                <a:gd name="T10" fmla="*/ 4 w 326"/>
                <a:gd name="T11" fmla="*/ 1 h 135"/>
                <a:gd name="T12" fmla="*/ 4 w 326"/>
                <a:gd name="T13" fmla="*/ 1 h 135"/>
                <a:gd name="T14" fmla="*/ 3 w 326"/>
                <a:gd name="T15" fmla="*/ 1 h 135"/>
                <a:gd name="T16" fmla="*/ 3 w 326"/>
                <a:gd name="T17" fmla="*/ 0 h 135"/>
                <a:gd name="T18" fmla="*/ 3 w 326"/>
                <a:gd name="T19" fmla="*/ 0 h 135"/>
                <a:gd name="T20" fmla="*/ 3 w 326"/>
                <a:gd name="T21" fmla="*/ 0 h 135"/>
                <a:gd name="T22" fmla="*/ 2 w 326"/>
                <a:gd name="T23" fmla="*/ 0 h 135"/>
                <a:gd name="T24" fmla="*/ 2 w 326"/>
                <a:gd name="T25" fmla="*/ 0 h 135"/>
                <a:gd name="T26" fmla="*/ 2 w 326"/>
                <a:gd name="T27" fmla="*/ 0 h 135"/>
                <a:gd name="T28" fmla="*/ 2 w 326"/>
                <a:gd name="T29" fmla="*/ 0 h 135"/>
                <a:gd name="T30" fmla="*/ 2 w 326"/>
                <a:gd name="T31" fmla="*/ 0 h 135"/>
                <a:gd name="T32" fmla="*/ 2 w 326"/>
                <a:gd name="T33" fmla="*/ 0 h 135"/>
                <a:gd name="T34" fmla="*/ 2 w 326"/>
                <a:gd name="T35" fmla="*/ 0 h 135"/>
                <a:gd name="T36" fmla="*/ 1 w 326"/>
                <a:gd name="T37" fmla="*/ 0 h 135"/>
                <a:gd name="T38" fmla="*/ 1 w 326"/>
                <a:gd name="T39" fmla="*/ 0 h 135"/>
                <a:gd name="T40" fmla="*/ 0 w 326"/>
                <a:gd name="T41" fmla="*/ 0 h 135"/>
                <a:gd name="T42" fmla="*/ 0 w 326"/>
                <a:gd name="T43" fmla="*/ 0 h 135"/>
                <a:gd name="T44" fmla="*/ 0 w 326"/>
                <a:gd name="T45" fmla="*/ 1 h 135"/>
                <a:gd name="T46" fmla="*/ 0 w 326"/>
                <a:gd name="T47" fmla="*/ 1 h 135"/>
                <a:gd name="T48" fmla="*/ 0 w 326"/>
                <a:gd name="T49" fmla="*/ 1 h 135"/>
                <a:gd name="T50" fmla="*/ 1 w 326"/>
                <a:gd name="T51" fmla="*/ 1 h 135"/>
                <a:gd name="T52" fmla="*/ 0 w 326"/>
                <a:gd name="T53" fmla="*/ 1 h 135"/>
                <a:gd name="T54" fmla="*/ 0 w 326"/>
                <a:gd name="T55" fmla="*/ 1 h 135"/>
                <a:gd name="T56" fmla="*/ 1 w 326"/>
                <a:gd name="T57" fmla="*/ 1 h 135"/>
                <a:gd name="T58" fmla="*/ 1 w 326"/>
                <a:gd name="T59" fmla="*/ 2 h 135"/>
                <a:gd name="T60" fmla="*/ 1 w 326"/>
                <a:gd name="T61" fmla="*/ 2 h 135"/>
                <a:gd name="T62" fmla="*/ 1 w 326"/>
                <a:gd name="T63" fmla="*/ 2 h 135"/>
                <a:gd name="T64" fmla="*/ 1 w 326"/>
                <a:gd name="T65" fmla="*/ 2 h 135"/>
                <a:gd name="T66" fmla="*/ 1 w 326"/>
                <a:gd name="T67" fmla="*/ 2 h 135"/>
                <a:gd name="T68" fmla="*/ 1 w 326"/>
                <a:gd name="T69" fmla="*/ 2 h 135"/>
                <a:gd name="T70" fmla="*/ 1 w 326"/>
                <a:gd name="T71" fmla="*/ 1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86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1 w 159"/>
                <a:gd name="T1" fmla="*/ 1 h 56"/>
                <a:gd name="T2" fmla="*/ 0 w 159"/>
                <a:gd name="T3" fmla="*/ 1 h 56"/>
                <a:gd name="T4" fmla="*/ 0 w 159"/>
                <a:gd name="T5" fmla="*/ 1 h 56"/>
                <a:gd name="T6" fmla="*/ 0 w 159"/>
                <a:gd name="T7" fmla="*/ 1 h 56"/>
                <a:gd name="T8" fmla="*/ 0 w 159"/>
                <a:gd name="T9" fmla="*/ 0 h 56"/>
                <a:gd name="T10" fmla="*/ 0 w 159"/>
                <a:gd name="T11" fmla="*/ 0 h 56"/>
                <a:gd name="T12" fmla="*/ 0 w 159"/>
                <a:gd name="T13" fmla="*/ 0 h 56"/>
                <a:gd name="T14" fmla="*/ 0 w 159"/>
                <a:gd name="T15" fmla="*/ 0 h 56"/>
                <a:gd name="T16" fmla="*/ 0 w 159"/>
                <a:gd name="T17" fmla="*/ 0 h 56"/>
                <a:gd name="T18" fmla="*/ 0 w 159"/>
                <a:gd name="T19" fmla="*/ 0 h 56"/>
                <a:gd name="T20" fmla="*/ 0 w 159"/>
                <a:gd name="T21" fmla="*/ 0 h 56"/>
                <a:gd name="T22" fmla="*/ 0 w 159"/>
                <a:gd name="T23" fmla="*/ 0 h 56"/>
                <a:gd name="T24" fmla="*/ 0 w 159"/>
                <a:gd name="T25" fmla="*/ 0 h 56"/>
                <a:gd name="T26" fmla="*/ 1 w 159"/>
                <a:gd name="T27" fmla="*/ 0 h 56"/>
                <a:gd name="T28" fmla="*/ 1 w 159"/>
                <a:gd name="T29" fmla="*/ 0 h 56"/>
                <a:gd name="T30" fmla="*/ 1 w 159"/>
                <a:gd name="T31" fmla="*/ 0 h 56"/>
                <a:gd name="T32" fmla="*/ 1 w 159"/>
                <a:gd name="T33" fmla="*/ 0 h 56"/>
                <a:gd name="T34" fmla="*/ 1 w 159"/>
                <a:gd name="T35" fmla="*/ 0 h 56"/>
                <a:gd name="T36" fmla="*/ 1 w 159"/>
                <a:gd name="T37" fmla="*/ 0 h 56"/>
                <a:gd name="T38" fmla="*/ 1 w 159"/>
                <a:gd name="T39" fmla="*/ 0 h 56"/>
                <a:gd name="T40" fmla="*/ 2 w 159"/>
                <a:gd name="T41" fmla="*/ 0 h 56"/>
                <a:gd name="T42" fmla="*/ 2 w 159"/>
                <a:gd name="T43" fmla="*/ 0 h 56"/>
                <a:gd name="T44" fmla="*/ 2 w 159"/>
                <a:gd name="T45" fmla="*/ 0 h 56"/>
                <a:gd name="T46" fmla="*/ 2 w 159"/>
                <a:gd name="T47" fmla="*/ 0 h 56"/>
                <a:gd name="T48" fmla="*/ 2 w 159"/>
                <a:gd name="T49" fmla="*/ 0 h 56"/>
                <a:gd name="T50" fmla="*/ 2 w 159"/>
                <a:gd name="T51" fmla="*/ 0 h 56"/>
                <a:gd name="T52" fmla="*/ 2 w 159"/>
                <a:gd name="T53" fmla="*/ 0 h 56"/>
                <a:gd name="T54" fmla="*/ 2 w 159"/>
                <a:gd name="T55" fmla="*/ 1 h 56"/>
                <a:gd name="T56" fmla="*/ 2 w 159"/>
                <a:gd name="T57" fmla="*/ 1 h 56"/>
                <a:gd name="T58" fmla="*/ 1 w 159"/>
                <a:gd name="T59" fmla="*/ 1 h 56"/>
                <a:gd name="T60" fmla="*/ 1 w 159"/>
                <a:gd name="T61" fmla="*/ 1 h 56"/>
                <a:gd name="T62" fmla="*/ 1 w 159"/>
                <a:gd name="T63" fmla="*/ 1 h 56"/>
                <a:gd name="T64" fmla="*/ 1 w 159"/>
                <a:gd name="T65" fmla="*/ 1 h 56"/>
                <a:gd name="T66" fmla="*/ 1 w 159"/>
                <a:gd name="T67" fmla="*/ 1 h 56"/>
                <a:gd name="T68" fmla="*/ 1 w 159"/>
                <a:gd name="T69" fmla="*/ 1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87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32 w 3734"/>
                <a:gd name="T1" fmla="*/ 16 h 1644"/>
                <a:gd name="T2" fmla="*/ 28 w 3734"/>
                <a:gd name="T3" fmla="*/ 18 h 1644"/>
                <a:gd name="T4" fmla="*/ 25 w 3734"/>
                <a:gd name="T5" fmla="*/ 18 h 1644"/>
                <a:gd name="T6" fmla="*/ 25 w 3734"/>
                <a:gd name="T7" fmla="*/ 19 h 1644"/>
                <a:gd name="T8" fmla="*/ 24 w 3734"/>
                <a:gd name="T9" fmla="*/ 19 h 1644"/>
                <a:gd name="T10" fmla="*/ 25 w 3734"/>
                <a:gd name="T11" fmla="*/ 17 h 1644"/>
                <a:gd name="T12" fmla="*/ 24 w 3734"/>
                <a:gd name="T13" fmla="*/ 16 h 1644"/>
                <a:gd name="T14" fmla="*/ 23 w 3734"/>
                <a:gd name="T15" fmla="*/ 15 h 1644"/>
                <a:gd name="T16" fmla="*/ 21 w 3734"/>
                <a:gd name="T17" fmla="*/ 15 h 1644"/>
                <a:gd name="T18" fmla="*/ 19 w 3734"/>
                <a:gd name="T19" fmla="*/ 15 h 1644"/>
                <a:gd name="T20" fmla="*/ 3 w 3734"/>
                <a:gd name="T21" fmla="*/ 14 h 1644"/>
                <a:gd name="T22" fmla="*/ 1 w 3734"/>
                <a:gd name="T23" fmla="*/ 13 h 1644"/>
                <a:gd name="T24" fmla="*/ 2 w 3734"/>
                <a:gd name="T25" fmla="*/ 12 h 1644"/>
                <a:gd name="T26" fmla="*/ 2 w 3734"/>
                <a:gd name="T27" fmla="*/ 11 h 1644"/>
                <a:gd name="T28" fmla="*/ 3 w 3734"/>
                <a:gd name="T29" fmla="*/ 10 h 1644"/>
                <a:gd name="T30" fmla="*/ 3 w 3734"/>
                <a:gd name="T31" fmla="*/ 9 h 1644"/>
                <a:gd name="T32" fmla="*/ 1 w 3734"/>
                <a:gd name="T33" fmla="*/ 8 h 1644"/>
                <a:gd name="T34" fmla="*/ 6 w 3734"/>
                <a:gd name="T35" fmla="*/ 1 h 1644"/>
                <a:gd name="T36" fmla="*/ 12 w 3734"/>
                <a:gd name="T37" fmla="*/ 1 h 1644"/>
                <a:gd name="T38" fmla="*/ 14 w 3734"/>
                <a:gd name="T39" fmla="*/ 1 h 1644"/>
                <a:gd name="T40" fmla="*/ 18 w 3734"/>
                <a:gd name="T41" fmla="*/ 2 h 1644"/>
                <a:gd name="T42" fmla="*/ 19 w 3734"/>
                <a:gd name="T43" fmla="*/ 2 h 1644"/>
                <a:gd name="T44" fmla="*/ 23 w 3734"/>
                <a:gd name="T45" fmla="*/ 2 h 1644"/>
                <a:gd name="T46" fmla="*/ 25 w 3734"/>
                <a:gd name="T47" fmla="*/ 3 h 1644"/>
                <a:gd name="T48" fmla="*/ 25 w 3734"/>
                <a:gd name="T49" fmla="*/ 3 h 1644"/>
                <a:gd name="T50" fmla="*/ 27 w 3734"/>
                <a:gd name="T51" fmla="*/ 1 h 1644"/>
                <a:gd name="T52" fmla="*/ 28 w 3734"/>
                <a:gd name="T53" fmla="*/ 0 h 1644"/>
                <a:gd name="T54" fmla="*/ 29 w 3734"/>
                <a:gd name="T55" fmla="*/ 1 h 1644"/>
                <a:gd name="T56" fmla="*/ 29 w 3734"/>
                <a:gd name="T57" fmla="*/ 2 h 1644"/>
                <a:gd name="T58" fmla="*/ 29 w 3734"/>
                <a:gd name="T59" fmla="*/ 2 h 1644"/>
                <a:gd name="T60" fmla="*/ 31 w 3734"/>
                <a:gd name="T61" fmla="*/ 1 h 1644"/>
                <a:gd name="T62" fmla="*/ 33 w 3734"/>
                <a:gd name="T63" fmla="*/ 2 h 1644"/>
                <a:gd name="T64" fmla="*/ 31 w 3734"/>
                <a:gd name="T65" fmla="*/ 3 h 1644"/>
                <a:gd name="T66" fmla="*/ 30 w 3734"/>
                <a:gd name="T67" fmla="*/ 3 h 1644"/>
                <a:gd name="T68" fmla="*/ 28 w 3734"/>
                <a:gd name="T69" fmla="*/ 4 h 1644"/>
                <a:gd name="T70" fmla="*/ 27 w 3734"/>
                <a:gd name="T71" fmla="*/ 5 h 1644"/>
                <a:gd name="T72" fmla="*/ 25 w 3734"/>
                <a:gd name="T73" fmla="*/ 5 h 1644"/>
                <a:gd name="T74" fmla="*/ 23 w 3734"/>
                <a:gd name="T75" fmla="*/ 7 h 1644"/>
                <a:gd name="T76" fmla="*/ 23 w 3734"/>
                <a:gd name="T77" fmla="*/ 9 h 1644"/>
                <a:gd name="T78" fmla="*/ 25 w 3734"/>
                <a:gd name="T79" fmla="*/ 10 h 1644"/>
                <a:gd name="T80" fmla="*/ 26 w 3734"/>
                <a:gd name="T81" fmla="*/ 12 h 1644"/>
                <a:gd name="T82" fmla="*/ 28 w 3734"/>
                <a:gd name="T83" fmla="*/ 11 h 1644"/>
                <a:gd name="T84" fmla="*/ 31 w 3734"/>
                <a:gd name="T85" fmla="*/ 9 h 1644"/>
                <a:gd name="T86" fmla="*/ 31 w 3734"/>
                <a:gd name="T87" fmla="*/ 7 h 1644"/>
                <a:gd name="T88" fmla="*/ 34 w 3734"/>
                <a:gd name="T89" fmla="*/ 6 h 1644"/>
                <a:gd name="T90" fmla="*/ 35 w 3734"/>
                <a:gd name="T91" fmla="*/ 7 h 1644"/>
                <a:gd name="T92" fmla="*/ 35 w 3734"/>
                <a:gd name="T93" fmla="*/ 9 h 1644"/>
                <a:gd name="T94" fmla="*/ 38 w 3734"/>
                <a:gd name="T95" fmla="*/ 7 h 1644"/>
                <a:gd name="T96" fmla="*/ 38 w 3734"/>
                <a:gd name="T97" fmla="*/ 9 h 1644"/>
                <a:gd name="T98" fmla="*/ 40 w 3734"/>
                <a:gd name="T99" fmla="*/ 10 h 1644"/>
                <a:gd name="T100" fmla="*/ 39 w 3734"/>
                <a:gd name="T101" fmla="*/ 11 h 1644"/>
                <a:gd name="T102" fmla="*/ 40 w 3734"/>
                <a:gd name="T103" fmla="*/ 12 h 1644"/>
                <a:gd name="T104" fmla="*/ 38 w 3734"/>
                <a:gd name="T105" fmla="*/ 13 h 1644"/>
                <a:gd name="T106" fmla="*/ 34 w 3734"/>
                <a:gd name="T107" fmla="*/ 13 h 1644"/>
                <a:gd name="T108" fmla="*/ 31 w 3734"/>
                <a:gd name="T109" fmla="*/ 15 h 1644"/>
                <a:gd name="T110" fmla="*/ 31 w 3734"/>
                <a:gd name="T111" fmla="*/ 15 h 1644"/>
                <a:gd name="T112" fmla="*/ 35 w 3734"/>
                <a:gd name="T113" fmla="*/ 14 h 1644"/>
                <a:gd name="T114" fmla="*/ 33 w 3734"/>
                <a:gd name="T115" fmla="*/ 15 h 1644"/>
                <a:gd name="T116" fmla="*/ 34 w 3734"/>
                <a:gd name="T117" fmla="*/ 16 h 1644"/>
                <a:gd name="T118" fmla="*/ 35 w 3734"/>
                <a:gd name="T119" fmla="*/ 17 h 1644"/>
                <a:gd name="T120" fmla="*/ 33 w 3734"/>
                <a:gd name="T121" fmla="*/ 18 h 1644"/>
                <a:gd name="T122" fmla="*/ 35 w 3734"/>
                <a:gd name="T123" fmla="*/ 17 h 1644"/>
                <a:gd name="T124" fmla="*/ 33 w 3734"/>
                <a:gd name="T125" fmla="*/ 17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324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757738" y="3857427"/>
            <a:ext cx="127000" cy="158750"/>
          </a:xfrm>
          <a:custGeom>
            <a:avLst/>
            <a:gdLst>
              <a:gd name="T0" fmla="*/ 2147483647 w 292"/>
              <a:gd name="T1" fmla="*/ 2147483647 h 308"/>
              <a:gd name="T2" fmla="*/ 2147483647 w 292"/>
              <a:gd name="T3" fmla="*/ 2147483647 h 308"/>
              <a:gd name="T4" fmla="*/ 2147483647 w 292"/>
              <a:gd name="T5" fmla="*/ 2147483647 h 308"/>
              <a:gd name="T6" fmla="*/ 2147483647 w 292"/>
              <a:gd name="T7" fmla="*/ 2147483647 h 308"/>
              <a:gd name="T8" fmla="*/ 2147483647 w 292"/>
              <a:gd name="T9" fmla="*/ 2147483647 h 308"/>
              <a:gd name="T10" fmla="*/ 2147483647 w 292"/>
              <a:gd name="T11" fmla="*/ 2147483647 h 308"/>
              <a:gd name="T12" fmla="*/ 2147483647 w 292"/>
              <a:gd name="T13" fmla="*/ 2147483647 h 308"/>
              <a:gd name="T14" fmla="*/ 2147483647 w 292"/>
              <a:gd name="T15" fmla="*/ 2147483647 h 308"/>
              <a:gd name="T16" fmla="*/ 2147483647 w 292"/>
              <a:gd name="T17" fmla="*/ 2147483647 h 308"/>
              <a:gd name="T18" fmla="*/ 2147483647 w 292"/>
              <a:gd name="T19" fmla="*/ 2147483647 h 308"/>
              <a:gd name="T20" fmla="*/ 2147483647 w 292"/>
              <a:gd name="T21" fmla="*/ 2147483647 h 308"/>
              <a:gd name="T22" fmla="*/ 2147483647 w 292"/>
              <a:gd name="T23" fmla="*/ 2147483647 h 308"/>
              <a:gd name="T24" fmla="*/ 2147483647 w 292"/>
              <a:gd name="T25" fmla="*/ 2147483647 h 308"/>
              <a:gd name="T26" fmla="*/ 2147483647 w 292"/>
              <a:gd name="T27" fmla="*/ 2147483647 h 308"/>
              <a:gd name="T28" fmla="*/ 2147483647 w 292"/>
              <a:gd name="T29" fmla="*/ 2147483647 h 308"/>
              <a:gd name="T30" fmla="*/ 2147483647 w 292"/>
              <a:gd name="T31" fmla="*/ 2147483647 h 308"/>
              <a:gd name="T32" fmla="*/ 2147483647 w 292"/>
              <a:gd name="T33" fmla="*/ 2147483647 h 308"/>
              <a:gd name="T34" fmla="*/ 0 w 292"/>
              <a:gd name="T35" fmla="*/ 2147483647 h 308"/>
              <a:gd name="T36" fmla="*/ 2147483647 w 292"/>
              <a:gd name="T37" fmla="*/ 2147483647 h 308"/>
              <a:gd name="T38" fmla="*/ 2147483647 w 292"/>
              <a:gd name="T39" fmla="*/ 2147483647 h 308"/>
              <a:gd name="T40" fmla="*/ 2147483647 w 292"/>
              <a:gd name="T41" fmla="*/ 2147483647 h 308"/>
              <a:gd name="T42" fmla="*/ 2147483647 w 292"/>
              <a:gd name="T43" fmla="*/ 2147483647 h 308"/>
              <a:gd name="T44" fmla="*/ 2147483647 w 292"/>
              <a:gd name="T45" fmla="*/ 2147483647 h 308"/>
              <a:gd name="T46" fmla="*/ 2147483647 w 292"/>
              <a:gd name="T47" fmla="*/ 2147483647 h 308"/>
              <a:gd name="T48" fmla="*/ 2147483647 w 292"/>
              <a:gd name="T49" fmla="*/ 2147483647 h 308"/>
              <a:gd name="T50" fmla="*/ 2147483647 w 292"/>
              <a:gd name="T51" fmla="*/ 2147483647 h 308"/>
              <a:gd name="T52" fmla="*/ 2147483647 w 292"/>
              <a:gd name="T53" fmla="*/ 2147483647 h 308"/>
              <a:gd name="T54" fmla="*/ 2147483647 w 292"/>
              <a:gd name="T55" fmla="*/ 2147483647 h 308"/>
              <a:gd name="T56" fmla="*/ 2147483647 w 292"/>
              <a:gd name="T57" fmla="*/ 2147483647 h 308"/>
              <a:gd name="T58" fmla="*/ 2147483647 w 292"/>
              <a:gd name="T59" fmla="*/ 2147483647 h 308"/>
              <a:gd name="T60" fmla="*/ 2147483647 w 292"/>
              <a:gd name="T61" fmla="*/ 2147483647 h 308"/>
              <a:gd name="T62" fmla="*/ 2147483647 w 292"/>
              <a:gd name="T63" fmla="*/ 2147483647 h 308"/>
              <a:gd name="T64" fmla="*/ 2147483647 w 292"/>
              <a:gd name="T65" fmla="*/ 2147483647 h 308"/>
              <a:gd name="T66" fmla="*/ 2147483647 w 292"/>
              <a:gd name="T67" fmla="*/ 2147483647 h 308"/>
              <a:gd name="T68" fmla="*/ 2147483647 w 292"/>
              <a:gd name="T69" fmla="*/ 2147483647 h 308"/>
              <a:gd name="T70" fmla="*/ 2147483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25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864100" y="4008239"/>
            <a:ext cx="6350" cy="57150"/>
          </a:xfrm>
          <a:custGeom>
            <a:avLst/>
            <a:gdLst>
              <a:gd name="T0" fmla="*/ 2147483647 w 14"/>
              <a:gd name="T1" fmla="*/ 0 h 7"/>
              <a:gd name="T2" fmla="*/ 2147483647 w 14"/>
              <a:gd name="T3" fmla="*/ 2147483647 h 7"/>
              <a:gd name="T4" fmla="*/ 2147483647 w 14"/>
              <a:gd name="T5" fmla="*/ 2147483647 h 7"/>
              <a:gd name="T6" fmla="*/ 0 w 14"/>
              <a:gd name="T7" fmla="*/ 2147483647 h 7"/>
              <a:gd name="T8" fmla="*/ 2147483647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26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354513" y="3244652"/>
            <a:ext cx="249237" cy="500062"/>
          </a:xfrm>
          <a:custGeom>
            <a:avLst/>
            <a:gdLst>
              <a:gd name="T0" fmla="*/ 2147483647 w 581"/>
              <a:gd name="T1" fmla="*/ 2147483647 h 955"/>
              <a:gd name="T2" fmla="*/ 2147483647 w 581"/>
              <a:gd name="T3" fmla="*/ 2147483647 h 955"/>
              <a:gd name="T4" fmla="*/ 2147483647 w 581"/>
              <a:gd name="T5" fmla="*/ 2147483647 h 955"/>
              <a:gd name="T6" fmla="*/ 2147483647 w 581"/>
              <a:gd name="T7" fmla="*/ 2147483647 h 955"/>
              <a:gd name="T8" fmla="*/ 2147483647 w 581"/>
              <a:gd name="T9" fmla="*/ 2147483647 h 955"/>
              <a:gd name="T10" fmla="*/ 2147483647 w 581"/>
              <a:gd name="T11" fmla="*/ 2147483647 h 955"/>
              <a:gd name="T12" fmla="*/ 2147483647 w 581"/>
              <a:gd name="T13" fmla="*/ 2147483647 h 955"/>
              <a:gd name="T14" fmla="*/ 2147483647 w 581"/>
              <a:gd name="T15" fmla="*/ 2147483647 h 955"/>
              <a:gd name="T16" fmla="*/ 2147483647 w 581"/>
              <a:gd name="T17" fmla="*/ 2147483647 h 955"/>
              <a:gd name="T18" fmla="*/ 2147483647 w 581"/>
              <a:gd name="T19" fmla="*/ 2147483647 h 955"/>
              <a:gd name="T20" fmla="*/ 2147483647 w 581"/>
              <a:gd name="T21" fmla="*/ 2147483647 h 955"/>
              <a:gd name="T22" fmla="*/ 2147483647 w 581"/>
              <a:gd name="T23" fmla="*/ 2147483647 h 955"/>
              <a:gd name="T24" fmla="*/ 2147483647 w 581"/>
              <a:gd name="T25" fmla="*/ 2147483647 h 955"/>
              <a:gd name="T26" fmla="*/ 2147483647 w 581"/>
              <a:gd name="T27" fmla="*/ 2147483647 h 955"/>
              <a:gd name="T28" fmla="*/ 2147483647 w 581"/>
              <a:gd name="T29" fmla="*/ 2147483647 h 955"/>
              <a:gd name="T30" fmla="*/ 2147483647 w 581"/>
              <a:gd name="T31" fmla="*/ 2147483647 h 955"/>
              <a:gd name="T32" fmla="*/ 2147483647 w 581"/>
              <a:gd name="T33" fmla="*/ 2147483647 h 955"/>
              <a:gd name="T34" fmla="*/ 2147483647 w 581"/>
              <a:gd name="T35" fmla="*/ 2147483647 h 955"/>
              <a:gd name="T36" fmla="*/ 2147483647 w 581"/>
              <a:gd name="T37" fmla="*/ 2147483647 h 955"/>
              <a:gd name="T38" fmla="*/ 2147483647 w 581"/>
              <a:gd name="T39" fmla="*/ 2147483647 h 955"/>
              <a:gd name="T40" fmla="*/ 2147483647 w 581"/>
              <a:gd name="T41" fmla="*/ 2147483647 h 955"/>
              <a:gd name="T42" fmla="*/ 2147483647 w 581"/>
              <a:gd name="T43" fmla="*/ 2147483647 h 955"/>
              <a:gd name="T44" fmla="*/ 2147483647 w 581"/>
              <a:gd name="T45" fmla="*/ 2147483647 h 955"/>
              <a:gd name="T46" fmla="*/ 2147483647 w 581"/>
              <a:gd name="T47" fmla="*/ 2147483647 h 955"/>
              <a:gd name="T48" fmla="*/ 2147483647 w 581"/>
              <a:gd name="T49" fmla="*/ 2147483647 h 955"/>
              <a:gd name="T50" fmla="*/ 2147483647 w 581"/>
              <a:gd name="T51" fmla="*/ 2147483647 h 955"/>
              <a:gd name="T52" fmla="*/ 2147483647 w 581"/>
              <a:gd name="T53" fmla="*/ 2147483647 h 955"/>
              <a:gd name="T54" fmla="*/ 2147483647 w 581"/>
              <a:gd name="T55" fmla="*/ 2147483647 h 955"/>
              <a:gd name="T56" fmla="*/ 2147483647 w 581"/>
              <a:gd name="T57" fmla="*/ 2147483647 h 955"/>
              <a:gd name="T58" fmla="*/ 2147483647 w 581"/>
              <a:gd name="T59" fmla="*/ 2147483647 h 955"/>
              <a:gd name="T60" fmla="*/ 2147483647 w 581"/>
              <a:gd name="T61" fmla="*/ 2147483647 h 955"/>
              <a:gd name="T62" fmla="*/ 2147483647 w 581"/>
              <a:gd name="T63" fmla="*/ 2147483647 h 955"/>
              <a:gd name="T64" fmla="*/ 2147483647 w 581"/>
              <a:gd name="T65" fmla="*/ 2147483647 h 955"/>
              <a:gd name="T66" fmla="*/ 2147483647 w 581"/>
              <a:gd name="T67" fmla="*/ 2147483647 h 955"/>
              <a:gd name="T68" fmla="*/ 2147483647 w 581"/>
              <a:gd name="T69" fmla="*/ 2147483647 h 955"/>
              <a:gd name="T70" fmla="*/ 2147483647 w 581"/>
              <a:gd name="T71" fmla="*/ 2147483647 h 955"/>
              <a:gd name="T72" fmla="*/ 2147483647 w 581"/>
              <a:gd name="T73" fmla="*/ 2147483647 h 955"/>
              <a:gd name="T74" fmla="*/ 2147483647 w 581"/>
              <a:gd name="T75" fmla="*/ 2147483647 h 955"/>
              <a:gd name="T76" fmla="*/ 2147483647 w 581"/>
              <a:gd name="T77" fmla="*/ 2147483647 h 955"/>
              <a:gd name="T78" fmla="*/ 2147483647 w 581"/>
              <a:gd name="T79" fmla="*/ 2147483647 h 955"/>
              <a:gd name="T80" fmla="*/ 2147483647 w 581"/>
              <a:gd name="T81" fmla="*/ 2147483647 h 955"/>
              <a:gd name="T82" fmla="*/ 2147483647 w 581"/>
              <a:gd name="T83" fmla="*/ 2147483647 h 955"/>
              <a:gd name="T84" fmla="*/ 2147483647 w 581"/>
              <a:gd name="T85" fmla="*/ 2147483647 h 955"/>
              <a:gd name="T86" fmla="*/ 2147483647 w 581"/>
              <a:gd name="T87" fmla="*/ 2147483647 h 955"/>
              <a:gd name="T88" fmla="*/ 2147483647 w 581"/>
              <a:gd name="T89" fmla="*/ 2147483647 h 955"/>
              <a:gd name="T90" fmla="*/ 2147483647 w 581"/>
              <a:gd name="T91" fmla="*/ 2147483647 h 955"/>
              <a:gd name="T92" fmla="*/ 2147483647 w 581"/>
              <a:gd name="T93" fmla="*/ 2147483647 h 955"/>
              <a:gd name="T94" fmla="*/ 2147483647 w 581"/>
              <a:gd name="T95" fmla="*/ 2147483647 h 955"/>
              <a:gd name="T96" fmla="*/ 2147483647 w 581"/>
              <a:gd name="T97" fmla="*/ 2147483647 h 955"/>
              <a:gd name="T98" fmla="*/ 2147483647 w 581"/>
              <a:gd name="T99" fmla="*/ 2147483647 h 955"/>
              <a:gd name="T100" fmla="*/ 2147483647 w 581"/>
              <a:gd name="T101" fmla="*/ 0 h 955"/>
              <a:gd name="T102" fmla="*/ 2147483647 w 581"/>
              <a:gd name="T103" fmla="*/ 2147483647 h 955"/>
              <a:gd name="T104" fmla="*/ 2147483647 w 581"/>
              <a:gd name="T105" fmla="*/ 214748364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27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030663" y="2627114"/>
            <a:ext cx="15875" cy="57150"/>
          </a:xfrm>
          <a:custGeom>
            <a:avLst/>
            <a:gdLst>
              <a:gd name="T0" fmla="*/ 2147483647 w 45"/>
              <a:gd name="T1" fmla="*/ 0 h 36"/>
              <a:gd name="T2" fmla="*/ 0 w 45"/>
              <a:gd name="T3" fmla="*/ 2147483647 h 36"/>
              <a:gd name="T4" fmla="*/ 2147483647 w 45"/>
              <a:gd name="T5" fmla="*/ 2147483647 h 36"/>
              <a:gd name="T6" fmla="*/ 2147483647 w 45"/>
              <a:gd name="T7" fmla="*/ 2147483647 h 36"/>
              <a:gd name="T8" fmla="*/ 2147483647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328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330450" y="4687689"/>
            <a:ext cx="384175" cy="1031875"/>
            <a:chOff x="1589" y="3126"/>
            <a:chExt cx="290" cy="657"/>
          </a:xfrm>
          <a:solidFill>
            <a:schemeClr val="accent5">
              <a:lumMod val="50000"/>
            </a:schemeClr>
          </a:solidFill>
        </p:grpSpPr>
        <p:sp>
          <p:nvSpPr>
            <p:cNvPr id="2438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5 w 46"/>
                <a:gd name="T1" fmla="*/ 1 h 51"/>
                <a:gd name="T2" fmla="*/ 2 w 46"/>
                <a:gd name="T3" fmla="*/ 0 h 51"/>
                <a:gd name="T4" fmla="*/ 1 w 46"/>
                <a:gd name="T5" fmla="*/ 1 h 51"/>
                <a:gd name="T6" fmla="*/ 1 w 46"/>
                <a:gd name="T7" fmla="*/ 1 h 51"/>
                <a:gd name="T8" fmla="*/ 0 w 46"/>
                <a:gd name="T9" fmla="*/ 1 h 51"/>
                <a:gd name="T10" fmla="*/ 0 w 46"/>
                <a:gd name="T11" fmla="*/ 2 h 51"/>
                <a:gd name="T12" fmla="*/ 0 w 46"/>
                <a:gd name="T13" fmla="*/ 2 h 51"/>
                <a:gd name="T14" fmla="*/ 0 w 46"/>
                <a:gd name="T15" fmla="*/ 2 h 51"/>
                <a:gd name="T16" fmla="*/ 0 w 46"/>
                <a:gd name="T17" fmla="*/ 3 h 51"/>
                <a:gd name="T18" fmla="*/ 0 w 46"/>
                <a:gd name="T19" fmla="*/ 3 h 51"/>
                <a:gd name="T20" fmla="*/ 0 w 46"/>
                <a:gd name="T21" fmla="*/ 4 h 51"/>
                <a:gd name="T22" fmla="*/ 1 w 46"/>
                <a:gd name="T23" fmla="*/ 5 h 51"/>
                <a:gd name="T24" fmla="*/ 1 w 46"/>
                <a:gd name="T25" fmla="*/ 5 h 51"/>
                <a:gd name="T26" fmla="*/ 1 w 46"/>
                <a:gd name="T27" fmla="*/ 5 h 51"/>
                <a:gd name="T28" fmla="*/ 2 w 46"/>
                <a:gd name="T29" fmla="*/ 6 h 51"/>
                <a:gd name="T30" fmla="*/ 2 w 46"/>
                <a:gd name="T31" fmla="*/ 6 h 51"/>
                <a:gd name="T32" fmla="*/ 2 w 46"/>
                <a:gd name="T33" fmla="*/ 6 h 51"/>
                <a:gd name="T34" fmla="*/ 2 w 46"/>
                <a:gd name="T35" fmla="*/ 6 h 51"/>
                <a:gd name="T36" fmla="*/ 4 w 46"/>
                <a:gd name="T37" fmla="*/ 6 h 51"/>
                <a:gd name="T38" fmla="*/ 5 w 46"/>
                <a:gd name="T39" fmla="*/ 6 h 51"/>
                <a:gd name="T40" fmla="*/ 5 w 46"/>
                <a:gd name="T41" fmla="*/ 4 h 51"/>
                <a:gd name="T42" fmla="*/ 5 w 46"/>
                <a:gd name="T43" fmla="*/ 3 h 51"/>
                <a:gd name="T44" fmla="*/ 5 w 46"/>
                <a:gd name="T45" fmla="*/ 2 h 51"/>
                <a:gd name="T46" fmla="*/ 5 w 46"/>
                <a:gd name="T47" fmla="*/ 1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39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2 h 158"/>
                <a:gd name="T4" fmla="*/ 0 w 192"/>
                <a:gd name="T5" fmla="*/ 3 h 158"/>
                <a:gd name="T6" fmla="*/ 0 w 192"/>
                <a:gd name="T7" fmla="*/ 4 h 158"/>
                <a:gd name="T8" fmla="*/ 1 w 192"/>
                <a:gd name="T9" fmla="*/ 6 h 158"/>
                <a:gd name="T10" fmla="*/ 1 w 192"/>
                <a:gd name="T11" fmla="*/ 7 h 158"/>
                <a:gd name="T12" fmla="*/ 2 w 192"/>
                <a:gd name="T13" fmla="*/ 8 h 158"/>
                <a:gd name="T14" fmla="*/ 2 w 192"/>
                <a:gd name="T15" fmla="*/ 9 h 158"/>
                <a:gd name="T16" fmla="*/ 3 w 192"/>
                <a:gd name="T17" fmla="*/ 10 h 158"/>
                <a:gd name="T18" fmla="*/ 5 w 192"/>
                <a:gd name="T19" fmla="*/ 14 h 158"/>
                <a:gd name="T20" fmla="*/ 7 w 192"/>
                <a:gd name="T21" fmla="*/ 17 h 158"/>
                <a:gd name="T22" fmla="*/ 8 w 192"/>
                <a:gd name="T23" fmla="*/ 17 h 158"/>
                <a:gd name="T24" fmla="*/ 9 w 192"/>
                <a:gd name="T25" fmla="*/ 17 h 158"/>
                <a:gd name="T26" fmla="*/ 9 w 192"/>
                <a:gd name="T27" fmla="*/ 17 h 158"/>
                <a:gd name="T28" fmla="*/ 10 w 192"/>
                <a:gd name="T29" fmla="*/ 17 h 158"/>
                <a:gd name="T30" fmla="*/ 11 w 192"/>
                <a:gd name="T31" fmla="*/ 18 h 158"/>
                <a:gd name="T32" fmla="*/ 13 w 192"/>
                <a:gd name="T33" fmla="*/ 18 h 158"/>
                <a:gd name="T34" fmla="*/ 16 w 192"/>
                <a:gd name="T35" fmla="*/ 17 h 158"/>
                <a:gd name="T36" fmla="*/ 21 w 192"/>
                <a:gd name="T37" fmla="*/ 17 h 158"/>
                <a:gd name="T38" fmla="*/ 20 w 192"/>
                <a:gd name="T39" fmla="*/ 17 h 158"/>
                <a:gd name="T40" fmla="*/ 19 w 192"/>
                <a:gd name="T41" fmla="*/ 17 h 158"/>
                <a:gd name="T42" fmla="*/ 18 w 192"/>
                <a:gd name="T43" fmla="*/ 17 h 158"/>
                <a:gd name="T44" fmla="*/ 17 w 192"/>
                <a:gd name="T45" fmla="*/ 17 h 158"/>
                <a:gd name="T46" fmla="*/ 16 w 192"/>
                <a:gd name="T47" fmla="*/ 16 h 158"/>
                <a:gd name="T48" fmla="*/ 14 w 192"/>
                <a:gd name="T49" fmla="*/ 15 h 158"/>
                <a:gd name="T50" fmla="*/ 12 w 192"/>
                <a:gd name="T51" fmla="*/ 15 h 158"/>
                <a:gd name="T52" fmla="*/ 11 w 192"/>
                <a:gd name="T53" fmla="*/ 13 h 158"/>
                <a:gd name="T54" fmla="*/ 10 w 192"/>
                <a:gd name="T55" fmla="*/ 12 h 158"/>
                <a:gd name="T56" fmla="*/ 8 w 192"/>
                <a:gd name="T57" fmla="*/ 11 h 158"/>
                <a:gd name="T58" fmla="*/ 7 w 192"/>
                <a:gd name="T59" fmla="*/ 10 h 158"/>
                <a:gd name="T60" fmla="*/ 6 w 192"/>
                <a:gd name="T61" fmla="*/ 8 h 158"/>
                <a:gd name="T62" fmla="*/ 5 w 192"/>
                <a:gd name="T63" fmla="*/ 7 h 158"/>
                <a:gd name="T64" fmla="*/ 4 w 192"/>
                <a:gd name="T65" fmla="*/ 6 h 158"/>
                <a:gd name="T66" fmla="*/ 3 w 192"/>
                <a:gd name="T67" fmla="*/ 4 h 158"/>
                <a:gd name="T68" fmla="*/ 2 w 192"/>
                <a:gd name="T69" fmla="*/ 3 h 158"/>
                <a:gd name="T70" fmla="*/ 2 w 192"/>
                <a:gd name="T71" fmla="*/ 2 h 158"/>
                <a:gd name="T72" fmla="*/ 1 w 192"/>
                <a:gd name="T73" fmla="*/ 1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40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83 w 884"/>
                <a:gd name="T1" fmla="*/ 46 h 1818"/>
                <a:gd name="T2" fmla="*/ 94 w 884"/>
                <a:gd name="T3" fmla="*/ 38 h 1818"/>
                <a:gd name="T4" fmla="*/ 95 w 884"/>
                <a:gd name="T5" fmla="*/ 26 h 1818"/>
                <a:gd name="T6" fmla="*/ 91 w 884"/>
                <a:gd name="T7" fmla="*/ 21 h 1818"/>
                <a:gd name="T8" fmla="*/ 91 w 884"/>
                <a:gd name="T9" fmla="*/ 29 h 1818"/>
                <a:gd name="T10" fmla="*/ 83 w 884"/>
                <a:gd name="T11" fmla="*/ 36 h 1818"/>
                <a:gd name="T12" fmla="*/ 72 w 884"/>
                <a:gd name="T13" fmla="*/ 37 h 1818"/>
                <a:gd name="T14" fmla="*/ 67 w 884"/>
                <a:gd name="T15" fmla="*/ 32 h 1818"/>
                <a:gd name="T16" fmla="*/ 71 w 884"/>
                <a:gd name="T17" fmla="*/ 24 h 1818"/>
                <a:gd name="T18" fmla="*/ 58 w 884"/>
                <a:gd name="T19" fmla="*/ 16 h 1818"/>
                <a:gd name="T20" fmla="*/ 46 w 884"/>
                <a:gd name="T21" fmla="*/ 10 h 1818"/>
                <a:gd name="T22" fmla="*/ 40 w 884"/>
                <a:gd name="T23" fmla="*/ 1 h 1818"/>
                <a:gd name="T24" fmla="*/ 31 w 884"/>
                <a:gd name="T25" fmla="*/ 2 h 1818"/>
                <a:gd name="T26" fmla="*/ 25 w 884"/>
                <a:gd name="T27" fmla="*/ 3 h 1818"/>
                <a:gd name="T28" fmla="*/ 18 w 884"/>
                <a:gd name="T29" fmla="*/ 1 h 1818"/>
                <a:gd name="T30" fmla="*/ 10 w 884"/>
                <a:gd name="T31" fmla="*/ 6 h 1818"/>
                <a:gd name="T32" fmla="*/ 7 w 884"/>
                <a:gd name="T33" fmla="*/ 13 h 1818"/>
                <a:gd name="T34" fmla="*/ 3 w 884"/>
                <a:gd name="T35" fmla="*/ 20 h 1818"/>
                <a:gd name="T36" fmla="*/ 6 w 884"/>
                <a:gd name="T37" fmla="*/ 28 h 1818"/>
                <a:gd name="T38" fmla="*/ 6 w 884"/>
                <a:gd name="T39" fmla="*/ 35 h 1818"/>
                <a:gd name="T40" fmla="*/ 0 w 884"/>
                <a:gd name="T41" fmla="*/ 48 h 1818"/>
                <a:gd name="T42" fmla="*/ 1 w 884"/>
                <a:gd name="T43" fmla="*/ 68 h 1818"/>
                <a:gd name="T44" fmla="*/ 8 w 884"/>
                <a:gd name="T45" fmla="*/ 77 h 1818"/>
                <a:gd name="T46" fmla="*/ 7 w 884"/>
                <a:gd name="T47" fmla="*/ 84 h 1818"/>
                <a:gd name="T48" fmla="*/ 7 w 884"/>
                <a:gd name="T49" fmla="*/ 90 h 1818"/>
                <a:gd name="T50" fmla="*/ 9 w 884"/>
                <a:gd name="T51" fmla="*/ 94 h 1818"/>
                <a:gd name="T52" fmla="*/ 6 w 884"/>
                <a:gd name="T53" fmla="*/ 100 h 1818"/>
                <a:gd name="T54" fmla="*/ 9 w 884"/>
                <a:gd name="T55" fmla="*/ 109 h 1818"/>
                <a:gd name="T56" fmla="*/ 9 w 884"/>
                <a:gd name="T57" fmla="*/ 117 h 1818"/>
                <a:gd name="T58" fmla="*/ 9 w 884"/>
                <a:gd name="T59" fmla="*/ 128 h 1818"/>
                <a:gd name="T60" fmla="*/ 15 w 884"/>
                <a:gd name="T61" fmla="*/ 141 h 1818"/>
                <a:gd name="T62" fmla="*/ 21 w 884"/>
                <a:gd name="T63" fmla="*/ 155 h 1818"/>
                <a:gd name="T64" fmla="*/ 23 w 884"/>
                <a:gd name="T65" fmla="*/ 163 h 1818"/>
                <a:gd name="T66" fmla="*/ 25 w 884"/>
                <a:gd name="T67" fmla="*/ 170 h 1818"/>
                <a:gd name="T68" fmla="*/ 23 w 884"/>
                <a:gd name="T69" fmla="*/ 177 h 1818"/>
                <a:gd name="T70" fmla="*/ 22 w 884"/>
                <a:gd name="T71" fmla="*/ 183 h 1818"/>
                <a:gd name="T72" fmla="*/ 25 w 884"/>
                <a:gd name="T73" fmla="*/ 191 h 1818"/>
                <a:gd name="T74" fmla="*/ 33 w 884"/>
                <a:gd name="T75" fmla="*/ 197 h 1818"/>
                <a:gd name="T76" fmla="*/ 42 w 884"/>
                <a:gd name="T77" fmla="*/ 200 h 1818"/>
                <a:gd name="T78" fmla="*/ 49 w 884"/>
                <a:gd name="T79" fmla="*/ 198 h 1818"/>
                <a:gd name="T80" fmla="*/ 49 w 884"/>
                <a:gd name="T81" fmla="*/ 189 h 1818"/>
                <a:gd name="T82" fmla="*/ 51 w 884"/>
                <a:gd name="T83" fmla="*/ 179 h 1818"/>
                <a:gd name="T84" fmla="*/ 53 w 884"/>
                <a:gd name="T85" fmla="*/ 168 h 1818"/>
                <a:gd name="T86" fmla="*/ 45 w 884"/>
                <a:gd name="T87" fmla="*/ 165 h 1818"/>
                <a:gd name="T88" fmla="*/ 43 w 884"/>
                <a:gd name="T89" fmla="*/ 159 h 1818"/>
                <a:gd name="T90" fmla="*/ 49 w 884"/>
                <a:gd name="T91" fmla="*/ 155 h 1818"/>
                <a:gd name="T92" fmla="*/ 52 w 884"/>
                <a:gd name="T93" fmla="*/ 148 h 1818"/>
                <a:gd name="T94" fmla="*/ 49 w 884"/>
                <a:gd name="T95" fmla="*/ 136 h 1818"/>
                <a:gd name="T96" fmla="*/ 46 w 884"/>
                <a:gd name="T97" fmla="*/ 127 h 1818"/>
                <a:gd name="T98" fmla="*/ 56 w 884"/>
                <a:gd name="T99" fmla="*/ 130 h 1818"/>
                <a:gd name="T100" fmla="*/ 61 w 884"/>
                <a:gd name="T101" fmla="*/ 128 h 1818"/>
                <a:gd name="T102" fmla="*/ 60 w 884"/>
                <a:gd name="T103" fmla="*/ 120 h 1818"/>
                <a:gd name="T104" fmla="*/ 61 w 884"/>
                <a:gd name="T105" fmla="*/ 114 h 1818"/>
                <a:gd name="T106" fmla="*/ 73 w 884"/>
                <a:gd name="T107" fmla="*/ 114 h 1818"/>
                <a:gd name="T108" fmla="*/ 86 w 884"/>
                <a:gd name="T109" fmla="*/ 108 h 1818"/>
                <a:gd name="T110" fmla="*/ 88 w 884"/>
                <a:gd name="T111" fmla="*/ 98 h 1818"/>
                <a:gd name="T112" fmla="*/ 84 w 884"/>
                <a:gd name="T113" fmla="*/ 95 h 1818"/>
                <a:gd name="T114" fmla="*/ 82 w 884"/>
                <a:gd name="T115" fmla="*/ 90 h 1818"/>
                <a:gd name="T116" fmla="*/ 74 w 884"/>
                <a:gd name="T117" fmla="*/ 84 h 1818"/>
                <a:gd name="T118" fmla="*/ 75 w 884"/>
                <a:gd name="T119" fmla="*/ 59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chemeClr val="tx2"/>
            </a:solidFill>
            <a:ln>
              <a:solidFill>
                <a:schemeClr val="tx2"/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329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040313" y="2639814"/>
            <a:ext cx="123825" cy="109538"/>
          </a:xfrm>
          <a:custGeom>
            <a:avLst/>
            <a:gdLst>
              <a:gd name="T0" fmla="*/ 6500147 w 279"/>
              <a:gd name="T1" fmla="*/ 25083665 h 204"/>
              <a:gd name="T2" fmla="*/ 11621353 w 279"/>
              <a:gd name="T3" fmla="*/ 40940901 h 204"/>
              <a:gd name="T4" fmla="*/ 11621353 w 279"/>
              <a:gd name="T5" fmla="*/ 51608507 h 204"/>
              <a:gd name="T6" fmla="*/ 20091161 w 279"/>
              <a:gd name="T7" fmla="*/ 56509795 h 204"/>
              <a:gd name="T8" fmla="*/ 24030926 w 279"/>
              <a:gd name="T9" fmla="*/ 58239851 h 204"/>
              <a:gd name="T10" fmla="*/ 27379527 w 279"/>
              <a:gd name="T11" fmla="*/ 58816536 h 204"/>
              <a:gd name="T12" fmla="*/ 28758023 w 279"/>
              <a:gd name="T13" fmla="*/ 57951508 h 204"/>
              <a:gd name="T14" fmla="*/ 29742854 w 279"/>
              <a:gd name="T15" fmla="*/ 55933110 h 204"/>
              <a:gd name="T16" fmla="*/ 31515903 w 279"/>
              <a:gd name="T17" fmla="*/ 49590645 h 204"/>
              <a:gd name="T18" fmla="*/ 33879674 w 279"/>
              <a:gd name="T19" fmla="*/ 42959300 h 204"/>
              <a:gd name="T20" fmla="*/ 35652280 w 279"/>
              <a:gd name="T21" fmla="*/ 40652559 h 204"/>
              <a:gd name="T22" fmla="*/ 37818995 w 279"/>
              <a:gd name="T23" fmla="*/ 39210845 h 204"/>
              <a:gd name="T24" fmla="*/ 41167596 w 279"/>
              <a:gd name="T25" fmla="*/ 39787531 h 204"/>
              <a:gd name="T26" fmla="*/ 43334312 w 279"/>
              <a:gd name="T27" fmla="*/ 40940901 h 204"/>
              <a:gd name="T28" fmla="*/ 44909863 w 279"/>
              <a:gd name="T29" fmla="*/ 42670957 h 204"/>
              <a:gd name="T30" fmla="*/ 45501027 w 279"/>
              <a:gd name="T31" fmla="*/ 44400477 h 204"/>
              <a:gd name="T32" fmla="*/ 46091748 w 279"/>
              <a:gd name="T33" fmla="*/ 47283903 h 204"/>
              <a:gd name="T34" fmla="*/ 45501027 w 279"/>
              <a:gd name="T35" fmla="*/ 48148931 h 204"/>
              <a:gd name="T36" fmla="*/ 46091748 w 279"/>
              <a:gd name="T37" fmla="*/ 44112671 h 204"/>
              <a:gd name="T38" fmla="*/ 46879524 w 279"/>
              <a:gd name="T39" fmla="*/ 40364216 h 204"/>
              <a:gd name="T40" fmla="*/ 48258464 w 279"/>
              <a:gd name="T41" fmla="*/ 33732871 h 204"/>
              <a:gd name="T42" fmla="*/ 50031513 w 279"/>
              <a:gd name="T43" fmla="*/ 33156186 h 204"/>
              <a:gd name="T44" fmla="*/ 52001174 w 279"/>
              <a:gd name="T45" fmla="*/ 31715010 h 204"/>
              <a:gd name="T46" fmla="*/ 54955665 w 279"/>
              <a:gd name="T47" fmla="*/ 28543240 h 204"/>
              <a:gd name="T48" fmla="*/ 49637404 w 279"/>
              <a:gd name="T49" fmla="*/ 21623553 h 204"/>
              <a:gd name="T50" fmla="*/ 44713252 w 279"/>
              <a:gd name="T51" fmla="*/ 16722264 h 204"/>
              <a:gd name="T52" fmla="*/ 40182766 w 279"/>
              <a:gd name="T53" fmla="*/ 12686004 h 204"/>
              <a:gd name="T54" fmla="*/ 36440055 w 279"/>
              <a:gd name="T55" fmla="*/ 8937549 h 204"/>
              <a:gd name="T56" fmla="*/ 28758023 w 279"/>
              <a:gd name="T57" fmla="*/ 19605691 h 204"/>
              <a:gd name="T58" fmla="*/ 15561119 w 279"/>
              <a:gd name="T59" fmla="*/ 7208030 h 204"/>
              <a:gd name="T60" fmla="*/ 10242413 w 279"/>
              <a:gd name="T61" fmla="*/ 3459575 h 204"/>
              <a:gd name="T62" fmla="*/ 9060972 w 279"/>
              <a:gd name="T63" fmla="*/ 17875635 h 204"/>
              <a:gd name="T64" fmla="*/ 0 w 279"/>
              <a:gd name="T65" fmla="*/ 1614557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0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506913" y="2212777"/>
            <a:ext cx="209550" cy="150812"/>
          </a:xfrm>
          <a:custGeom>
            <a:avLst/>
            <a:gdLst>
              <a:gd name="T0" fmla="*/ 47042895 w 485"/>
              <a:gd name="T1" fmla="*/ 5371706 h 291"/>
              <a:gd name="T2" fmla="*/ 56003426 w 485"/>
              <a:gd name="T3" fmla="*/ 11817753 h 291"/>
              <a:gd name="T4" fmla="*/ 69444006 w 485"/>
              <a:gd name="T5" fmla="*/ 11817753 h 291"/>
              <a:gd name="T6" fmla="*/ 79337790 w 485"/>
              <a:gd name="T7" fmla="*/ 35184802 h 291"/>
              <a:gd name="T8" fmla="*/ 90538562 w 485"/>
              <a:gd name="T9" fmla="*/ 44853873 h 291"/>
              <a:gd name="T10" fmla="*/ 76910899 w 485"/>
              <a:gd name="T11" fmla="*/ 46465644 h 291"/>
              <a:gd name="T12" fmla="*/ 80831428 w 485"/>
              <a:gd name="T13" fmla="*/ 56403170 h 291"/>
              <a:gd name="T14" fmla="*/ 73177452 w 485"/>
              <a:gd name="T15" fmla="*/ 64729443 h 291"/>
              <a:gd name="T16" fmla="*/ 71870897 w 485"/>
              <a:gd name="T17" fmla="*/ 78158967 h 291"/>
              <a:gd name="T18" fmla="*/ 53203233 w 485"/>
              <a:gd name="T19" fmla="*/ 71444464 h 291"/>
              <a:gd name="T20" fmla="*/ 32295328 w 485"/>
              <a:gd name="T21" fmla="*/ 68221441 h 291"/>
              <a:gd name="T22" fmla="*/ 11200772 w 485"/>
              <a:gd name="T23" fmla="*/ 71444464 h 291"/>
              <a:gd name="T24" fmla="*/ 2800193 w 485"/>
              <a:gd name="T25" fmla="*/ 72787261 h 291"/>
              <a:gd name="T26" fmla="*/ 1493206 w 485"/>
              <a:gd name="T27" fmla="*/ 69026808 h 291"/>
              <a:gd name="T28" fmla="*/ 559952 w 485"/>
              <a:gd name="T29" fmla="*/ 65535329 h 291"/>
              <a:gd name="T30" fmla="*/ 0 w 485"/>
              <a:gd name="T31" fmla="*/ 61506420 h 291"/>
              <a:gd name="T32" fmla="*/ 933254 w 485"/>
              <a:gd name="T33" fmla="*/ 58820826 h 291"/>
              <a:gd name="T34" fmla="*/ 2613542 w 485"/>
              <a:gd name="T35" fmla="*/ 55597803 h 291"/>
              <a:gd name="T36" fmla="*/ 4293399 w 485"/>
              <a:gd name="T37" fmla="*/ 50763008 h 291"/>
              <a:gd name="T38" fmla="*/ 5787036 w 485"/>
              <a:gd name="T39" fmla="*/ 44585417 h 291"/>
              <a:gd name="T40" fmla="*/ 7653976 w 485"/>
              <a:gd name="T41" fmla="*/ 36796573 h 291"/>
              <a:gd name="T42" fmla="*/ 8960531 w 485"/>
              <a:gd name="T43" fmla="*/ 33842005 h 291"/>
              <a:gd name="T44" fmla="*/ 11200772 w 485"/>
              <a:gd name="T45" fmla="*/ 31961779 h 291"/>
              <a:gd name="T46" fmla="*/ 16240773 w 485"/>
              <a:gd name="T47" fmla="*/ 29813097 h 291"/>
              <a:gd name="T48" fmla="*/ 16614507 w 485"/>
              <a:gd name="T49" fmla="*/ 28470300 h 291"/>
              <a:gd name="T50" fmla="*/ 17547760 w 485"/>
              <a:gd name="T51" fmla="*/ 26858529 h 291"/>
              <a:gd name="T52" fmla="*/ 18854315 w 485"/>
              <a:gd name="T53" fmla="*/ 25515732 h 291"/>
              <a:gd name="T54" fmla="*/ 19788001 w 485"/>
              <a:gd name="T55" fmla="*/ 24978821 h 291"/>
              <a:gd name="T56" fmla="*/ 19788001 w 485"/>
              <a:gd name="T57" fmla="*/ 20412482 h 291"/>
              <a:gd name="T58" fmla="*/ 20347953 w 485"/>
              <a:gd name="T59" fmla="*/ 18801229 h 291"/>
              <a:gd name="T60" fmla="*/ 21094556 w 485"/>
              <a:gd name="T61" fmla="*/ 17995344 h 291"/>
              <a:gd name="T62" fmla="*/ 22774845 w 485"/>
              <a:gd name="T63" fmla="*/ 18532774 h 291"/>
              <a:gd name="T64" fmla="*/ 23894749 w 485"/>
              <a:gd name="T65" fmla="*/ 18532774 h 291"/>
              <a:gd name="T66" fmla="*/ 24641352 w 485"/>
              <a:gd name="T67" fmla="*/ 17726888 h 291"/>
              <a:gd name="T68" fmla="*/ 25014653 w 485"/>
              <a:gd name="T69" fmla="*/ 15040776 h 291"/>
              <a:gd name="T70" fmla="*/ 25948339 w 485"/>
              <a:gd name="T71" fmla="*/ 11817753 h 291"/>
              <a:gd name="T72" fmla="*/ 26881592 w 485"/>
              <a:gd name="T73" fmla="*/ 10474956 h 291"/>
              <a:gd name="T74" fmla="*/ 39762221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1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364038" y="2544564"/>
            <a:ext cx="82550" cy="87313"/>
          </a:xfrm>
          <a:custGeom>
            <a:avLst/>
            <a:gdLst>
              <a:gd name="T0" fmla="*/ 16939615 w 186"/>
              <a:gd name="T1" fmla="*/ 40668397 h 166"/>
              <a:gd name="T2" fmla="*/ 16348894 w 186"/>
              <a:gd name="T3" fmla="*/ 37625591 h 166"/>
              <a:gd name="T4" fmla="*/ 15364064 w 186"/>
              <a:gd name="T5" fmla="*/ 35135593 h 166"/>
              <a:gd name="T6" fmla="*/ 14575845 w 186"/>
              <a:gd name="T7" fmla="*/ 32645594 h 166"/>
              <a:gd name="T8" fmla="*/ 13788069 w 186"/>
              <a:gd name="T9" fmla="*/ 30432262 h 166"/>
              <a:gd name="T10" fmla="*/ 11818408 w 186"/>
              <a:gd name="T11" fmla="*/ 26282265 h 166"/>
              <a:gd name="T12" fmla="*/ 9651693 w 186"/>
              <a:gd name="T13" fmla="*/ 22686127 h 166"/>
              <a:gd name="T14" fmla="*/ 7287922 w 186"/>
              <a:gd name="T15" fmla="*/ 19366129 h 166"/>
              <a:gd name="T16" fmla="*/ 4924152 w 186"/>
              <a:gd name="T17" fmla="*/ 15492798 h 166"/>
              <a:gd name="T18" fmla="*/ 2560825 w 186"/>
              <a:gd name="T19" fmla="*/ 10512801 h 166"/>
              <a:gd name="T20" fmla="*/ 0 w 186"/>
              <a:gd name="T21" fmla="*/ 4979997 h 166"/>
              <a:gd name="T22" fmla="*/ 0 w 186"/>
              <a:gd name="T23" fmla="*/ 0 h 166"/>
              <a:gd name="T24" fmla="*/ 1378940 w 186"/>
              <a:gd name="T25" fmla="*/ 553333 h 166"/>
              <a:gd name="T26" fmla="*/ 2757436 w 186"/>
              <a:gd name="T27" fmla="*/ 829999 h 166"/>
              <a:gd name="T28" fmla="*/ 3939322 w 186"/>
              <a:gd name="T29" fmla="*/ 1106666 h 166"/>
              <a:gd name="T30" fmla="*/ 5318262 w 186"/>
              <a:gd name="T31" fmla="*/ 1106666 h 166"/>
              <a:gd name="T32" fmla="*/ 6500147 w 186"/>
              <a:gd name="T33" fmla="*/ 1106666 h 166"/>
              <a:gd name="T34" fmla="*/ 7879087 w 186"/>
              <a:gd name="T35" fmla="*/ 829999 h 166"/>
              <a:gd name="T36" fmla="*/ 9257583 w 186"/>
              <a:gd name="T37" fmla="*/ 553333 h 166"/>
              <a:gd name="T38" fmla="*/ 10439468 w 186"/>
              <a:gd name="T39" fmla="*/ 0 h 166"/>
              <a:gd name="T40" fmla="*/ 27576138 w 186"/>
              <a:gd name="T41" fmla="*/ 3319998 h 166"/>
              <a:gd name="T42" fmla="*/ 36637110 w 186"/>
              <a:gd name="T43" fmla="*/ 25175599 h 166"/>
              <a:gd name="T44" fmla="*/ 33682619 w 186"/>
              <a:gd name="T45" fmla="*/ 30985595 h 166"/>
              <a:gd name="T46" fmla="*/ 30531073 w 186"/>
              <a:gd name="T47" fmla="*/ 35688926 h 166"/>
              <a:gd name="T48" fmla="*/ 29349188 w 186"/>
              <a:gd name="T49" fmla="*/ 37902258 h 166"/>
              <a:gd name="T50" fmla="*/ 28364358 w 186"/>
              <a:gd name="T51" fmla="*/ 40115064 h 166"/>
              <a:gd name="T52" fmla="*/ 27970248 w 186"/>
              <a:gd name="T53" fmla="*/ 41498396 h 166"/>
              <a:gd name="T54" fmla="*/ 27773193 w 186"/>
              <a:gd name="T55" fmla="*/ 43158395 h 166"/>
              <a:gd name="T56" fmla="*/ 27576138 w 186"/>
              <a:gd name="T57" fmla="*/ 44541728 h 166"/>
              <a:gd name="T58" fmla="*/ 27576138 w 186"/>
              <a:gd name="T59" fmla="*/ 45925060 h 166"/>
              <a:gd name="T60" fmla="*/ 16939615 w 186"/>
              <a:gd name="T61" fmla="*/ 40668397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2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728913" y="3981252"/>
            <a:ext cx="82550" cy="57150"/>
          </a:xfrm>
          <a:custGeom>
            <a:avLst/>
            <a:gdLst>
              <a:gd name="T0" fmla="*/ 2147483647 w 186"/>
              <a:gd name="T1" fmla="*/ 2147483647 h 104"/>
              <a:gd name="T2" fmla="*/ 2147483647 w 186"/>
              <a:gd name="T3" fmla="*/ 2147483647 h 104"/>
              <a:gd name="T4" fmla="*/ 2147483647 w 186"/>
              <a:gd name="T5" fmla="*/ 2147483647 h 104"/>
              <a:gd name="T6" fmla="*/ 2147483647 w 186"/>
              <a:gd name="T7" fmla="*/ 2147483647 h 104"/>
              <a:gd name="T8" fmla="*/ 2147483647 w 186"/>
              <a:gd name="T9" fmla="*/ 2147483647 h 104"/>
              <a:gd name="T10" fmla="*/ 2147483647 w 186"/>
              <a:gd name="T11" fmla="*/ 2147483647 h 104"/>
              <a:gd name="T12" fmla="*/ 2147483647 w 186"/>
              <a:gd name="T13" fmla="*/ 2147483647 h 104"/>
              <a:gd name="T14" fmla="*/ 2147483647 w 186"/>
              <a:gd name="T15" fmla="*/ 2147483647 h 104"/>
              <a:gd name="T16" fmla="*/ 2147483647 w 186"/>
              <a:gd name="T17" fmla="*/ 2147483647 h 104"/>
              <a:gd name="T18" fmla="*/ 2147483647 w 186"/>
              <a:gd name="T19" fmla="*/ 2147483647 h 104"/>
              <a:gd name="T20" fmla="*/ 2147483647 w 186"/>
              <a:gd name="T21" fmla="*/ 2147483647 h 104"/>
              <a:gd name="T22" fmla="*/ 2147483647 w 186"/>
              <a:gd name="T23" fmla="*/ 2147483647 h 104"/>
              <a:gd name="T24" fmla="*/ 2147483647 w 186"/>
              <a:gd name="T25" fmla="*/ 2147483647 h 104"/>
              <a:gd name="T26" fmla="*/ 2147483647 w 186"/>
              <a:gd name="T27" fmla="*/ 0 h 104"/>
              <a:gd name="T28" fmla="*/ 2147483647 w 186"/>
              <a:gd name="T29" fmla="*/ 0 h 104"/>
              <a:gd name="T30" fmla="*/ 2147483647 w 186"/>
              <a:gd name="T31" fmla="*/ 2147483647 h 104"/>
              <a:gd name="T32" fmla="*/ 2147483647 w 186"/>
              <a:gd name="T33" fmla="*/ 2147483647 h 104"/>
              <a:gd name="T34" fmla="*/ 2147483647 w 186"/>
              <a:gd name="T35" fmla="*/ 2147483647 h 104"/>
              <a:gd name="T36" fmla="*/ 2147483647 w 186"/>
              <a:gd name="T37" fmla="*/ 2147483647 h 104"/>
              <a:gd name="T38" fmla="*/ 2147483647 w 186"/>
              <a:gd name="T39" fmla="*/ 2147483647 h 104"/>
              <a:gd name="T40" fmla="*/ 2147483647 w 186"/>
              <a:gd name="T41" fmla="*/ 2147483647 h 104"/>
              <a:gd name="T42" fmla="*/ 2147483647 w 186"/>
              <a:gd name="T43" fmla="*/ 2147483647 h 104"/>
              <a:gd name="T44" fmla="*/ 2147483647 w 186"/>
              <a:gd name="T45" fmla="*/ 2147483647 h 104"/>
              <a:gd name="T46" fmla="*/ 2147483647 w 186"/>
              <a:gd name="T47" fmla="*/ 2147483647 h 104"/>
              <a:gd name="T48" fmla="*/ 0 w 186"/>
              <a:gd name="T49" fmla="*/ 2147483647 h 104"/>
              <a:gd name="T50" fmla="*/ 2147483647 w 186"/>
              <a:gd name="T51" fmla="*/ 2147483647 h 104"/>
              <a:gd name="T52" fmla="*/ 2147483647 w 186"/>
              <a:gd name="T53" fmla="*/ 2147483647 h 104"/>
              <a:gd name="T54" fmla="*/ 2147483647 w 186"/>
              <a:gd name="T55" fmla="*/ 2147483647 h 104"/>
              <a:gd name="T56" fmla="*/ 2147483647 w 186"/>
              <a:gd name="T57" fmla="*/ 2147483647 h 104"/>
              <a:gd name="T58" fmla="*/ 2147483647 w 186"/>
              <a:gd name="T59" fmla="*/ 2147483647 h 104"/>
              <a:gd name="T60" fmla="*/ 2147483647 w 186"/>
              <a:gd name="T61" fmla="*/ 2147483647 h 104"/>
              <a:gd name="T62" fmla="*/ 2147483647 w 186"/>
              <a:gd name="T63" fmla="*/ 2147483647 h 104"/>
              <a:gd name="T64" fmla="*/ 2147483647 w 186"/>
              <a:gd name="T65" fmla="*/ 2147483647 h 104"/>
              <a:gd name="T66" fmla="*/ 2147483647 w 186"/>
              <a:gd name="T67" fmla="*/ 2147483647 h 104"/>
              <a:gd name="T68" fmla="*/ 2147483647 w 186"/>
              <a:gd name="T69" fmla="*/ 2147483647 h 104"/>
              <a:gd name="T70" fmla="*/ 2147483647 w 186"/>
              <a:gd name="T71" fmla="*/ 2147483647 h 104"/>
              <a:gd name="T72" fmla="*/ 2147483647 w 186"/>
              <a:gd name="T73" fmla="*/ 2147483647 h 104"/>
              <a:gd name="T74" fmla="*/ 2147483647 w 186"/>
              <a:gd name="T75" fmla="*/ 2147483647 h 104"/>
              <a:gd name="T76" fmla="*/ 2147483647 w 186"/>
              <a:gd name="T77" fmla="*/ 2147483647 h 104"/>
              <a:gd name="T78" fmla="*/ 2147483647 w 186"/>
              <a:gd name="T79" fmla="*/ 2147483647 h 104"/>
              <a:gd name="T80" fmla="*/ 2147483647 w 186"/>
              <a:gd name="T81" fmla="*/ 2147483647 h 104"/>
              <a:gd name="T82" fmla="*/ 2147483647 w 186"/>
              <a:gd name="T83" fmla="*/ 2147483647 h 104"/>
              <a:gd name="T84" fmla="*/ 2147483647 w 186"/>
              <a:gd name="T85" fmla="*/ 2147483647 h 104"/>
              <a:gd name="T86" fmla="*/ 2147483647 w 186"/>
              <a:gd name="T87" fmla="*/ 2147483647 h 104"/>
              <a:gd name="T88" fmla="*/ 2147483647 w 186"/>
              <a:gd name="T89" fmla="*/ 2147483647 h 104"/>
              <a:gd name="T90" fmla="*/ 2147483647 w 186"/>
              <a:gd name="T91" fmla="*/ 2147483647 h 104"/>
              <a:gd name="T92" fmla="*/ 2147483647 w 186"/>
              <a:gd name="T93" fmla="*/ 2147483647 h 104"/>
              <a:gd name="T94" fmla="*/ 2147483647 w 186"/>
              <a:gd name="T95" fmla="*/ 2147483647 h 104"/>
              <a:gd name="T96" fmla="*/ 2147483647 w 186"/>
              <a:gd name="T97" fmla="*/ 2147483647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3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522788" y="2579489"/>
            <a:ext cx="133350" cy="96838"/>
          </a:xfrm>
          <a:custGeom>
            <a:avLst/>
            <a:gdLst>
              <a:gd name="T0" fmla="*/ 14524002 w 311"/>
              <a:gd name="T1" fmla="*/ 11121763 h 179"/>
              <a:gd name="T2" fmla="*/ 21142621 w 311"/>
              <a:gd name="T3" fmla="*/ 7609627 h 179"/>
              <a:gd name="T4" fmla="*/ 27209832 w 311"/>
              <a:gd name="T5" fmla="*/ 4097492 h 179"/>
              <a:gd name="T6" fmla="*/ 32725634 w 311"/>
              <a:gd name="T7" fmla="*/ 1170712 h 179"/>
              <a:gd name="T8" fmla="*/ 38792415 w 311"/>
              <a:gd name="T9" fmla="*/ 0 h 179"/>
              <a:gd name="T10" fmla="*/ 43388917 w 311"/>
              <a:gd name="T11" fmla="*/ 585356 h 179"/>
              <a:gd name="T12" fmla="*/ 47065690 w 311"/>
              <a:gd name="T13" fmla="*/ 1756068 h 179"/>
              <a:gd name="T14" fmla="*/ 53684309 w 311"/>
              <a:gd name="T15" fmla="*/ 3512136 h 179"/>
              <a:gd name="T16" fmla="*/ 52765009 w 311"/>
              <a:gd name="T17" fmla="*/ 8194983 h 179"/>
              <a:gd name="T18" fmla="*/ 51110354 w 311"/>
              <a:gd name="T19" fmla="*/ 12292475 h 179"/>
              <a:gd name="T20" fmla="*/ 49455699 w 311"/>
              <a:gd name="T21" fmla="*/ 15511933 h 179"/>
              <a:gd name="T22" fmla="*/ 48720344 w 311"/>
              <a:gd name="T23" fmla="*/ 18146035 h 179"/>
              <a:gd name="T24" fmla="*/ 48904290 w 311"/>
              <a:gd name="T25" fmla="*/ 19316747 h 179"/>
              <a:gd name="T26" fmla="*/ 49823591 w 311"/>
              <a:gd name="T27" fmla="*/ 20780136 h 179"/>
              <a:gd name="T28" fmla="*/ 52397546 w 311"/>
              <a:gd name="T29" fmla="*/ 23121560 h 179"/>
              <a:gd name="T30" fmla="*/ 57177564 w 311"/>
              <a:gd name="T31" fmla="*/ 27218511 h 179"/>
              <a:gd name="T32" fmla="*/ 52765009 w 311"/>
              <a:gd name="T33" fmla="*/ 31316003 h 179"/>
              <a:gd name="T34" fmla="*/ 51662191 w 311"/>
              <a:gd name="T35" fmla="*/ 33657426 h 179"/>
              <a:gd name="T36" fmla="*/ 51110354 w 311"/>
              <a:gd name="T37" fmla="*/ 37754918 h 179"/>
              <a:gd name="T38" fmla="*/ 46330335 w 311"/>
              <a:gd name="T39" fmla="*/ 39803664 h 179"/>
              <a:gd name="T40" fmla="*/ 38792415 w 311"/>
              <a:gd name="T41" fmla="*/ 43315800 h 179"/>
              <a:gd name="T42" fmla="*/ 35115643 w 311"/>
              <a:gd name="T43" fmla="*/ 49169359 h 179"/>
              <a:gd name="T44" fmla="*/ 32725634 w 311"/>
              <a:gd name="T45" fmla="*/ 51510783 h 179"/>
              <a:gd name="T46" fmla="*/ 30335195 w 311"/>
              <a:gd name="T47" fmla="*/ 52388817 h 179"/>
              <a:gd name="T48" fmla="*/ 27761240 w 311"/>
              <a:gd name="T49" fmla="*/ 51218105 h 179"/>
              <a:gd name="T50" fmla="*/ 25187714 w 311"/>
              <a:gd name="T51" fmla="*/ 48876681 h 179"/>
              <a:gd name="T52" fmla="*/ 22061921 w 311"/>
              <a:gd name="T53" fmla="*/ 46242579 h 179"/>
              <a:gd name="T54" fmla="*/ 18017257 w 311"/>
              <a:gd name="T55" fmla="*/ 45364546 h 179"/>
              <a:gd name="T56" fmla="*/ 12133992 w 311"/>
              <a:gd name="T57" fmla="*/ 45364546 h 179"/>
              <a:gd name="T58" fmla="*/ 9376520 w 311"/>
              <a:gd name="T59" fmla="*/ 45949901 h 179"/>
              <a:gd name="T60" fmla="*/ 7170028 w 311"/>
              <a:gd name="T61" fmla="*/ 47120613 h 179"/>
              <a:gd name="T62" fmla="*/ 6618619 w 311"/>
              <a:gd name="T63" fmla="*/ 41559732 h 179"/>
              <a:gd name="T64" fmla="*/ 5883265 w 311"/>
              <a:gd name="T65" fmla="*/ 35998850 h 179"/>
              <a:gd name="T66" fmla="*/ 3860718 w 311"/>
              <a:gd name="T67" fmla="*/ 37462240 h 179"/>
              <a:gd name="T68" fmla="*/ 2390009 w 311"/>
              <a:gd name="T69" fmla="*/ 37754918 h 179"/>
              <a:gd name="T70" fmla="*/ 1286763 w 311"/>
              <a:gd name="T71" fmla="*/ 36876884 h 179"/>
              <a:gd name="T72" fmla="*/ 551409 w 311"/>
              <a:gd name="T73" fmla="*/ 35413494 h 179"/>
              <a:gd name="T74" fmla="*/ 0 w 311"/>
              <a:gd name="T75" fmla="*/ 30730647 h 179"/>
              <a:gd name="T76" fmla="*/ 0 w 311"/>
              <a:gd name="T77" fmla="*/ 25462984 h 179"/>
              <a:gd name="T78" fmla="*/ 551409 w 311"/>
              <a:gd name="T79" fmla="*/ 23999594 h 179"/>
              <a:gd name="T80" fmla="*/ 2390009 w 311"/>
              <a:gd name="T81" fmla="*/ 22828882 h 179"/>
              <a:gd name="T82" fmla="*/ 3860718 w 311"/>
              <a:gd name="T83" fmla="*/ 21072814 h 179"/>
              <a:gd name="T84" fmla="*/ 4596073 w 311"/>
              <a:gd name="T85" fmla="*/ 19902102 h 179"/>
              <a:gd name="T86" fmla="*/ 4780019 w 311"/>
              <a:gd name="T87" fmla="*/ 18146035 h 179"/>
              <a:gd name="T88" fmla="*/ 4412556 w 311"/>
              <a:gd name="T89" fmla="*/ 14926577 h 179"/>
              <a:gd name="T90" fmla="*/ 3493255 w 311"/>
              <a:gd name="T91" fmla="*/ 12585153 h 179"/>
              <a:gd name="T92" fmla="*/ 1470709 w 311"/>
              <a:gd name="T93" fmla="*/ 8487661 h 179"/>
              <a:gd name="T94" fmla="*/ 183946 w 311"/>
              <a:gd name="T95" fmla="*/ 5268204 h 179"/>
              <a:gd name="T96" fmla="*/ 183946 w 311"/>
              <a:gd name="T97" fmla="*/ 3804814 h 179"/>
              <a:gd name="T98" fmla="*/ 1103246 w 311"/>
              <a:gd name="T99" fmla="*/ 1756068 h 179"/>
              <a:gd name="T100" fmla="*/ 0 w 311"/>
              <a:gd name="T101" fmla="*/ 1756068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4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878263" y="3506589"/>
            <a:ext cx="177800" cy="165100"/>
          </a:xfrm>
          <a:custGeom>
            <a:avLst/>
            <a:gdLst>
              <a:gd name="T0" fmla="*/ 2147483647 w 405"/>
              <a:gd name="T1" fmla="*/ 2147483647 h 314"/>
              <a:gd name="T2" fmla="*/ 2147483647 w 405"/>
              <a:gd name="T3" fmla="*/ 2147483647 h 314"/>
              <a:gd name="T4" fmla="*/ 2147483647 w 405"/>
              <a:gd name="T5" fmla="*/ 2147483647 h 314"/>
              <a:gd name="T6" fmla="*/ 2147483647 w 405"/>
              <a:gd name="T7" fmla="*/ 2147483647 h 314"/>
              <a:gd name="T8" fmla="*/ 2147483647 w 405"/>
              <a:gd name="T9" fmla="*/ 2147483647 h 314"/>
              <a:gd name="T10" fmla="*/ 2147483647 w 405"/>
              <a:gd name="T11" fmla="*/ 2147483647 h 314"/>
              <a:gd name="T12" fmla="*/ 2147483647 w 405"/>
              <a:gd name="T13" fmla="*/ 2147483647 h 314"/>
              <a:gd name="T14" fmla="*/ 2147483647 w 405"/>
              <a:gd name="T15" fmla="*/ 2147483647 h 314"/>
              <a:gd name="T16" fmla="*/ 2147483647 w 405"/>
              <a:gd name="T17" fmla="*/ 2147483647 h 314"/>
              <a:gd name="T18" fmla="*/ 2147483647 w 405"/>
              <a:gd name="T19" fmla="*/ 2147483647 h 314"/>
              <a:gd name="T20" fmla="*/ 2147483647 w 405"/>
              <a:gd name="T21" fmla="*/ 2147483647 h 314"/>
              <a:gd name="T22" fmla="*/ 2147483647 w 405"/>
              <a:gd name="T23" fmla="*/ 2147483647 h 314"/>
              <a:gd name="T24" fmla="*/ 2147483647 w 405"/>
              <a:gd name="T25" fmla="*/ 2147483647 h 314"/>
              <a:gd name="T26" fmla="*/ 2147483647 w 405"/>
              <a:gd name="T27" fmla="*/ 2147483647 h 314"/>
              <a:gd name="T28" fmla="*/ 2147483647 w 405"/>
              <a:gd name="T29" fmla="*/ 2147483647 h 314"/>
              <a:gd name="T30" fmla="*/ 2147483647 w 405"/>
              <a:gd name="T31" fmla="*/ 2147483647 h 314"/>
              <a:gd name="T32" fmla="*/ 2147483647 w 405"/>
              <a:gd name="T33" fmla="*/ 2147483647 h 314"/>
              <a:gd name="T34" fmla="*/ 2147483647 w 405"/>
              <a:gd name="T35" fmla="*/ 2147483647 h 314"/>
              <a:gd name="T36" fmla="*/ 2147483647 w 405"/>
              <a:gd name="T37" fmla="*/ 2147483647 h 314"/>
              <a:gd name="T38" fmla="*/ 2147483647 w 405"/>
              <a:gd name="T39" fmla="*/ 2147483647 h 314"/>
              <a:gd name="T40" fmla="*/ 2147483647 w 405"/>
              <a:gd name="T41" fmla="*/ 0 h 314"/>
              <a:gd name="T42" fmla="*/ 2147483647 w 405"/>
              <a:gd name="T43" fmla="*/ 2147483647 h 314"/>
              <a:gd name="T44" fmla="*/ 2147483647 w 405"/>
              <a:gd name="T45" fmla="*/ 2147483647 h 314"/>
              <a:gd name="T46" fmla="*/ 2147483647 w 405"/>
              <a:gd name="T47" fmla="*/ 2147483647 h 314"/>
              <a:gd name="T48" fmla="*/ 2147483647 w 405"/>
              <a:gd name="T49" fmla="*/ 2147483647 h 314"/>
              <a:gd name="T50" fmla="*/ 2147483647 w 405"/>
              <a:gd name="T51" fmla="*/ 2147483647 h 314"/>
              <a:gd name="T52" fmla="*/ 2147483647 w 405"/>
              <a:gd name="T53" fmla="*/ 2147483647 h 314"/>
              <a:gd name="T54" fmla="*/ 2147483647 w 405"/>
              <a:gd name="T55" fmla="*/ 2147483647 h 314"/>
              <a:gd name="T56" fmla="*/ 2147483647 w 405"/>
              <a:gd name="T57" fmla="*/ 2147483647 h 314"/>
              <a:gd name="T58" fmla="*/ 2147483647 w 405"/>
              <a:gd name="T59" fmla="*/ 2147483647 h 314"/>
              <a:gd name="T60" fmla="*/ 2147483647 w 405"/>
              <a:gd name="T61" fmla="*/ 2147483647 h 314"/>
              <a:gd name="T62" fmla="*/ 2147483647 w 405"/>
              <a:gd name="T63" fmla="*/ 2147483647 h 314"/>
              <a:gd name="T64" fmla="*/ 2147483647 w 405"/>
              <a:gd name="T65" fmla="*/ 2147483647 h 314"/>
              <a:gd name="T66" fmla="*/ 2147483647 w 405"/>
              <a:gd name="T67" fmla="*/ 2147483647 h 314"/>
              <a:gd name="T68" fmla="*/ 2147483647 w 405"/>
              <a:gd name="T69" fmla="*/ 2147483647 h 314"/>
              <a:gd name="T70" fmla="*/ 2147483647 w 405"/>
              <a:gd name="T71" fmla="*/ 2147483647 h 314"/>
              <a:gd name="T72" fmla="*/ 2147483647 w 405"/>
              <a:gd name="T73" fmla="*/ 2147483647 h 314"/>
              <a:gd name="T74" fmla="*/ 2147483647 w 405"/>
              <a:gd name="T75" fmla="*/ 2147483647 h 314"/>
              <a:gd name="T76" fmla="*/ 2147483647 w 405"/>
              <a:gd name="T77" fmla="*/ 2147483647 h 314"/>
              <a:gd name="T78" fmla="*/ 2147483647 w 405"/>
              <a:gd name="T79" fmla="*/ 2147483647 h 314"/>
              <a:gd name="T80" fmla="*/ 2147483647 w 405"/>
              <a:gd name="T81" fmla="*/ 2147483647 h 314"/>
              <a:gd name="T82" fmla="*/ 2147483647 w 405"/>
              <a:gd name="T83" fmla="*/ 2147483647 h 314"/>
              <a:gd name="T84" fmla="*/ 2147483647 w 405"/>
              <a:gd name="T85" fmla="*/ 2147483647 h 314"/>
              <a:gd name="T86" fmla="*/ 2147483647 w 405"/>
              <a:gd name="T87" fmla="*/ 2147483647 h 314"/>
              <a:gd name="T88" fmla="*/ 2147483647 w 405"/>
              <a:gd name="T89" fmla="*/ 2147483647 h 314"/>
              <a:gd name="T90" fmla="*/ 2147483647 w 405"/>
              <a:gd name="T91" fmla="*/ 2147483647 h 314"/>
              <a:gd name="T92" fmla="*/ 2147483647 w 405"/>
              <a:gd name="T93" fmla="*/ 2147483647 h 314"/>
              <a:gd name="T94" fmla="*/ 2147483647 w 405"/>
              <a:gd name="T95" fmla="*/ 2147483647 h 314"/>
              <a:gd name="T96" fmla="*/ 2147483647 w 405"/>
              <a:gd name="T97" fmla="*/ 2147483647 h 314"/>
              <a:gd name="T98" fmla="*/ 2147483647 w 405"/>
              <a:gd name="T99" fmla="*/ 2147483647 h 314"/>
              <a:gd name="T100" fmla="*/ 2147483647 w 405"/>
              <a:gd name="T101" fmla="*/ 2147483647 h 314"/>
              <a:gd name="T102" fmla="*/ 2147483647 w 405"/>
              <a:gd name="T103" fmla="*/ 2147483647 h 314"/>
              <a:gd name="T104" fmla="*/ 0 w 405"/>
              <a:gd name="T105" fmla="*/ 2147483647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5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225925" y="3574852"/>
            <a:ext cx="193675" cy="349250"/>
          </a:xfrm>
          <a:custGeom>
            <a:avLst/>
            <a:gdLst>
              <a:gd name="T0" fmla="*/ 2147483647 w 453"/>
              <a:gd name="T1" fmla="*/ 2147483647 h 661"/>
              <a:gd name="T2" fmla="*/ 2147483647 w 453"/>
              <a:gd name="T3" fmla="*/ 2147483647 h 661"/>
              <a:gd name="T4" fmla="*/ 2147483647 w 453"/>
              <a:gd name="T5" fmla="*/ 2147483647 h 661"/>
              <a:gd name="T6" fmla="*/ 2147483647 w 453"/>
              <a:gd name="T7" fmla="*/ 2147483647 h 661"/>
              <a:gd name="T8" fmla="*/ 2147483647 w 453"/>
              <a:gd name="T9" fmla="*/ 2147483647 h 661"/>
              <a:gd name="T10" fmla="*/ 2147483647 w 453"/>
              <a:gd name="T11" fmla="*/ 2147483647 h 661"/>
              <a:gd name="T12" fmla="*/ 2147483647 w 453"/>
              <a:gd name="T13" fmla="*/ 2147483647 h 661"/>
              <a:gd name="T14" fmla="*/ 2147483647 w 453"/>
              <a:gd name="T15" fmla="*/ 2147483647 h 661"/>
              <a:gd name="T16" fmla="*/ 2147483647 w 453"/>
              <a:gd name="T17" fmla="*/ 2147483647 h 661"/>
              <a:gd name="T18" fmla="*/ 2147483647 w 453"/>
              <a:gd name="T19" fmla="*/ 2147483647 h 661"/>
              <a:gd name="T20" fmla="*/ 2147483647 w 453"/>
              <a:gd name="T21" fmla="*/ 2147483647 h 661"/>
              <a:gd name="T22" fmla="*/ 2147483647 w 453"/>
              <a:gd name="T23" fmla="*/ 2147483647 h 661"/>
              <a:gd name="T24" fmla="*/ 2147483647 w 453"/>
              <a:gd name="T25" fmla="*/ 2147483647 h 661"/>
              <a:gd name="T26" fmla="*/ 2147483647 w 453"/>
              <a:gd name="T27" fmla="*/ 2147483647 h 661"/>
              <a:gd name="T28" fmla="*/ 2147483647 w 453"/>
              <a:gd name="T29" fmla="*/ 2147483647 h 661"/>
              <a:gd name="T30" fmla="*/ 2147483647 w 453"/>
              <a:gd name="T31" fmla="*/ 2147483647 h 661"/>
              <a:gd name="T32" fmla="*/ 2147483647 w 453"/>
              <a:gd name="T33" fmla="*/ 2147483647 h 661"/>
              <a:gd name="T34" fmla="*/ 2147483647 w 453"/>
              <a:gd name="T35" fmla="*/ 2147483647 h 661"/>
              <a:gd name="T36" fmla="*/ 2147483647 w 453"/>
              <a:gd name="T37" fmla="*/ 2147483647 h 661"/>
              <a:gd name="T38" fmla="*/ 2147483647 w 453"/>
              <a:gd name="T39" fmla="*/ 2147483647 h 661"/>
              <a:gd name="T40" fmla="*/ 2147483647 w 453"/>
              <a:gd name="T41" fmla="*/ 2147483647 h 661"/>
              <a:gd name="T42" fmla="*/ 2147483647 w 453"/>
              <a:gd name="T43" fmla="*/ 2147483647 h 661"/>
              <a:gd name="T44" fmla="*/ 2147483647 w 453"/>
              <a:gd name="T45" fmla="*/ 2147483647 h 661"/>
              <a:gd name="T46" fmla="*/ 2147483647 w 453"/>
              <a:gd name="T47" fmla="*/ 2147483647 h 661"/>
              <a:gd name="T48" fmla="*/ 2147483647 w 453"/>
              <a:gd name="T49" fmla="*/ 2147483647 h 661"/>
              <a:gd name="T50" fmla="*/ 2147483647 w 453"/>
              <a:gd name="T51" fmla="*/ 2147483647 h 661"/>
              <a:gd name="T52" fmla="*/ 2147483647 w 453"/>
              <a:gd name="T53" fmla="*/ 2147483647 h 661"/>
              <a:gd name="T54" fmla="*/ 2147483647 w 453"/>
              <a:gd name="T55" fmla="*/ 2147483647 h 661"/>
              <a:gd name="T56" fmla="*/ 2147483647 w 453"/>
              <a:gd name="T57" fmla="*/ 2147483647 h 661"/>
              <a:gd name="T58" fmla="*/ 2147483647 w 453"/>
              <a:gd name="T59" fmla="*/ 2147483647 h 661"/>
              <a:gd name="T60" fmla="*/ 2147483647 w 453"/>
              <a:gd name="T61" fmla="*/ 2147483647 h 661"/>
              <a:gd name="T62" fmla="*/ 2147483647 w 453"/>
              <a:gd name="T63" fmla="*/ 2147483647 h 661"/>
              <a:gd name="T64" fmla="*/ 2147483647 w 453"/>
              <a:gd name="T65" fmla="*/ 2147483647 h 661"/>
              <a:gd name="T66" fmla="*/ 2147483647 w 453"/>
              <a:gd name="T67" fmla="*/ 2147483647 h 661"/>
              <a:gd name="T68" fmla="*/ 2147483647 w 453"/>
              <a:gd name="T69" fmla="*/ 2147483647 h 661"/>
              <a:gd name="T70" fmla="*/ 2147483647 w 453"/>
              <a:gd name="T71" fmla="*/ 2147483647 h 661"/>
              <a:gd name="T72" fmla="*/ 2147483647 w 453"/>
              <a:gd name="T73" fmla="*/ 2147483647 h 661"/>
              <a:gd name="T74" fmla="*/ 2147483647 w 453"/>
              <a:gd name="T75" fmla="*/ 2147483647 h 661"/>
              <a:gd name="T76" fmla="*/ 2147483647 w 453"/>
              <a:gd name="T77" fmla="*/ 2147483647 h 661"/>
              <a:gd name="T78" fmla="*/ 2147483647 w 453"/>
              <a:gd name="T79" fmla="*/ 2147483647 h 661"/>
              <a:gd name="T80" fmla="*/ 2147483647 w 453"/>
              <a:gd name="T81" fmla="*/ 2147483647 h 661"/>
              <a:gd name="T82" fmla="*/ 2147483647 w 453"/>
              <a:gd name="T83" fmla="*/ 2147483647 h 661"/>
              <a:gd name="T84" fmla="*/ 2147483647 w 453"/>
              <a:gd name="T85" fmla="*/ 2147483647 h 661"/>
              <a:gd name="T86" fmla="*/ 2147483647 w 453"/>
              <a:gd name="T87" fmla="*/ 2147483647 h 661"/>
              <a:gd name="T88" fmla="*/ 2147483647 w 453"/>
              <a:gd name="T89" fmla="*/ 2147483647 h 661"/>
              <a:gd name="T90" fmla="*/ 2147483647 w 453"/>
              <a:gd name="T91" fmla="*/ 2147483647 h 661"/>
              <a:gd name="T92" fmla="*/ 2147483647 w 453"/>
              <a:gd name="T93" fmla="*/ 2147483647 h 661"/>
              <a:gd name="T94" fmla="*/ 2147483647 w 453"/>
              <a:gd name="T95" fmla="*/ 2147483647 h 661"/>
              <a:gd name="T96" fmla="*/ 2147483647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6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677025" y="3333552"/>
            <a:ext cx="55563" cy="57150"/>
          </a:xfrm>
          <a:custGeom>
            <a:avLst/>
            <a:gdLst>
              <a:gd name="T0" fmla="*/ 0 w 126"/>
              <a:gd name="T1" fmla="*/ 2147483647 h 105"/>
              <a:gd name="T2" fmla="*/ 2147483647 w 126"/>
              <a:gd name="T3" fmla="*/ 2147483647 h 105"/>
              <a:gd name="T4" fmla="*/ 2147483647 w 126"/>
              <a:gd name="T5" fmla="*/ 2147483647 h 105"/>
              <a:gd name="T6" fmla="*/ 2147483647 w 126"/>
              <a:gd name="T7" fmla="*/ 2147483647 h 105"/>
              <a:gd name="T8" fmla="*/ 2147483647 w 126"/>
              <a:gd name="T9" fmla="*/ 2147483647 h 105"/>
              <a:gd name="T10" fmla="*/ 2147483647 w 126"/>
              <a:gd name="T11" fmla="*/ 2147483647 h 105"/>
              <a:gd name="T12" fmla="*/ 2147483647 w 126"/>
              <a:gd name="T13" fmla="*/ 0 h 105"/>
              <a:gd name="T14" fmla="*/ 2147483647 w 126"/>
              <a:gd name="T15" fmla="*/ 0 h 105"/>
              <a:gd name="T16" fmla="*/ 2147483647 w 126"/>
              <a:gd name="T17" fmla="*/ 2147483647 h 105"/>
              <a:gd name="T18" fmla="*/ 2147483647 w 126"/>
              <a:gd name="T19" fmla="*/ 2147483647 h 105"/>
              <a:gd name="T20" fmla="*/ 2147483647 w 126"/>
              <a:gd name="T21" fmla="*/ 2147483647 h 105"/>
              <a:gd name="T22" fmla="*/ 2147483647 w 126"/>
              <a:gd name="T23" fmla="*/ 2147483647 h 105"/>
              <a:gd name="T24" fmla="*/ 2147483647 w 126"/>
              <a:gd name="T25" fmla="*/ 2147483647 h 105"/>
              <a:gd name="T26" fmla="*/ 2147483647 w 126"/>
              <a:gd name="T27" fmla="*/ 2147483647 h 105"/>
              <a:gd name="T28" fmla="*/ 2147483647 w 126"/>
              <a:gd name="T29" fmla="*/ 2147483647 h 105"/>
              <a:gd name="T30" fmla="*/ 2147483647 w 126"/>
              <a:gd name="T31" fmla="*/ 2147483647 h 105"/>
              <a:gd name="T32" fmla="*/ 2147483647 w 126"/>
              <a:gd name="T33" fmla="*/ 2147483647 h 105"/>
              <a:gd name="T34" fmla="*/ 2147483647 w 126"/>
              <a:gd name="T35" fmla="*/ 2147483647 h 105"/>
              <a:gd name="T36" fmla="*/ 2147483647 w 126"/>
              <a:gd name="T37" fmla="*/ 2147483647 h 105"/>
              <a:gd name="T38" fmla="*/ 2147483647 w 126"/>
              <a:gd name="T39" fmla="*/ 2147483647 h 105"/>
              <a:gd name="T40" fmla="*/ 2147483647 w 126"/>
              <a:gd name="T41" fmla="*/ 2147483647 h 105"/>
              <a:gd name="T42" fmla="*/ 2147483647 w 126"/>
              <a:gd name="T43" fmla="*/ 2147483647 h 105"/>
              <a:gd name="T44" fmla="*/ 2147483647 w 126"/>
              <a:gd name="T45" fmla="*/ 2147483647 h 105"/>
              <a:gd name="T46" fmla="*/ 2147483647 w 126"/>
              <a:gd name="T47" fmla="*/ 2147483647 h 105"/>
              <a:gd name="T48" fmla="*/ 2147483647 w 126"/>
              <a:gd name="T49" fmla="*/ 2147483647 h 105"/>
              <a:gd name="T50" fmla="*/ 2147483647 w 126"/>
              <a:gd name="T51" fmla="*/ 2147483647 h 105"/>
              <a:gd name="T52" fmla="*/ 2147483647 w 126"/>
              <a:gd name="T53" fmla="*/ 2147483647 h 105"/>
              <a:gd name="T54" fmla="*/ 2147483647 w 126"/>
              <a:gd name="T55" fmla="*/ 2147483647 h 105"/>
              <a:gd name="T56" fmla="*/ 2147483647 w 126"/>
              <a:gd name="T57" fmla="*/ 2147483647 h 105"/>
              <a:gd name="T58" fmla="*/ 2147483647 w 126"/>
              <a:gd name="T59" fmla="*/ 2147483647 h 105"/>
              <a:gd name="T60" fmla="*/ 2147483647 w 126"/>
              <a:gd name="T61" fmla="*/ 2147483647 h 105"/>
              <a:gd name="T62" fmla="*/ 2147483647 w 126"/>
              <a:gd name="T63" fmla="*/ 2147483647 h 105"/>
              <a:gd name="T64" fmla="*/ 2147483647 w 126"/>
              <a:gd name="T65" fmla="*/ 2147483647 h 105"/>
              <a:gd name="T66" fmla="*/ 2147483647 w 126"/>
              <a:gd name="T67" fmla="*/ 2147483647 h 105"/>
              <a:gd name="T68" fmla="*/ 2147483647 w 126"/>
              <a:gd name="T69" fmla="*/ 2147483647 h 105"/>
              <a:gd name="T70" fmla="*/ 2147483647 w 126"/>
              <a:gd name="T71" fmla="*/ 2147483647 h 105"/>
              <a:gd name="T72" fmla="*/ 2147483647 w 126"/>
              <a:gd name="T73" fmla="*/ 2147483647 h 105"/>
              <a:gd name="T74" fmla="*/ 2147483647 w 126"/>
              <a:gd name="T75" fmla="*/ 2147483647 h 105"/>
              <a:gd name="T76" fmla="*/ 0 w 126"/>
              <a:gd name="T77" fmla="*/ 2147483647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7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032000" y="3597077"/>
            <a:ext cx="298450" cy="523875"/>
          </a:xfrm>
          <a:custGeom>
            <a:avLst/>
            <a:gdLst>
              <a:gd name="T0" fmla="*/ 127747945 w 684"/>
              <a:gd name="T1" fmla="*/ 157887946 h 998"/>
              <a:gd name="T2" fmla="*/ 129461414 w 684"/>
              <a:gd name="T3" fmla="*/ 151550528 h 998"/>
              <a:gd name="T4" fmla="*/ 127747945 w 684"/>
              <a:gd name="T5" fmla="*/ 135293081 h 998"/>
              <a:gd name="T6" fmla="*/ 125463319 w 684"/>
              <a:gd name="T7" fmla="*/ 116555888 h 998"/>
              <a:gd name="T8" fmla="*/ 129080498 w 684"/>
              <a:gd name="T9" fmla="*/ 107187555 h 998"/>
              <a:gd name="T10" fmla="*/ 106043997 w 684"/>
              <a:gd name="T11" fmla="*/ 99472209 h 998"/>
              <a:gd name="T12" fmla="*/ 101474745 w 684"/>
              <a:gd name="T13" fmla="*/ 89828290 h 998"/>
              <a:gd name="T14" fmla="*/ 87957666 w 684"/>
              <a:gd name="T15" fmla="*/ 85419446 h 998"/>
              <a:gd name="T16" fmla="*/ 76534535 w 684"/>
              <a:gd name="T17" fmla="*/ 74397599 h 998"/>
              <a:gd name="T18" fmla="*/ 71394127 w 684"/>
              <a:gd name="T19" fmla="*/ 55384821 h 998"/>
              <a:gd name="T20" fmla="*/ 71394127 w 684"/>
              <a:gd name="T21" fmla="*/ 36647628 h 998"/>
              <a:gd name="T22" fmla="*/ 75201982 w 684"/>
              <a:gd name="T23" fmla="*/ 23146036 h 998"/>
              <a:gd name="T24" fmla="*/ 82817257 w 684"/>
              <a:gd name="T25" fmla="*/ 13226007 h 998"/>
              <a:gd name="T26" fmla="*/ 88147906 w 684"/>
              <a:gd name="T27" fmla="*/ 3030916 h 998"/>
              <a:gd name="T28" fmla="*/ 74059669 w 684"/>
              <a:gd name="T29" fmla="*/ 10746262 h 998"/>
              <a:gd name="T30" fmla="*/ 63778852 w 684"/>
              <a:gd name="T31" fmla="*/ 18737193 h 998"/>
              <a:gd name="T32" fmla="*/ 57876611 w 684"/>
              <a:gd name="T33" fmla="*/ 21492523 h 998"/>
              <a:gd name="T34" fmla="*/ 52926879 w 684"/>
              <a:gd name="T35" fmla="*/ 23146036 h 998"/>
              <a:gd name="T36" fmla="*/ 45882761 w 684"/>
              <a:gd name="T37" fmla="*/ 22319280 h 998"/>
              <a:gd name="T38" fmla="*/ 41313508 w 684"/>
              <a:gd name="T39" fmla="*/ 29759040 h 998"/>
              <a:gd name="T40" fmla="*/ 37315413 w 684"/>
              <a:gd name="T41" fmla="*/ 48220647 h 998"/>
              <a:gd name="T42" fmla="*/ 29890378 w 684"/>
              <a:gd name="T43" fmla="*/ 62548995 h 998"/>
              <a:gd name="T44" fmla="*/ 20370958 w 684"/>
              <a:gd name="T45" fmla="*/ 78255272 h 998"/>
              <a:gd name="T46" fmla="*/ 17134695 w 684"/>
              <a:gd name="T47" fmla="*/ 87348020 h 998"/>
              <a:gd name="T48" fmla="*/ 16372862 w 684"/>
              <a:gd name="T49" fmla="*/ 98094281 h 998"/>
              <a:gd name="T50" fmla="*/ 18467248 w 684"/>
              <a:gd name="T51" fmla="*/ 105258456 h 998"/>
              <a:gd name="T52" fmla="*/ 18467248 w 684"/>
              <a:gd name="T53" fmla="*/ 124271234 h 998"/>
              <a:gd name="T54" fmla="*/ 18086332 w 684"/>
              <a:gd name="T55" fmla="*/ 144661940 h 998"/>
              <a:gd name="T56" fmla="*/ 13707756 w 684"/>
              <a:gd name="T57" fmla="*/ 155132616 h 998"/>
              <a:gd name="T58" fmla="*/ 7044118 w 684"/>
              <a:gd name="T59" fmla="*/ 163123547 h 998"/>
              <a:gd name="T60" fmla="*/ 2094386 w 684"/>
              <a:gd name="T61" fmla="*/ 168634208 h 998"/>
              <a:gd name="T62" fmla="*/ 5711565 w 684"/>
              <a:gd name="T63" fmla="*/ 184064899 h 998"/>
              <a:gd name="T64" fmla="*/ 23417417 w 684"/>
              <a:gd name="T65" fmla="*/ 199771175 h 998"/>
              <a:gd name="T66" fmla="*/ 33317317 w 684"/>
              <a:gd name="T67" fmla="*/ 200597407 h 998"/>
              <a:gd name="T68" fmla="*/ 44549771 w 684"/>
              <a:gd name="T69" fmla="*/ 205557422 h 998"/>
              <a:gd name="T70" fmla="*/ 56924974 w 684"/>
              <a:gd name="T71" fmla="*/ 219059014 h 998"/>
              <a:gd name="T72" fmla="*/ 64159332 w 684"/>
              <a:gd name="T73" fmla="*/ 234214119 h 998"/>
              <a:gd name="T74" fmla="*/ 69870897 w 684"/>
              <a:gd name="T75" fmla="*/ 242756221 h 998"/>
              <a:gd name="T76" fmla="*/ 78438245 w 684"/>
              <a:gd name="T77" fmla="*/ 244133624 h 998"/>
              <a:gd name="T78" fmla="*/ 87957666 w 684"/>
              <a:gd name="T79" fmla="*/ 241378293 h 998"/>
              <a:gd name="T80" fmla="*/ 93669231 w 684"/>
              <a:gd name="T81" fmla="*/ 241929464 h 998"/>
              <a:gd name="T82" fmla="*/ 98047806 w 684"/>
              <a:gd name="T83" fmla="*/ 249093639 h 998"/>
              <a:gd name="T84" fmla="*/ 97667326 w 684"/>
              <a:gd name="T85" fmla="*/ 254053654 h 998"/>
              <a:gd name="T86" fmla="*/ 92907398 w 684"/>
              <a:gd name="T87" fmla="*/ 258186912 h 998"/>
              <a:gd name="T88" fmla="*/ 92907398 w 684"/>
              <a:gd name="T89" fmla="*/ 265351086 h 998"/>
              <a:gd name="T90" fmla="*/ 97286410 w 684"/>
              <a:gd name="T91" fmla="*/ 273892663 h 998"/>
              <a:gd name="T92" fmla="*/ 103188215 w 684"/>
              <a:gd name="T93" fmla="*/ 265075501 h 998"/>
              <a:gd name="T94" fmla="*/ 107757467 w 684"/>
              <a:gd name="T95" fmla="*/ 237245035 h 998"/>
              <a:gd name="T96" fmla="*/ 108709540 w 684"/>
              <a:gd name="T97" fmla="*/ 221263698 h 998"/>
              <a:gd name="T98" fmla="*/ 105663081 w 684"/>
              <a:gd name="T99" fmla="*/ 212446010 h 998"/>
              <a:gd name="T100" fmla="*/ 99571036 w 684"/>
              <a:gd name="T101" fmla="*/ 206384178 h 998"/>
              <a:gd name="T102" fmla="*/ 99190119 w 684"/>
              <a:gd name="T103" fmla="*/ 199220004 h 998"/>
              <a:gd name="T104" fmla="*/ 107757467 w 684"/>
              <a:gd name="T105" fmla="*/ 192882061 h 998"/>
              <a:gd name="T106" fmla="*/ 105853757 w 684"/>
              <a:gd name="T107" fmla="*/ 183238142 h 998"/>
              <a:gd name="T108" fmla="*/ 105853757 w 684"/>
              <a:gd name="T109" fmla="*/ 178829298 h 998"/>
              <a:gd name="T110" fmla="*/ 124701486 w 684"/>
              <a:gd name="T111" fmla="*/ 173043051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8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284663" y="3865364"/>
            <a:ext cx="187325" cy="274638"/>
          </a:xfrm>
          <a:custGeom>
            <a:avLst/>
            <a:gdLst>
              <a:gd name="T0" fmla="*/ 2147483647 w 429"/>
              <a:gd name="T1" fmla="*/ 2147483647 h 524"/>
              <a:gd name="T2" fmla="*/ 2147483647 w 429"/>
              <a:gd name="T3" fmla="*/ 2147483647 h 524"/>
              <a:gd name="T4" fmla="*/ 2147483647 w 429"/>
              <a:gd name="T5" fmla="*/ 2147483647 h 524"/>
              <a:gd name="T6" fmla="*/ 2147483647 w 429"/>
              <a:gd name="T7" fmla="*/ 2147483647 h 524"/>
              <a:gd name="T8" fmla="*/ 2147483647 w 429"/>
              <a:gd name="T9" fmla="*/ 2147483647 h 524"/>
              <a:gd name="T10" fmla="*/ 2147483647 w 429"/>
              <a:gd name="T11" fmla="*/ 2147483647 h 524"/>
              <a:gd name="T12" fmla="*/ 2147483647 w 429"/>
              <a:gd name="T13" fmla="*/ 2147483647 h 524"/>
              <a:gd name="T14" fmla="*/ 2147483647 w 429"/>
              <a:gd name="T15" fmla="*/ 2147483647 h 524"/>
              <a:gd name="T16" fmla="*/ 2147483647 w 429"/>
              <a:gd name="T17" fmla="*/ 2147483647 h 524"/>
              <a:gd name="T18" fmla="*/ 2147483647 w 429"/>
              <a:gd name="T19" fmla="*/ 2147483647 h 524"/>
              <a:gd name="T20" fmla="*/ 2147483647 w 429"/>
              <a:gd name="T21" fmla="*/ 2147483647 h 524"/>
              <a:gd name="T22" fmla="*/ 2147483647 w 429"/>
              <a:gd name="T23" fmla="*/ 2147483647 h 524"/>
              <a:gd name="T24" fmla="*/ 2147483647 w 429"/>
              <a:gd name="T25" fmla="*/ 2147483647 h 524"/>
              <a:gd name="T26" fmla="*/ 2147483647 w 429"/>
              <a:gd name="T27" fmla="*/ 2147483647 h 524"/>
              <a:gd name="T28" fmla="*/ 2147483647 w 429"/>
              <a:gd name="T29" fmla="*/ 2147483647 h 524"/>
              <a:gd name="T30" fmla="*/ 2147483647 w 429"/>
              <a:gd name="T31" fmla="*/ 2147483647 h 524"/>
              <a:gd name="T32" fmla="*/ 2147483647 w 429"/>
              <a:gd name="T33" fmla="*/ 2147483647 h 524"/>
              <a:gd name="T34" fmla="*/ 2147483647 w 429"/>
              <a:gd name="T35" fmla="*/ 2147483647 h 524"/>
              <a:gd name="T36" fmla="*/ 2147483647 w 429"/>
              <a:gd name="T37" fmla="*/ 2147483647 h 524"/>
              <a:gd name="T38" fmla="*/ 2147483647 w 429"/>
              <a:gd name="T39" fmla="*/ 2147483647 h 524"/>
              <a:gd name="T40" fmla="*/ 2147483647 w 429"/>
              <a:gd name="T41" fmla="*/ 2147483647 h 524"/>
              <a:gd name="T42" fmla="*/ 2147483647 w 429"/>
              <a:gd name="T43" fmla="*/ 2147483647 h 524"/>
              <a:gd name="T44" fmla="*/ 2147483647 w 429"/>
              <a:gd name="T45" fmla="*/ 2147483647 h 524"/>
              <a:gd name="T46" fmla="*/ 2147483647 w 429"/>
              <a:gd name="T47" fmla="*/ 2147483647 h 524"/>
              <a:gd name="T48" fmla="*/ 2147483647 w 429"/>
              <a:gd name="T49" fmla="*/ 2147483647 h 524"/>
              <a:gd name="T50" fmla="*/ 2147483647 w 429"/>
              <a:gd name="T51" fmla="*/ 2147483647 h 524"/>
              <a:gd name="T52" fmla="*/ 2147483647 w 429"/>
              <a:gd name="T53" fmla="*/ 2147483647 h 524"/>
              <a:gd name="T54" fmla="*/ 2147483647 w 429"/>
              <a:gd name="T55" fmla="*/ 2147483647 h 524"/>
              <a:gd name="T56" fmla="*/ 2147483647 w 429"/>
              <a:gd name="T57" fmla="*/ 2147483647 h 524"/>
              <a:gd name="T58" fmla="*/ 2147483647 w 429"/>
              <a:gd name="T59" fmla="*/ 2147483647 h 524"/>
              <a:gd name="T60" fmla="*/ 2147483647 w 429"/>
              <a:gd name="T61" fmla="*/ 2147483647 h 524"/>
              <a:gd name="T62" fmla="*/ 2147483647 w 429"/>
              <a:gd name="T63" fmla="*/ 2147483647 h 524"/>
              <a:gd name="T64" fmla="*/ 2147483647 w 429"/>
              <a:gd name="T65" fmla="*/ 2147483647 h 524"/>
              <a:gd name="T66" fmla="*/ 2147483647 w 429"/>
              <a:gd name="T67" fmla="*/ 2147483647 h 524"/>
              <a:gd name="T68" fmla="*/ 2147483647 w 429"/>
              <a:gd name="T69" fmla="*/ 2147483647 h 524"/>
              <a:gd name="T70" fmla="*/ 2147483647 w 429"/>
              <a:gd name="T71" fmla="*/ 2147483647 h 524"/>
              <a:gd name="T72" fmla="*/ 2147483647 w 429"/>
              <a:gd name="T73" fmla="*/ 2147483647 h 524"/>
              <a:gd name="T74" fmla="*/ 2147483647 w 429"/>
              <a:gd name="T75" fmla="*/ 2147483647 h 524"/>
              <a:gd name="T76" fmla="*/ 2147483647 w 429"/>
              <a:gd name="T77" fmla="*/ 2147483647 h 524"/>
              <a:gd name="T78" fmla="*/ 2147483647 w 429"/>
              <a:gd name="T79" fmla="*/ 2147483647 h 524"/>
              <a:gd name="T80" fmla="*/ 2147483647 w 429"/>
              <a:gd name="T81" fmla="*/ 2147483647 h 524"/>
              <a:gd name="T82" fmla="*/ 2147483647 w 429"/>
              <a:gd name="T83" fmla="*/ 2147483647 h 524"/>
              <a:gd name="T84" fmla="*/ 2147483647 w 429"/>
              <a:gd name="T85" fmla="*/ 2147483647 h 524"/>
              <a:gd name="T86" fmla="*/ 2147483647 w 429"/>
              <a:gd name="T87" fmla="*/ 2147483647 h 524"/>
              <a:gd name="T88" fmla="*/ 2147483647 w 429"/>
              <a:gd name="T89" fmla="*/ 2147483647 h 524"/>
              <a:gd name="T90" fmla="*/ 2147483647 w 429"/>
              <a:gd name="T91" fmla="*/ 2147483647 h 524"/>
              <a:gd name="T92" fmla="*/ 2147483647 w 429"/>
              <a:gd name="T93" fmla="*/ 2147483647 h 524"/>
              <a:gd name="T94" fmla="*/ 2147483647 w 429"/>
              <a:gd name="T95" fmla="*/ 2147483647 h 524"/>
              <a:gd name="T96" fmla="*/ 2147483647 w 429"/>
              <a:gd name="T97" fmla="*/ 2147483647 h 524"/>
              <a:gd name="T98" fmla="*/ 2147483647 w 429"/>
              <a:gd name="T99" fmla="*/ 2147483647 h 524"/>
              <a:gd name="T100" fmla="*/ 2147483647 w 429"/>
              <a:gd name="T101" fmla="*/ 2147483647 h 524"/>
              <a:gd name="T102" fmla="*/ 2147483647 w 429"/>
              <a:gd name="T103" fmla="*/ 2147483647 h 524"/>
              <a:gd name="T104" fmla="*/ 2147483647 w 429"/>
              <a:gd name="T105" fmla="*/ 2147483647 h 524"/>
              <a:gd name="T106" fmla="*/ 2147483647 w 429"/>
              <a:gd name="T107" fmla="*/ 2147483647 h 524"/>
              <a:gd name="T108" fmla="*/ 2147483647 w 429"/>
              <a:gd name="T109" fmla="*/ 2147483647 h 524"/>
              <a:gd name="T110" fmla="*/ 2147483647 w 429"/>
              <a:gd name="T111" fmla="*/ 2147483647 h 524"/>
              <a:gd name="T112" fmla="*/ 2147483647 w 429"/>
              <a:gd name="T113" fmla="*/ 2147483647 h 524"/>
              <a:gd name="T114" fmla="*/ 2147483647 w 429"/>
              <a:gd name="T115" fmla="*/ 2147483647 h 524"/>
              <a:gd name="T116" fmla="*/ 2147483647 w 429"/>
              <a:gd name="T117" fmla="*/ 2147483647 h 524"/>
              <a:gd name="T118" fmla="*/ 2147483647 w 429"/>
              <a:gd name="T119" fmla="*/ 2147483647 h 524"/>
              <a:gd name="T120" fmla="*/ 2147483647 w 429"/>
              <a:gd name="T121" fmla="*/ 2147483647 h 524"/>
              <a:gd name="T122" fmla="*/ 2147483647 w 429"/>
              <a:gd name="T123" fmla="*/ 2147483647 h 524"/>
              <a:gd name="T124" fmla="*/ 2147483647 w 429"/>
              <a:gd name="T125" fmla="*/ 2147483647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39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316413" y="2508052"/>
            <a:ext cx="127000" cy="114300"/>
          </a:xfrm>
          <a:custGeom>
            <a:avLst/>
            <a:gdLst>
              <a:gd name="T0" fmla="*/ 48993729 w 292"/>
              <a:gd name="T1" fmla="*/ 24432522 h 223"/>
              <a:gd name="T2" fmla="*/ 31401620 w 292"/>
              <a:gd name="T3" fmla="*/ 20229050 h 223"/>
              <a:gd name="T4" fmla="*/ 28753322 w 292"/>
              <a:gd name="T5" fmla="*/ 20754420 h 223"/>
              <a:gd name="T6" fmla="*/ 26293784 w 292"/>
              <a:gd name="T7" fmla="*/ 20754420 h 223"/>
              <a:gd name="T8" fmla="*/ 23834682 w 292"/>
              <a:gd name="T9" fmla="*/ 20229050 h 223"/>
              <a:gd name="T10" fmla="*/ 22510750 w 292"/>
              <a:gd name="T11" fmla="*/ 24432522 h 223"/>
              <a:gd name="T12" fmla="*/ 27239760 w 292"/>
              <a:gd name="T13" fmla="*/ 34415576 h 223"/>
              <a:gd name="T14" fmla="*/ 31779575 w 292"/>
              <a:gd name="T15" fmla="*/ 41245898 h 223"/>
              <a:gd name="T16" fmla="*/ 35752240 w 292"/>
              <a:gd name="T17" fmla="*/ 48602103 h 223"/>
              <a:gd name="T18" fmla="*/ 37265801 w 292"/>
              <a:gd name="T19" fmla="*/ 53068004 h 223"/>
              <a:gd name="T20" fmla="*/ 38778928 w 292"/>
              <a:gd name="T21" fmla="*/ 58322216 h 223"/>
              <a:gd name="T22" fmla="*/ 33103942 w 292"/>
              <a:gd name="T23" fmla="*/ 58585157 h 223"/>
              <a:gd name="T24" fmla="*/ 30455644 w 292"/>
              <a:gd name="T25" fmla="*/ 58322216 h 223"/>
              <a:gd name="T26" fmla="*/ 27618151 w 292"/>
              <a:gd name="T27" fmla="*/ 56746106 h 223"/>
              <a:gd name="T28" fmla="*/ 25348243 w 292"/>
              <a:gd name="T29" fmla="*/ 54907055 h 223"/>
              <a:gd name="T30" fmla="*/ 24023877 w 292"/>
              <a:gd name="T31" fmla="*/ 52017264 h 223"/>
              <a:gd name="T32" fmla="*/ 22889140 w 292"/>
              <a:gd name="T33" fmla="*/ 49127473 h 223"/>
              <a:gd name="T34" fmla="*/ 21375579 w 292"/>
              <a:gd name="T35" fmla="*/ 47288422 h 223"/>
              <a:gd name="T36" fmla="*/ 17214154 w 292"/>
              <a:gd name="T37" fmla="*/ 38093678 h 223"/>
              <a:gd name="T38" fmla="*/ 12863099 w 292"/>
              <a:gd name="T39" fmla="*/ 29686734 h 223"/>
              <a:gd name="T40" fmla="*/ 10403997 w 292"/>
              <a:gd name="T41" fmla="*/ 26008632 h 223"/>
              <a:gd name="T42" fmla="*/ 7944894 w 292"/>
              <a:gd name="T43" fmla="*/ 22855900 h 223"/>
              <a:gd name="T44" fmla="*/ 5107401 w 292"/>
              <a:gd name="T45" fmla="*/ 20754420 h 223"/>
              <a:gd name="T46" fmla="*/ 2459103 w 292"/>
              <a:gd name="T47" fmla="*/ 19703680 h 223"/>
              <a:gd name="T48" fmla="*/ 756781 w 292"/>
              <a:gd name="T49" fmla="*/ 17076317 h 223"/>
              <a:gd name="T50" fmla="*/ 189195 w 292"/>
              <a:gd name="T51" fmla="*/ 15237266 h 223"/>
              <a:gd name="T52" fmla="*/ 0 w 292"/>
              <a:gd name="T53" fmla="*/ 12872845 h 223"/>
              <a:gd name="T54" fmla="*/ 7566503 w 292"/>
              <a:gd name="T55" fmla="*/ 14449468 h 223"/>
              <a:gd name="T56" fmla="*/ 13241490 w 292"/>
              <a:gd name="T57" fmla="*/ 14449468 h 223"/>
              <a:gd name="T58" fmla="*/ 17214154 w 292"/>
              <a:gd name="T59" fmla="*/ 13135787 h 223"/>
              <a:gd name="T60" fmla="*/ 20051647 w 292"/>
              <a:gd name="T61" fmla="*/ 10771365 h 223"/>
              <a:gd name="T62" fmla="*/ 24023877 w 292"/>
              <a:gd name="T63" fmla="*/ 5254212 h 223"/>
              <a:gd name="T64" fmla="*/ 26105024 w 292"/>
              <a:gd name="T65" fmla="*/ 2364421 h 223"/>
              <a:gd name="T66" fmla="*/ 28753322 w 292"/>
              <a:gd name="T67" fmla="*/ 0 h 223"/>
              <a:gd name="T68" fmla="*/ 32536356 w 292"/>
              <a:gd name="T69" fmla="*/ 3678102 h 223"/>
              <a:gd name="T70" fmla="*/ 36698216 w 292"/>
              <a:gd name="T71" fmla="*/ 6830322 h 223"/>
              <a:gd name="T72" fmla="*/ 41238031 w 292"/>
              <a:gd name="T73" fmla="*/ 8932314 h 223"/>
              <a:gd name="T74" fmla="*/ 46534627 w 292"/>
              <a:gd name="T75" fmla="*/ 9720626 h 223"/>
              <a:gd name="T76" fmla="*/ 49561315 w 292"/>
              <a:gd name="T77" fmla="*/ 8932314 h 223"/>
              <a:gd name="T78" fmla="*/ 52777199 w 292"/>
              <a:gd name="T79" fmla="*/ 8144003 h 223"/>
              <a:gd name="T80" fmla="*/ 53911935 w 292"/>
              <a:gd name="T81" fmla="*/ 12347475 h 223"/>
              <a:gd name="T82" fmla="*/ 54290325 w 292"/>
              <a:gd name="T83" fmla="*/ 12872845 h 223"/>
              <a:gd name="T84" fmla="*/ 55236301 w 292"/>
              <a:gd name="T85" fmla="*/ 18127057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chemeClr val="tx2">
              <a:lumMod val="50000"/>
            </a:schemeClr>
          </a:solidFill>
          <a:ln>
            <a:solidFill>
              <a:schemeClr val="accent5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0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267200" y="2366764"/>
            <a:ext cx="168275" cy="77788"/>
          </a:xfrm>
          <a:custGeom>
            <a:avLst/>
            <a:gdLst>
              <a:gd name="T0" fmla="*/ 73925117 w 379"/>
              <a:gd name="T1" fmla="*/ 26321978 h 147"/>
              <a:gd name="T2" fmla="*/ 70968094 w 379"/>
              <a:gd name="T3" fmla="*/ 28282023 h 147"/>
              <a:gd name="T4" fmla="*/ 69785285 w 379"/>
              <a:gd name="T5" fmla="*/ 30242069 h 147"/>
              <a:gd name="T6" fmla="*/ 68405341 w 379"/>
              <a:gd name="T7" fmla="*/ 32762506 h 147"/>
              <a:gd name="T8" fmla="*/ 65645454 w 379"/>
              <a:gd name="T9" fmla="*/ 35562874 h 147"/>
              <a:gd name="T10" fmla="*/ 63082701 w 379"/>
              <a:gd name="T11" fmla="*/ 36682598 h 147"/>
              <a:gd name="T12" fmla="*/ 61308488 w 379"/>
              <a:gd name="T13" fmla="*/ 36962529 h 147"/>
              <a:gd name="T14" fmla="*/ 59337139 w 379"/>
              <a:gd name="T15" fmla="*/ 36402667 h 147"/>
              <a:gd name="T16" fmla="*/ 57365791 w 379"/>
              <a:gd name="T17" fmla="*/ 35282414 h 147"/>
              <a:gd name="T18" fmla="*/ 55394443 w 379"/>
              <a:gd name="T19" fmla="*/ 33322368 h 147"/>
              <a:gd name="T20" fmla="*/ 54211634 w 379"/>
              <a:gd name="T21" fmla="*/ 32482575 h 147"/>
              <a:gd name="T22" fmla="*/ 53028825 w 379"/>
              <a:gd name="T23" fmla="*/ 33042437 h 147"/>
              <a:gd name="T24" fmla="*/ 52634555 w 379"/>
              <a:gd name="T25" fmla="*/ 34442621 h 147"/>
              <a:gd name="T26" fmla="*/ 52437420 w 379"/>
              <a:gd name="T27" fmla="*/ 39203035 h 147"/>
              <a:gd name="T28" fmla="*/ 50663207 w 379"/>
              <a:gd name="T29" fmla="*/ 40603219 h 147"/>
              <a:gd name="T30" fmla="*/ 48100454 w 379"/>
              <a:gd name="T31" fmla="*/ 39203035 h 147"/>
              <a:gd name="T32" fmla="*/ 45143432 w 379"/>
              <a:gd name="T33" fmla="*/ 36682598 h 147"/>
              <a:gd name="T34" fmla="*/ 22276236 w 379"/>
              <a:gd name="T35" fmla="*/ 39482966 h 147"/>
              <a:gd name="T36" fmla="*/ 15770786 w 379"/>
              <a:gd name="T37" fmla="*/ 34722552 h 147"/>
              <a:gd name="T38" fmla="*/ 11433820 w 379"/>
              <a:gd name="T39" fmla="*/ 30522530 h 147"/>
              <a:gd name="T40" fmla="*/ 8871067 w 379"/>
              <a:gd name="T41" fmla="*/ 26321978 h 147"/>
              <a:gd name="T42" fmla="*/ 7293989 w 379"/>
              <a:gd name="T43" fmla="*/ 22961748 h 147"/>
              <a:gd name="T44" fmla="*/ 5125506 w 379"/>
              <a:gd name="T45" fmla="*/ 16521219 h 147"/>
              <a:gd name="T46" fmla="*/ 3154157 w 379"/>
              <a:gd name="T47" fmla="*/ 13440920 h 147"/>
              <a:gd name="T48" fmla="*/ 0 w 379"/>
              <a:gd name="T49" fmla="*/ 10080690 h 147"/>
              <a:gd name="T50" fmla="*/ 5716910 w 379"/>
              <a:gd name="T51" fmla="*/ 11200943 h 147"/>
              <a:gd name="T52" fmla="*/ 10251011 w 379"/>
              <a:gd name="T53" fmla="*/ 10640552 h 147"/>
              <a:gd name="T54" fmla="*/ 14193708 w 379"/>
              <a:gd name="T55" fmla="*/ 9240897 h 147"/>
              <a:gd name="T56" fmla="*/ 17150730 w 379"/>
              <a:gd name="T57" fmla="*/ 7000391 h 147"/>
              <a:gd name="T58" fmla="*/ 23459045 w 379"/>
              <a:gd name="T59" fmla="*/ 2239977 h 147"/>
              <a:gd name="T60" fmla="*/ 27204606 w 379"/>
              <a:gd name="T61" fmla="*/ 559862 h 147"/>
              <a:gd name="T62" fmla="*/ 31344438 w 379"/>
              <a:gd name="T63" fmla="*/ 0 h 147"/>
              <a:gd name="T64" fmla="*/ 39426522 w 379"/>
              <a:gd name="T65" fmla="*/ 6440529 h 147"/>
              <a:gd name="T66" fmla="*/ 48100454 w 379"/>
              <a:gd name="T67" fmla="*/ 12601127 h 147"/>
              <a:gd name="T68" fmla="*/ 57562926 w 379"/>
              <a:gd name="T69" fmla="*/ 18761196 h 147"/>
              <a:gd name="T70" fmla="*/ 65645454 w 379"/>
              <a:gd name="T71" fmla="*/ 22401886 h 147"/>
              <a:gd name="T72" fmla="*/ 69785285 w 379"/>
              <a:gd name="T73" fmla="*/ 24082001 h 147"/>
              <a:gd name="T74" fmla="*/ 74713656 w 379"/>
              <a:gd name="T75" fmla="*/ 25762116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chemeClr val="tx2">
              <a:lumMod val="50000"/>
            </a:schemeClr>
          </a:solidFill>
          <a:ln>
            <a:solidFill>
              <a:schemeClr val="accent5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1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230688" y="2222302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7295724 h 67"/>
              <a:gd name="T4" fmla="*/ 0 w 61"/>
              <a:gd name="T5" fmla="*/ 14592347 h 67"/>
              <a:gd name="T6" fmla="*/ 244263 w 61"/>
              <a:gd name="T7" fmla="*/ 19456163 h 67"/>
              <a:gd name="T8" fmla="*/ 489020 w 61"/>
              <a:gd name="T9" fmla="*/ 24319979 h 67"/>
              <a:gd name="T10" fmla="*/ 733283 w 61"/>
              <a:gd name="T11" fmla="*/ 29183794 h 67"/>
              <a:gd name="T12" fmla="*/ 1467060 w 61"/>
              <a:gd name="T13" fmla="*/ 34048510 h 67"/>
              <a:gd name="T14" fmla="*/ 2934120 w 61"/>
              <a:gd name="T15" fmla="*/ 44587378 h 67"/>
              <a:gd name="T16" fmla="*/ 5134462 w 61"/>
              <a:gd name="T17" fmla="*/ 54315009 h 67"/>
              <a:gd name="T18" fmla="*/ 6845785 w 61"/>
              <a:gd name="T19" fmla="*/ 52693437 h 67"/>
              <a:gd name="T20" fmla="*/ 8557108 w 61"/>
              <a:gd name="T21" fmla="*/ 49451194 h 67"/>
              <a:gd name="T22" fmla="*/ 10268430 w 61"/>
              <a:gd name="T23" fmla="*/ 47019286 h 67"/>
              <a:gd name="T24" fmla="*/ 11735490 w 61"/>
              <a:gd name="T25" fmla="*/ 42965806 h 67"/>
              <a:gd name="T26" fmla="*/ 12957793 w 61"/>
              <a:gd name="T27" fmla="*/ 38101990 h 67"/>
              <a:gd name="T28" fmla="*/ 13935833 w 61"/>
              <a:gd name="T29" fmla="*/ 32426938 h 67"/>
              <a:gd name="T30" fmla="*/ 14424853 w 61"/>
              <a:gd name="T31" fmla="*/ 25941551 h 67"/>
              <a:gd name="T32" fmla="*/ 14913873 w 61"/>
              <a:gd name="T33" fmla="*/ 19456163 h 67"/>
              <a:gd name="T34" fmla="*/ 12957793 w 61"/>
              <a:gd name="T35" fmla="*/ 11349203 h 67"/>
              <a:gd name="T36" fmla="*/ 10024168 w 61"/>
              <a:gd name="T37" fmla="*/ 0 h 67"/>
              <a:gd name="T38" fmla="*/ 6845785 w 61"/>
              <a:gd name="T39" fmla="*/ 2431908 h 67"/>
              <a:gd name="T40" fmla="*/ 4400685 w 61"/>
              <a:gd name="T41" fmla="*/ 3242244 h 67"/>
              <a:gd name="T42" fmla="*/ 3178383 w 61"/>
              <a:gd name="T43" fmla="*/ 3242244 h 67"/>
              <a:gd name="T44" fmla="*/ 2445100 w 61"/>
              <a:gd name="T45" fmla="*/ 2431908 h 67"/>
              <a:gd name="T46" fmla="*/ 1467060 w 61"/>
              <a:gd name="T47" fmla="*/ 1621572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chemeClr val="accent5">
              <a:lumMod val="2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2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202113" y="2227064"/>
            <a:ext cx="25400" cy="58738"/>
          </a:xfrm>
          <a:custGeom>
            <a:avLst/>
            <a:gdLst>
              <a:gd name="T0" fmla="*/ 0 w 60"/>
              <a:gd name="T1" fmla="*/ 2147483647 h 55"/>
              <a:gd name="T2" fmla="*/ 0 w 60"/>
              <a:gd name="T3" fmla="*/ 2147483647 h 55"/>
              <a:gd name="T4" fmla="*/ 2147483647 w 60"/>
              <a:gd name="T5" fmla="*/ 2147483647 h 55"/>
              <a:gd name="T6" fmla="*/ 2147483647 w 60"/>
              <a:gd name="T7" fmla="*/ 2147483647 h 55"/>
              <a:gd name="T8" fmla="*/ 2147483647 w 60"/>
              <a:gd name="T9" fmla="*/ 2147483647 h 55"/>
              <a:gd name="T10" fmla="*/ 2147483647 w 60"/>
              <a:gd name="T11" fmla="*/ 2147483647 h 55"/>
              <a:gd name="T12" fmla="*/ 2147483647 w 60"/>
              <a:gd name="T13" fmla="*/ 2147483647 h 55"/>
              <a:gd name="T14" fmla="*/ 2147483647 w 60"/>
              <a:gd name="T15" fmla="*/ 2147483647 h 55"/>
              <a:gd name="T16" fmla="*/ 2147483647 w 60"/>
              <a:gd name="T17" fmla="*/ 2147483647 h 55"/>
              <a:gd name="T18" fmla="*/ 2147483647 w 60"/>
              <a:gd name="T19" fmla="*/ 2147483647 h 55"/>
              <a:gd name="T20" fmla="*/ 2147483647 w 60"/>
              <a:gd name="T21" fmla="*/ 2147483647 h 55"/>
              <a:gd name="T22" fmla="*/ 2147483647 w 60"/>
              <a:gd name="T23" fmla="*/ 2147483647 h 55"/>
              <a:gd name="T24" fmla="*/ 2147483647 w 60"/>
              <a:gd name="T25" fmla="*/ 2147483647 h 55"/>
              <a:gd name="T26" fmla="*/ 2147483647 w 60"/>
              <a:gd name="T27" fmla="*/ 2147483647 h 55"/>
              <a:gd name="T28" fmla="*/ 2147483647 w 60"/>
              <a:gd name="T29" fmla="*/ 2147483647 h 55"/>
              <a:gd name="T30" fmla="*/ 2147483647 w 60"/>
              <a:gd name="T31" fmla="*/ 2147483647 h 55"/>
              <a:gd name="T32" fmla="*/ 2147483647 w 60"/>
              <a:gd name="T33" fmla="*/ 2147483647 h 55"/>
              <a:gd name="T34" fmla="*/ 2147483647 w 60"/>
              <a:gd name="T35" fmla="*/ 0 h 55"/>
              <a:gd name="T36" fmla="*/ 2147483647 w 60"/>
              <a:gd name="T37" fmla="*/ 2147483647 h 55"/>
              <a:gd name="T38" fmla="*/ 2147483647 w 60"/>
              <a:gd name="T39" fmla="*/ 2147483647 h 55"/>
              <a:gd name="T40" fmla="*/ 2147483647 w 60"/>
              <a:gd name="T41" fmla="*/ 2147483647 h 55"/>
              <a:gd name="T42" fmla="*/ 0 w 60"/>
              <a:gd name="T43" fmla="*/ 2147483647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3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171950" y="2173089"/>
            <a:ext cx="52388" cy="77788"/>
          </a:xfrm>
          <a:custGeom>
            <a:avLst/>
            <a:gdLst>
              <a:gd name="T0" fmla="*/ 14103723 w 120"/>
              <a:gd name="T1" fmla="*/ 35636365 h 148"/>
              <a:gd name="T2" fmla="*/ 13341477 w 120"/>
              <a:gd name="T3" fmla="*/ 36188765 h 148"/>
              <a:gd name="T4" fmla="*/ 12769575 w 120"/>
              <a:gd name="T5" fmla="*/ 36464702 h 148"/>
              <a:gd name="T6" fmla="*/ 12197673 w 120"/>
              <a:gd name="T7" fmla="*/ 36741165 h 148"/>
              <a:gd name="T8" fmla="*/ 11435427 w 120"/>
              <a:gd name="T9" fmla="*/ 36741165 h 148"/>
              <a:gd name="T10" fmla="*/ 10673182 w 120"/>
              <a:gd name="T11" fmla="*/ 36741165 h 148"/>
              <a:gd name="T12" fmla="*/ 10101280 w 120"/>
              <a:gd name="T13" fmla="*/ 36464702 h 148"/>
              <a:gd name="T14" fmla="*/ 9529377 w 120"/>
              <a:gd name="T15" fmla="*/ 36188765 h 148"/>
              <a:gd name="T16" fmla="*/ 8957911 w 120"/>
              <a:gd name="T17" fmla="*/ 35636365 h 148"/>
              <a:gd name="T18" fmla="*/ 7814107 w 120"/>
              <a:gd name="T19" fmla="*/ 35359902 h 148"/>
              <a:gd name="T20" fmla="*/ 6479959 w 120"/>
              <a:gd name="T21" fmla="*/ 34531039 h 148"/>
              <a:gd name="T22" fmla="*/ 4955468 w 120"/>
              <a:gd name="T23" fmla="*/ 33149777 h 148"/>
              <a:gd name="T24" fmla="*/ 3621321 w 120"/>
              <a:gd name="T25" fmla="*/ 31768514 h 148"/>
              <a:gd name="T26" fmla="*/ 2096393 w 120"/>
              <a:gd name="T27" fmla="*/ 29834852 h 148"/>
              <a:gd name="T28" fmla="*/ 1143368 w 120"/>
              <a:gd name="T29" fmla="*/ 27901189 h 148"/>
              <a:gd name="T30" fmla="*/ 571902 w 120"/>
              <a:gd name="T31" fmla="*/ 26796389 h 148"/>
              <a:gd name="T32" fmla="*/ 381123 w 120"/>
              <a:gd name="T33" fmla="*/ 25967527 h 148"/>
              <a:gd name="T34" fmla="*/ 190780 w 120"/>
              <a:gd name="T35" fmla="*/ 24862727 h 148"/>
              <a:gd name="T36" fmla="*/ 0 w 120"/>
              <a:gd name="T37" fmla="*/ 24033864 h 148"/>
              <a:gd name="T38" fmla="*/ 381123 w 120"/>
              <a:gd name="T39" fmla="*/ 20166013 h 148"/>
              <a:gd name="T40" fmla="*/ 1524927 w 120"/>
              <a:gd name="T41" fmla="*/ 15193889 h 148"/>
              <a:gd name="T42" fmla="*/ 2668295 w 120"/>
              <a:gd name="T43" fmla="*/ 9668838 h 148"/>
              <a:gd name="T44" fmla="*/ 3811664 w 120"/>
              <a:gd name="T45" fmla="*/ 4972650 h 148"/>
              <a:gd name="T46" fmla="*/ 6098836 w 120"/>
              <a:gd name="T47" fmla="*/ 4696188 h 148"/>
              <a:gd name="T48" fmla="*/ 8004886 w 120"/>
              <a:gd name="T49" fmla="*/ 4420251 h 148"/>
              <a:gd name="T50" fmla="*/ 9720157 w 120"/>
              <a:gd name="T51" fmla="*/ 3867325 h 148"/>
              <a:gd name="T52" fmla="*/ 11054305 w 120"/>
              <a:gd name="T53" fmla="*/ 3038988 h 148"/>
              <a:gd name="T54" fmla="*/ 13341477 w 120"/>
              <a:gd name="T55" fmla="*/ 1381263 h 148"/>
              <a:gd name="T56" fmla="*/ 15247091 w 120"/>
              <a:gd name="T57" fmla="*/ 0 h 148"/>
              <a:gd name="T58" fmla="*/ 16200116 w 120"/>
              <a:gd name="T59" fmla="*/ 552400 h 148"/>
              <a:gd name="T60" fmla="*/ 17725043 w 120"/>
              <a:gd name="T61" fmla="*/ 1933663 h 148"/>
              <a:gd name="T62" fmla="*/ 18678068 w 120"/>
              <a:gd name="T63" fmla="*/ 2762525 h 148"/>
              <a:gd name="T64" fmla="*/ 19440314 w 120"/>
              <a:gd name="T65" fmla="*/ 3591388 h 148"/>
              <a:gd name="T66" fmla="*/ 20202559 w 120"/>
              <a:gd name="T67" fmla="*/ 4420251 h 148"/>
              <a:gd name="T68" fmla="*/ 20393339 w 120"/>
              <a:gd name="T69" fmla="*/ 4972650 h 148"/>
              <a:gd name="T70" fmla="*/ 19059191 w 120"/>
              <a:gd name="T71" fmla="*/ 7735176 h 148"/>
              <a:gd name="T72" fmla="*/ 17725043 w 120"/>
              <a:gd name="T73" fmla="*/ 10221238 h 148"/>
              <a:gd name="T74" fmla="*/ 18106166 w 120"/>
              <a:gd name="T75" fmla="*/ 11602501 h 148"/>
              <a:gd name="T76" fmla="*/ 18678068 w 120"/>
              <a:gd name="T77" fmla="*/ 13536163 h 148"/>
              <a:gd name="T78" fmla="*/ 19440314 w 120"/>
              <a:gd name="T79" fmla="*/ 15469826 h 148"/>
              <a:gd name="T80" fmla="*/ 20393339 w 120"/>
              <a:gd name="T81" fmla="*/ 17403488 h 148"/>
              <a:gd name="T82" fmla="*/ 21917830 w 120"/>
              <a:gd name="T83" fmla="*/ 20718939 h 148"/>
              <a:gd name="T84" fmla="*/ 22870855 w 120"/>
              <a:gd name="T85" fmla="*/ 21823739 h 148"/>
              <a:gd name="T86" fmla="*/ 21536707 w 120"/>
              <a:gd name="T87" fmla="*/ 22376139 h 148"/>
              <a:gd name="T88" fmla="*/ 20393339 w 120"/>
              <a:gd name="T89" fmla="*/ 23205001 h 148"/>
              <a:gd name="T90" fmla="*/ 19059191 w 120"/>
              <a:gd name="T91" fmla="*/ 24033864 h 148"/>
              <a:gd name="T92" fmla="*/ 18296509 w 120"/>
              <a:gd name="T93" fmla="*/ 25138664 h 148"/>
              <a:gd name="T94" fmla="*/ 17153141 w 120"/>
              <a:gd name="T95" fmla="*/ 26243464 h 148"/>
              <a:gd name="T96" fmla="*/ 16581239 w 120"/>
              <a:gd name="T97" fmla="*/ 27348789 h 148"/>
              <a:gd name="T98" fmla="*/ 15628214 w 120"/>
              <a:gd name="T99" fmla="*/ 28730052 h 148"/>
              <a:gd name="T100" fmla="*/ 15247091 w 120"/>
              <a:gd name="T101" fmla="*/ 30111314 h 148"/>
              <a:gd name="T102" fmla="*/ 14865968 w 120"/>
              <a:gd name="T103" fmla="*/ 31492577 h 148"/>
              <a:gd name="T104" fmla="*/ 14675625 w 120"/>
              <a:gd name="T105" fmla="*/ 33149777 h 148"/>
              <a:gd name="T106" fmla="*/ 14484845 w 120"/>
              <a:gd name="T107" fmla="*/ 34531039 h 148"/>
              <a:gd name="T108" fmla="*/ 14294502 w 120"/>
              <a:gd name="T109" fmla="*/ 35912302 h 148"/>
              <a:gd name="T110" fmla="*/ 14484845 w 120"/>
              <a:gd name="T111" fmla="*/ 37293564 h 148"/>
              <a:gd name="T112" fmla="*/ 14675625 w 120"/>
              <a:gd name="T113" fmla="*/ 38674827 h 148"/>
              <a:gd name="T114" fmla="*/ 14865968 w 120"/>
              <a:gd name="T115" fmla="*/ 39780152 h 148"/>
              <a:gd name="T116" fmla="*/ 15247091 w 120"/>
              <a:gd name="T117" fmla="*/ 40884952 h 148"/>
              <a:gd name="T118" fmla="*/ 14103723 w 120"/>
              <a:gd name="T119" fmla="*/ 35636365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chemeClr val="tx2">
              <a:lumMod val="50000"/>
            </a:schemeClr>
          </a:solidFill>
          <a:ln>
            <a:solidFill>
              <a:schemeClr val="accent5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4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603750" y="2977952"/>
            <a:ext cx="273050" cy="307975"/>
          </a:xfrm>
          <a:custGeom>
            <a:avLst/>
            <a:gdLst>
              <a:gd name="T0" fmla="*/ 2147483647 w 631"/>
              <a:gd name="T1" fmla="*/ 2147483647 h 592"/>
              <a:gd name="T2" fmla="*/ 2147483647 w 631"/>
              <a:gd name="T3" fmla="*/ 2147483647 h 592"/>
              <a:gd name="T4" fmla="*/ 2147483647 w 631"/>
              <a:gd name="T5" fmla="*/ 2147483647 h 592"/>
              <a:gd name="T6" fmla="*/ 2147483647 w 631"/>
              <a:gd name="T7" fmla="*/ 2147483647 h 592"/>
              <a:gd name="T8" fmla="*/ 2147483647 w 631"/>
              <a:gd name="T9" fmla="*/ 2147483647 h 592"/>
              <a:gd name="T10" fmla="*/ 2147483647 w 631"/>
              <a:gd name="T11" fmla="*/ 2147483647 h 592"/>
              <a:gd name="T12" fmla="*/ 2147483647 w 631"/>
              <a:gd name="T13" fmla="*/ 2147483647 h 592"/>
              <a:gd name="T14" fmla="*/ 2147483647 w 631"/>
              <a:gd name="T15" fmla="*/ 2147483647 h 592"/>
              <a:gd name="T16" fmla="*/ 2147483647 w 631"/>
              <a:gd name="T17" fmla="*/ 2147483647 h 592"/>
              <a:gd name="T18" fmla="*/ 2147483647 w 631"/>
              <a:gd name="T19" fmla="*/ 2147483647 h 592"/>
              <a:gd name="T20" fmla="*/ 2147483647 w 631"/>
              <a:gd name="T21" fmla="*/ 2147483647 h 592"/>
              <a:gd name="T22" fmla="*/ 2147483647 w 631"/>
              <a:gd name="T23" fmla="*/ 2147483647 h 592"/>
              <a:gd name="T24" fmla="*/ 2147483647 w 631"/>
              <a:gd name="T25" fmla="*/ 2147483647 h 592"/>
              <a:gd name="T26" fmla="*/ 2147483647 w 631"/>
              <a:gd name="T27" fmla="*/ 2147483647 h 592"/>
              <a:gd name="T28" fmla="*/ 2147483647 w 631"/>
              <a:gd name="T29" fmla="*/ 2147483647 h 592"/>
              <a:gd name="T30" fmla="*/ 2147483647 w 631"/>
              <a:gd name="T31" fmla="*/ 2147483647 h 592"/>
              <a:gd name="T32" fmla="*/ 2147483647 w 631"/>
              <a:gd name="T33" fmla="*/ 2147483647 h 592"/>
              <a:gd name="T34" fmla="*/ 2147483647 w 631"/>
              <a:gd name="T35" fmla="*/ 2147483647 h 592"/>
              <a:gd name="T36" fmla="*/ 2147483647 w 631"/>
              <a:gd name="T37" fmla="*/ 2147483647 h 592"/>
              <a:gd name="T38" fmla="*/ 2147483647 w 631"/>
              <a:gd name="T39" fmla="*/ 2147483647 h 592"/>
              <a:gd name="T40" fmla="*/ 2147483647 w 631"/>
              <a:gd name="T41" fmla="*/ 2147483647 h 592"/>
              <a:gd name="T42" fmla="*/ 2147483647 w 631"/>
              <a:gd name="T43" fmla="*/ 2147483647 h 592"/>
              <a:gd name="T44" fmla="*/ 2147483647 w 631"/>
              <a:gd name="T45" fmla="*/ 2147483647 h 592"/>
              <a:gd name="T46" fmla="*/ 2147483647 w 631"/>
              <a:gd name="T47" fmla="*/ 2147483647 h 592"/>
              <a:gd name="T48" fmla="*/ 2147483647 w 631"/>
              <a:gd name="T49" fmla="*/ 2147483647 h 592"/>
              <a:gd name="T50" fmla="*/ 2147483647 w 631"/>
              <a:gd name="T51" fmla="*/ 2147483647 h 592"/>
              <a:gd name="T52" fmla="*/ 2147483647 w 631"/>
              <a:gd name="T53" fmla="*/ 2147483647 h 592"/>
              <a:gd name="T54" fmla="*/ 2147483647 w 631"/>
              <a:gd name="T55" fmla="*/ 2147483647 h 592"/>
              <a:gd name="T56" fmla="*/ 2147483647 w 631"/>
              <a:gd name="T57" fmla="*/ 2147483647 h 592"/>
              <a:gd name="T58" fmla="*/ 2147483647 w 631"/>
              <a:gd name="T59" fmla="*/ 2147483647 h 592"/>
              <a:gd name="T60" fmla="*/ 2147483647 w 631"/>
              <a:gd name="T61" fmla="*/ 2147483647 h 592"/>
              <a:gd name="T62" fmla="*/ 2147483647 w 631"/>
              <a:gd name="T63" fmla="*/ 2147483647 h 592"/>
              <a:gd name="T64" fmla="*/ 2147483647 w 631"/>
              <a:gd name="T65" fmla="*/ 2147483647 h 592"/>
              <a:gd name="T66" fmla="*/ 2147483647 w 631"/>
              <a:gd name="T67" fmla="*/ 2147483647 h 592"/>
              <a:gd name="T68" fmla="*/ 2147483647 w 631"/>
              <a:gd name="T69" fmla="*/ 2147483647 h 592"/>
              <a:gd name="T70" fmla="*/ 2147483647 w 631"/>
              <a:gd name="T71" fmla="*/ 2147483647 h 592"/>
              <a:gd name="T72" fmla="*/ 2147483647 w 631"/>
              <a:gd name="T73" fmla="*/ 2147483647 h 592"/>
              <a:gd name="T74" fmla="*/ 2147483647 w 631"/>
              <a:gd name="T75" fmla="*/ 2147483647 h 592"/>
              <a:gd name="T76" fmla="*/ 2147483647 w 631"/>
              <a:gd name="T77" fmla="*/ 2147483647 h 592"/>
              <a:gd name="T78" fmla="*/ 2147483647 w 631"/>
              <a:gd name="T79" fmla="*/ 2147483647 h 592"/>
              <a:gd name="T80" fmla="*/ 2147483647 w 631"/>
              <a:gd name="T81" fmla="*/ 2147483647 h 592"/>
              <a:gd name="T82" fmla="*/ 2147483647 w 631"/>
              <a:gd name="T83" fmla="*/ 2147483647 h 592"/>
              <a:gd name="T84" fmla="*/ 2147483647 w 631"/>
              <a:gd name="T85" fmla="*/ 2147483647 h 592"/>
              <a:gd name="T86" fmla="*/ 2147483647 w 631"/>
              <a:gd name="T87" fmla="*/ 2147483647 h 592"/>
              <a:gd name="T88" fmla="*/ 2147483647 w 631"/>
              <a:gd name="T89" fmla="*/ 2147483647 h 592"/>
              <a:gd name="T90" fmla="*/ 2147483647 w 631"/>
              <a:gd name="T91" fmla="*/ 2147483647 h 592"/>
              <a:gd name="T92" fmla="*/ 0 w 631"/>
              <a:gd name="T93" fmla="*/ 2147483647 h 592"/>
              <a:gd name="T94" fmla="*/ 2147483647 w 631"/>
              <a:gd name="T95" fmla="*/ 2147483647 h 592"/>
              <a:gd name="T96" fmla="*/ 2147483647 w 631"/>
              <a:gd name="T97" fmla="*/ 2147483647 h 592"/>
              <a:gd name="T98" fmla="*/ 2147483647 w 631"/>
              <a:gd name="T99" fmla="*/ 2147483647 h 592"/>
              <a:gd name="T100" fmla="*/ 2147483647 w 631"/>
              <a:gd name="T101" fmla="*/ 2147483647 h 592"/>
              <a:gd name="T102" fmla="*/ 2147483647 w 631"/>
              <a:gd name="T103" fmla="*/ 2147483647 h 592"/>
              <a:gd name="T104" fmla="*/ 2147483647 w 631"/>
              <a:gd name="T105" fmla="*/ 2147483647 h 592"/>
              <a:gd name="T106" fmla="*/ 2147483647 w 631"/>
              <a:gd name="T107" fmla="*/ 2147483647 h 592"/>
              <a:gd name="T108" fmla="*/ 2147483647 w 631"/>
              <a:gd name="T109" fmla="*/ 2147483647 h 592"/>
              <a:gd name="T110" fmla="*/ 2147483647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5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198938" y="2612827"/>
            <a:ext cx="17462" cy="57150"/>
          </a:xfrm>
          <a:custGeom>
            <a:avLst/>
            <a:gdLst>
              <a:gd name="T0" fmla="*/ 2147483647 w 40"/>
              <a:gd name="T1" fmla="*/ 2147483647 h 93"/>
              <a:gd name="T2" fmla="*/ 2147483647 w 40"/>
              <a:gd name="T3" fmla="*/ 2147483647 h 93"/>
              <a:gd name="T4" fmla="*/ 2147483647 w 40"/>
              <a:gd name="T5" fmla="*/ 2147483647 h 93"/>
              <a:gd name="T6" fmla="*/ 2147483647 w 40"/>
              <a:gd name="T7" fmla="*/ 2147483647 h 93"/>
              <a:gd name="T8" fmla="*/ 2147483647 w 40"/>
              <a:gd name="T9" fmla="*/ 2147483647 h 93"/>
              <a:gd name="T10" fmla="*/ 2147483647 w 40"/>
              <a:gd name="T11" fmla="*/ 2147483647 h 93"/>
              <a:gd name="T12" fmla="*/ 2147483647 w 40"/>
              <a:gd name="T13" fmla="*/ 0 h 93"/>
              <a:gd name="T14" fmla="*/ 2147483647 w 40"/>
              <a:gd name="T15" fmla="*/ 2147483647 h 93"/>
              <a:gd name="T16" fmla="*/ 2147483647 w 40"/>
              <a:gd name="T17" fmla="*/ 2147483647 h 93"/>
              <a:gd name="T18" fmla="*/ 2147483647 w 40"/>
              <a:gd name="T19" fmla="*/ 2147483647 h 93"/>
              <a:gd name="T20" fmla="*/ 2147483647 w 40"/>
              <a:gd name="T21" fmla="*/ 2147483647 h 93"/>
              <a:gd name="T22" fmla="*/ 2147483647 w 40"/>
              <a:gd name="T23" fmla="*/ 2147483647 h 93"/>
              <a:gd name="T24" fmla="*/ 2147483647 w 40"/>
              <a:gd name="T25" fmla="*/ 2147483647 h 93"/>
              <a:gd name="T26" fmla="*/ 2147483647 w 40"/>
              <a:gd name="T27" fmla="*/ 2147483647 h 93"/>
              <a:gd name="T28" fmla="*/ 2147483647 w 40"/>
              <a:gd name="T29" fmla="*/ 2147483647 h 93"/>
              <a:gd name="T30" fmla="*/ 2147483647 w 40"/>
              <a:gd name="T31" fmla="*/ 2147483647 h 93"/>
              <a:gd name="T32" fmla="*/ 2147483647 w 40"/>
              <a:gd name="T33" fmla="*/ 2147483647 h 93"/>
              <a:gd name="T34" fmla="*/ 2147483647 w 40"/>
              <a:gd name="T35" fmla="*/ 2147483647 h 93"/>
              <a:gd name="T36" fmla="*/ 2147483647 w 40"/>
              <a:gd name="T37" fmla="*/ 2147483647 h 93"/>
              <a:gd name="T38" fmla="*/ 2147483647 w 40"/>
              <a:gd name="T39" fmla="*/ 2147483647 h 93"/>
              <a:gd name="T40" fmla="*/ 2147483647 w 40"/>
              <a:gd name="T41" fmla="*/ 2147483647 h 93"/>
              <a:gd name="T42" fmla="*/ 2147483647 w 40"/>
              <a:gd name="T43" fmla="*/ 2147483647 h 93"/>
              <a:gd name="T44" fmla="*/ 0 w 40"/>
              <a:gd name="T45" fmla="*/ 2147483647 h 93"/>
              <a:gd name="T46" fmla="*/ 2147483647 w 40"/>
              <a:gd name="T47" fmla="*/ 2147483647 h 93"/>
              <a:gd name="T48" fmla="*/ 2147483647 w 40"/>
              <a:gd name="T49" fmla="*/ 2147483647 h 93"/>
              <a:gd name="T50" fmla="*/ 2147483647 w 40"/>
              <a:gd name="T51" fmla="*/ 2147483647 h 93"/>
              <a:gd name="T52" fmla="*/ 2147483647 w 40"/>
              <a:gd name="T53" fmla="*/ 2147483647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6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906623" y="2369177"/>
            <a:ext cx="295275" cy="273050"/>
          </a:xfrm>
          <a:custGeom>
            <a:avLst/>
            <a:gdLst>
              <a:gd name="T0" fmla="*/ 29464799 w 664"/>
              <a:gd name="T1" fmla="*/ 123647372 h 518"/>
              <a:gd name="T2" fmla="*/ 29860129 w 664"/>
              <a:gd name="T3" fmla="*/ 119757200 h 518"/>
              <a:gd name="T4" fmla="*/ 28871580 w 664"/>
              <a:gd name="T5" fmla="*/ 111143474 h 518"/>
              <a:gd name="T6" fmla="*/ 29860129 w 664"/>
              <a:gd name="T7" fmla="*/ 98084515 h 518"/>
              <a:gd name="T8" fmla="*/ 28871580 w 664"/>
              <a:gd name="T9" fmla="*/ 82802149 h 518"/>
              <a:gd name="T10" fmla="*/ 26498708 w 664"/>
              <a:gd name="T11" fmla="*/ 69742663 h 518"/>
              <a:gd name="T12" fmla="*/ 21554630 w 664"/>
              <a:gd name="T13" fmla="*/ 66964195 h 518"/>
              <a:gd name="T14" fmla="*/ 3955084 w 664"/>
              <a:gd name="T15" fmla="*/ 53349120 h 518"/>
              <a:gd name="T16" fmla="*/ 4746190 w 664"/>
              <a:gd name="T17" fmla="*/ 47513863 h 518"/>
              <a:gd name="T18" fmla="*/ 7119062 w 664"/>
              <a:gd name="T19" fmla="*/ 44179806 h 518"/>
              <a:gd name="T20" fmla="*/ 9491935 w 664"/>
              <a:gd name="T21" fmla="*/ 41123017 h 518"/>
              <a:gd name="T22" fmla="*/ 19774976 w 664"/>
              <a:gd name="T23" fmla="*/ 43068103 h 518"/>
              <a:gd name="T24" fmla="*/ 24718609 w 664"/>
              <a:gd name="T25" fmla="*/ 42234720 h 518"/>
              <a:gd name="T26" fmla="*/ 29069468 w 664"/>
              <a:gd name="T27" fmla="*/ 43623691 h 518"/>
              <a:gd name="T28" fmla="*/ 32628777 w 664"/>
              <a:gd name="T29" fmla="*/ 26118972 h 518"/>
              <a:gd name="T30" fmla="*/ 36583861 w 664"/>
              <a:gd name="T31" fmla="*/ 30286411 h 518"/>
              <a:gd name="T32" fmla="*/ 40934276 w 664"/>
              <a:gd name="T33" fmla="*/ 30564732 h 518"/>
              <a:gd name="T34" fmla="*/ 46669014 w 664"/>
              <a:gd name="T35" fmla="*/ 27507943 h 518"/>
              <a:gd name="T36" fmla="*/ 52205865 w 664"/>
              <a:gd name="T37" fmla="*/ 22228800 h 518"/>
              <a:gd name="T38" fmla="*/ 57149943 w 664"/>
              <a:gd name="T39" fmla="*/ 15837954 h 518"/>
              <a:gd name="T40" fmla="*/ 60907139 w 664"/>
              <a:gd name="T41" fmla="*/ 8891520 h 518"/>
              <a:gd name="T42" fmla="*/ 62884681 w 664"/>
              <a:gd name="T43" fmla="*/ 3334056 h 518"/>
              <a:gd name="T44" fmla="*/ 73167722 w 664"/>
              <a:gd name="T45" fmla="*/ 1111176 h 518"/>
              <a:gd name="T46" fmla="*/ 79891009 w 664"/>
              <a:gd name="T47" fmla="*/ 8891520 h 518"/>
              <a:gd name="T48" fmla="*/ 90371938 w 664"/>
              <a:gd name="T49" fmla="*/ 16949658 h 518"/>
              <a:gd name="T50" fmla="*/ 101050309 w 664"/>
              <a:gd name="T51" fmla="*/ 25007268 h 518"/>
              <a:gd name="T52" fmla="*/ 109158365 w 664"/>
              <a:gd name="T53" fmla="*/ 29730823 h 518"/>
              <a:gd name="T54" fmla="*/ 114299885 w 664"/>
              <a:gd name="T55" fmla="*/ 32231497 h 518"/>
              <a:gd name="T56" fmla="*/ 123198602 w 664"/>
              <a:gd name="T57" fmla="*/ 33620994 h 518"/>
              <a:gd name="T58" fmla="*/ 130119777 w 664"/>
              <a:gd name="T59" fmla="*/ 37788960 h 518"/>
              <a:gd name="T60" fmla="*/ 127549017 w 664"/>
              <a:gd name="T61" fmla="*/ 46124892 h 518"/>
              <a:gd name="T62" fmla="*/ 122605384 w 664"/>
              <a:gd name="T63" fmla="*/ 65574697 h 518"/>
              <a:gd name="T64" fmla="*/ 118254525 w 664"/>
              <a:gd name="T65" fmla="*/ 75577921 h 518"/>
              <a:gd name="T66" fmla="*/ 115683764 w 664"/>
              <a:gd name="T67" fmla="*/ 79467565 h 518"/>
              <a:gd name="T68" fmla="*/ 118452412 w 664"/>
              <a:gd name="T69" fmla="*/ 82802149 h 518"/>
              <a:gd name="T70" fmla="*/ 122209609 w 664"/>
              <a:gd name="T71" fmla="*/ 85302823 h 518"/>
              <a:gd name="T72" fmla="*/ 123198602 w 664"/>
              <a:gd name="T73" fmla="*/ 92804845 h 518"/>
              <a:gd name="T74" fmla="*/ 122605384 w 664"/>
              <a:gd name="T75" fmla="*/ 96417223 h 518"/>
              <a:gd name="T76" fmla="*/ 122209609 w 664"/>
              <a:gd name="T77" fmla="*/ 103363657 h 518"/>
              <a:gd name="T78" fmla="*/ 123000715 w 664"/>
              <a:gd name="T79" fmla="*/ 110865680 h 518"/>
              <a:gd name="T80" fmla="*/ 124978257 w 664"/>
              <a:gd name="T81" fmla="*/ 117534320 h 518"/>
              <a:gd name="T82" fmla="*/ 120232067 w 664"/>
              <a:gd name="T83" fmla="*/ 126981428 h 518"/>
              <a:gd name="T84" fmla="*/ 112519786 w 664"/>
              <a:gd name="T85" fmla="*/ 134483978 h 518"/>
              <a:gd name="T86" fmla="*/ 107180823 w 664"/>
              <a:gd name="T87" fmla="*/ 135872948 h 518"/>
              <a:gd name="T88" fmla="*/ 100654978 w 664"/>
              <a:gd name="T89" fmla="*/ 133650068 h 518"/>
              <a:gd name="T90" fmla="*/ 94327022 w 664"/>
              <a:gd name="T91" fmla="*/ 127815338 h 518"/>
              <a:gd name="T92" fmla="*/ 91558374 w 664"/>
              <a:gd name="T93" fmla="*/ 126703634 h 518"/>
              <a:gd name="T94" fmla="*/ 87603290 w 664"/>
              <a:gd name="T95" fmla="*/ 126981428 h 518"/>
              <a:gd name="T96" fmla="*/ 83648206 w 664"/>
              <a:gd name="T97" fmla="*/ 129204308 h 518"/>
              <a:gd name="T98" fmla="*/ 80286784 w 664"/>
              <a:gd name="T99" fmla="*/ 132538892 h 518"/>
              <a:gd name="T100" fmla="*/ 76727031 w 664"/>
              <a:gd name="T101" fmla="*/ 139763120 h 518"/>
              <a:gd name="T102" fmla="*/ 76133813 w 664"/>
              <a:gd name="T103" fmla="*/ 143653292 h 518"/>
              <a:gd name="T104" fmla="*/ 65850772 w 664"/>
              <a:gd name="T105" fmla="*/ 143097704 h 518"/>
              <a:gd name="T106" fmla="*/ 62686794 w 664"/>
              <a:gd name="T107" fmla="*/ 140874824 h 518"/>
              <a:gd name="T108" fmla="*/ 60709252 w 664"/>
              <a:gd name="T109" fmla="*/ 138929738 h 518"/>
              <a:gd name="T110" fmla="*/ 58534267 w 664"/>
              <a:gd name="T111" fmla="*/ 141152618 h 518"/>
              <a:gd name="T112" fmla="*/ 56754167 w 664"/>
              <a:gd name="T113" fmla="*/ 143375498 h 518"/>
              <a:gd name="T114" fmla="*/ 52996971 w 664"/>
              <a:gd name="T115" fmla="*/ 143375498 h 518"/>
              <a:gd name="T116" fmla="*/ 44889360 w 664"/>
              <a:gd name="T117" fmla="*/ 140597029 h 518"/>
              <a:gd name="T118" fmla="*/ 36583861 w 664"/>
              <a:gd name="T119" fmla="*/ 135317360 h 518"/>
              <a:gd name="T120" fmla="*/ 31640228 w 664"/>
              <a:gd name="T121" fmla="*/ 130316012 h 518"/>
              <a:gd name="T122" fmla="*/ 28871580 w 664"/>
              <a:gd name="T123" fmla="*/ 125036869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7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919663" y="2598539"/>
            <a:ext cx="150812" cy="82550"/>
          </a:xfrm>
          <a:custGeom>
            <a:avLst/>
            <a:gdLst>
              <a:gd name="T0" fmla="*/ 60943044 w 352"/>
              <a:gd name="T1" fmla="*/ 26490457 h 153"/>
              <a:gd name="T2" fmla="*/ 64614373 w 352"/>
              <a:gd name="T3" fmla="*/ 44539232 h 153"/>
              <a:gd name="T4" fmla="*/ 59841516 w 352"/>
              <a:gd name="T5" fmla="*/ 41045694 h 153"/>
              <a:gd name="T6" fmla="*/ 54885714 w 352"/>
              <a:gd name="T7" fmla="*/ 37552696 h 153"/>
              <a:gd name="T8" fmla="*/ 48827956 w 352"/>
              <a:gd name="T9" fmla="*/ 41045694 h 153"/>
              <a:gd name="T10" fmla="*/ 42586824 w 352"/>
              <a:gd name="T11" fmla="*/ 41045694 h 153"/>
              <a:gd name="T12" fmla="*/ 41669099 w 352"/>
              <a:gd name="T13" fmla="*/ 39299195 h 153"/>
              <a:gd name="T14" fmla="*/ 41485296 w 352"/>
              <a:gd name="T15" fmla="*/ 39299195 h 153"/>
              <a:gd name="T16" fmla="*/ 40200395 w 352"/>
              <a:gd name="T17" fmla="*/ 37552696 h 153"/>
              <a:gd name="T18" fmla="*/ 39098868 w 352"/>
              <a:gd name="T19" fmla="*/ 36388364 h 153"/>
              <a:gd name="T20" fmla="*/ 37630593 w 352"/>
              <a:gd name="T21" fmla="*/ 35224031 h 153"/>
              <a:gd name="T22" fmla="*/ 36161890 w 352"/>
              <a:gd name="T23" fmla="*/ 34350512 h 153"/>
              <a:gd name="T24" fmla="*/ 33224912 w 352"/>
              <a:gd name="T25" fmla="*/ 32894826 h 153"/>
              <a:gd name="T26" fmla="*/ 29920758 w 352"/>
              <a:gd name="T27" fmla="*/ 32021846 h 153"/>
              <a:gd name="T28" fmla="*/ 23129077 w 352"/>
              <a:gd name="T29" fmla="*/ 31148327 h 153"/>
              <a:gd name="T30" fmla="*/ 15786417 w 352"/>
              <a:gd name="T31" fmla="*/ 30274808 h 153"/>
              <a:gd name="T32" fmla="*/ 15603044 w 352"/>
              <a:gd name="T33" fmla="*/ 27363976 h 153"/>
              <a:gd name="T34" fmla="*/ 15052066 w 352"/>
              <a:gd name="T35" fmla="*/ 24453144 h 153"/>
              <a:gd name="T36" fmla="*/ 14684890 w 352"/>
              <a:gd name="T37" fmla="*/ 21833126 h 153"/>
              <a:gd name="T38" fmla="*/ 13767165 w 352"/>
              <a:gd name="T39" fmla="*/ 19503921 h 153"/>
              <a:gd name="T40" fmla="*/ 13032813 w 352"/>
              <a:gd name="T41" fmla="*/ 17175256 h 153"/>
              <a:gd name="T42" fmla="*/ 12298890 w 352"/>
              <a:gd name="T43" fmla="*/ 15137404 h 153"/>
              <a:gd name="T44" fmla="*/ 11197363 w 352"/>
              <a:gd name="T45" fmla="*/ 12808739 h 153"/>
              <a:gd name="T46" fmla="*/ 10279637 w 352"/>
              <a:gd name="T47" fmla="*/ 10770887 h 153"/>
              <a:gd name="T48" fmla="*/ 8077011 w 352"/>
              <a:gd name="T49" fmla="*/ 7568702 h 153"/>
              <a:gd name="T50" fmla="*/ 5323407 w 352"/>
              <a:gd name="T51" fmla="*/ 4657870 h 153"/>
              <a:gd name="T52" fmla="*/ 2753604 w 352"/>
              <a:gd name="T53" fmla="*/ 2037852 h 153"/>
              <a:gd name="T54" fmla="*/ 0 w 352"/>
              <a:gd name="T55" fmla="*/ 0 h 153"/>
              <a:gd name="T56" fmla="*/ 1284901 w 352"/>
              <a:gd name="T57" fmla="*/ 0 h 153"/>
              <a:gd name="T58" fmla="*/ 11013989 w 352"/>
              <a:gd name="T59" fmla="*/ 5240037 h 153"/>
              <a:gd name="T60" fmla="*/ 19457747 w 352"/>
              <a:gd name="T61" fmla="*/ 8733035 h 153"/>
              <a:gd name="T62" fmla="*/ 24597352 w 352"/>
              <a:gd name="T63" fmla="*/ 5240037 h 153"/>
              <a:gd name="T64" fmla="*/ 33041538 w 352"/>
              <a:gd name="T65" fmla="*/ 10480073 h 153"/>
              <a:gd name="T66" fmla="*/ 37813967 w 352"/>
              <a:gd name="T67" fmla="*/ 16010923 h 153"/>
              <a:gd name="T68" fmla="*/ 45156626 w 352"/>
              <a:gd name="T69" fmla="*/ 14264424 h 153"/>
              <a:gd name="T70" fmla="*/ 52499285 w 352"/>
              <a:gd name="T71" fmla="*/ 17757422 h 153"/>
              <a:gd name="T72" fmla="*/ 57455516 w 352"/>
              <a:gd name="T73" fmla="*/ 22997459 h 153"/>
              <a:gd name="T74" fmla="*/ 60943044 w 352"/>
              <a:gd name="T75" fmla="*/ 26490457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8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468813" y="2658864"/>
            <a:ext cx="147637" cy="173038"/>
          </a:xfrm>
          <a:custGeom>
            <a:avLst/>
            <a:gdLst>
              <a:gd name="T0" fmla="*/ 45757657 w 331"/>
              <a:gd name="T1" fmla="*/ 11200903 h 327"/>
              <a:gd name="T2" fmla="*/ 38396325 w 331"/>
              <a:gd name="T3" fmla="*/ 15680841 h 327"/>
              <a:gd name="T4" fmla="*/ 36208086 w 331"/>
              <a:gd name="T5" fmla="*/ 18761129 h 327"/>
              <a:gd name="T6" fmla="*/ 36009155 w 331"/>
              <a:gd name="T7" fmla="*/ 22681736 h 327"/>
              <a:gd name="T8" fmla="*/ 36605947 w 331"/>
              <a:gd name="T9" fmla="*/ 26321884 h 327"/>
              <a:gd name="T10" fmla="*/ 35213432 w 331"/>
              <a:gd name="T11" fmla="*/ 28561853 h 327"/>
              <a:gd name="T12" fmla="*/ 33423054 w 331"/>
              <a:gd name="T13" fmla="*/ 29402172 h 327"/>
              <a:gd name="T14" fmla="*/ 31831162 w 331"/>
              <a:gd name="T15" fmla="*/ 27441604 h 327"/>
              <a:gd name="T16" fmla="*/ 29642923 w 331"/>
              <a:gd name="T17" fmla="*/ 23801456 h 327"/>
              <a:gd name="T18" fmla="*/ 25067068 w 331"/>
              <a:gd name="T19" fmla="*/ 20721168 h 327"/>
              <a:gd name="T20" fmla="*/ 25265998 w 331"/>
              <a:gd name="T21" fmla="*/ 26881744 h 327"/>
              <a:gd name="T22" fmla="*/ 27653614 w 331"/>
              <a:gd name="T23" fmla="*/ 32482461 h 327"/>
              <a:gd name="T24" fmla="*/ 30637577 w 331"/>
              <a:gd name="T25" fmla="*/ 36122609 h 327"/>
              <a:gd name="T26" fmla="*/ 31632231 w 331"/>
              <a:gd name="T27" fmla="*/ 36402539 h 327"/>
              <a:gd name="T28" fmla="*/ 31632231 w 331"/>
              <a:gd name="T29" fmla="*/ 49563481 h 327"/>
              <a:gd name="T30" fmla="*/ 31632231 w 331"/>
              <a:gd name="T31" fmla="*/ 66364571 h 327"/>
              <a:gd name="T32" fmla="*/ 31035438 w 331"/>
              <a:gd name="T33" fmla="*/ 70284649 h 327"/>
              <a:gd name="T34" fmla="*/ 29245061 w 331"/>
              <a:gd name="T35" fmla="*/ 72525147 h 327"/>
              <a:gd name="T36" fmla="*/ 28847199 w 331"/>
              <a:gd name="T37" fmla="*/ 73924797 h 327"/>
              <a:gd name="T38" fmla="*/ 32229023 w 331"/>
              <a:gd name="T39" fmla="*/ 77285015 h 327"/>
              <a:gd name="T40" fmla="*/ 33224123 w 331"/>
              <a:gd name="T41" fmla="*/ 80085373 h 327"/>
              <a:gd name="T42" fmla="*/ 30836508 w 331"/>
              <a:gd name="T43" fmla="*/ 82605801 h 327"/>
              <a:gd name="T44" fmla="*/ 27852545 w 331"/>
              <a:gd name="T45" fmla="*/ 83165661 h 327"/>
              <a:gd name="T46" fmla="*/ 25862791 w 331"/>
              <a:gd name="T47" fmla="*/ 85966019 h 327"/>
              <a:gd name="T48" fmla="*/ 25067068 w 331"/>
              <a:gd name="T49" fmla="*/ 89886097 h 327"/>
              <a:gd name="T50" fmla="*/ 24072414 w 331"/>
              <a:gd name="T51" fmla="*/ 84005451 h 327"/>
              <a:gd name="T52" fmla="*/ 24669206 w 331"/>
              <a:gd name="T53" fmla="*/ 80645233 h 327"/>
              <a:gd name="T54" fmla="*/ 21685244 w 331"/>
              <a:gd name="T55" fmla="*/ 80085373 h 327"/>
              <a:gd name="T56" fmla="*/ 18501905 w 331"/>
              <a:gd name="T57" fmla="*/ 81765482 h 327"/>
              <a:gd name="T58" fmla="*/ 15716873 w 331"/>
              <a:gd name="T59" fmla="*/ 82885731 h 327"/>
              <a:gd name="T60" fmla="*/ 14522842 w 331"/>
              <a:gd name="T61" fmla="*/ 67764750 h 327"/>
              <a:gd name="T62" fmla="*/ 15716873 w 331"/>
              <a:gd name="T63" fmla="*/ 60483925 h 327"/>
              <a:gd name="T64" fmla="*/ 9549572 w 331"/>
              <a:gd name="T65" fmla="*/ 59083746 h 327"/>
              <a:gd name="T66" fmla="*/ 5570509 w 331"/>
              <a:gd name="T67" fmla="*/ 55443598 h 327"/>
              <a:gd name="T68" fmla="*/ 2586101 w 331"/>
              <a:gd name="T69" fmla="*/ 48443232 h 327"/>
              <a:gd name="T70" fmla="*/ 0 w 331"/>
              <a:gd name="T71" fmla="*/ 36402539 h 327"/>
              <a:gd name="T72" fmla="*/ 5570509 w 331"/>
              <a:gd name="T73" fmla="*/ 31082281 h 327"/>
              <a:gd name="T74" fmla="*/ 9947433 w 331"/>
              <a:gd name="T75" fmla="*/ 22681736 h 327"/>
              <a:gd name="T76" fmla="*/ 14522842 w 331"/>
              <a:gd name="T77" fmla="*/ 15400911 h 327"/>
              <a:gd name="T78" fmla="*/ 22878829 w 331"/>
              <a:gd name="T79" fmla="*/ 11480833 h 327"/>
              <a:gd name="T80" fmla="*/ 35810224 w 331"/>
              <a:gd name="T81" fmla="*/ 3920078 h 327"/>
              <a:gd name="T82" fmla="*/ 43370041 w 331"/>
              <a:gd name="T83" fmla="*/ 1960039 h 327"/>
              <a:gd name="T84" fmla="*/ 49537343 w 331"/>
              <a:gd name="T85" fmla="*/ 3920078 h 327"/>
              <a:gd name="T86" fmla="*/ 53914267 w 331"/>
              <a:gd name="T87" fmla="*/ 7560755 h 327"/>
              <a:gd name="T88" fmla="*/ 58092260 w 331"/>
              <a:gd name="T89" fmla="*/ 8400545 h 327"/>
              <a:gd name="T90" fmla="*/ 61076223 w 331"/>
              <a:gd name="T91" fmla="*/ 5600187 h 327"/>
              <a:gd name="T92" fmla="*/ 65055285 w 331"/>
              <a:gd name="T93" fmla="*/ 1680109 h 327"/>
              <a:gd name="T94" fmla="*/ 65652078 w 331"/>
              <a:gd name="T95" fmla="*/ 8960405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49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552950" y="2850952"/>
            <a:ext cx="69850" cy="57150"/>
          </a:xfrm>
          <a:custGeom>
            <a:avLst/>
            <a:gdLst>
              <a:gd name="T0" fmla="*/ 0 w 153"/>
              <a:gd name="T1" fmla="*/ 0 h 49"/>
              <a:gd name="T2" fmla="*/ 2147483647 w 153"/>
              <a:gd name="T3" fmla="*/ 2147483647 h 49"/>
              <a:gd name="T4" fmla="*/ 2147483647 w 153"/>
              <a:gd name="T5" fmla="*/ 2147483647 h 49"/>
              <a:gd name="T6" fmla="*/ 2147483647 w 153"/>
              <a:gd name="T7" fmla="*/ 2147483647 h 49"/>
              <a:gd name="T8" fmla="*/ 2147483647 w 153"/>
              <a:gd name="T9" fmla="*/ 2147483647 h 49"/>
              <a:gd name="T10" fmla="*/ 2147483647 w 153"/>
              <a:gd name="T11" fmla="*/ 2147483647 h 49"/>
              <a:gd name="T12" fmla="*/ 2147483647 w 153"/>
              <a:gd name="T13" fmla="*/ 2147483647 h 49"/>
              <a:gd name="T14" fmla="*/ 2147483647 w 153"/>
              <a:gd name="T15" fmla="*/ 2147483647 h 49"/>
              <a:gd name="T16" fmla="*/ 2147483647 w 153"/>
              <a:gd name="T17" fmla="*/ 0 h 49"/>
              <a:gd name="T18" fmla="*/ 2147483647 w 153"/>
              <a:gd name="T19" fmla="*/ 2147483647 h 49"/>
              <a:gd name="T20" fmla="*/ 2147483647 w 153"/>
              <a:gd name="T21" fmla="*/ 2147483647 h 49"/>
              <a:gd name="T22" fmla="*/ 2147483647 w 153"/>
              <a:gd name="T23" fmla="*/ 2147483647 h 49"/>
              <a:gd name="T24" fmla="*/ 2147483647 w 153"/>
              <a:gd name="T25" fmla="*/ 2147483647 h 49"/>
              <a:gd name="T26" fmla="*/ 2147483647 w 153"/>
              <a:gd name="T27" fmla="*/ 2147483647 h 49"/>
              <a:gd name="T28" fmla="*/ 2147483647 w 153"/>
              <a:gd name="T29" fmla="*/ 2147483647 h 49"/>
              <a:gd name="T30" fmla="*/ 2147483647 w 153"/>
              <a:gd name="T31" fmla="*/ 2147483647 h 49"/>
              <a:gd name="T32" fmla="*/ 2147483647 w 153"/>
              <a:gd name="T33" fmla="*/ 2147483647 h 49"/>
              <a:gd name="T34" fmla="*/ 2147483647 w 153"/>
              <a:gd name="T35" fmla="*/ 2147483647 h 49"/>
              <a:gd name="T36" fmla="*/ 2147483647 w 153"/>
              <a:gd name="T37" fmla="*/ 2147483647 h 49"/>
              <a:gd name="T38" fmla="*/ 2147483647 w 153"/>
              <a:gd name="T39" fmla="*/ 2147483647 h 49"/>
              <a:gd name="T40" fmla="*/ 2147483647 w 153"/>
              <a:gd name="T41" fmla="*/ 2147483647 h 49"/>
              <a:gd name="T42" fmla="*/ 2147483647 w 153"/>
              <a:gd name="T43" fmla="*/ 2147483647 h 49"/>
              <a:gd name="T44" fmla="*/ 2147483647 w 153"/>
              <a:gd name="T45" fmla="*/ 2147483647 h 49"/>
              <a:gd name="T46" fmla="*/ 2147483647 w 153"/>
              <a:gd name="T47" fmla="*/ 2147483647 h 49"/>
              <a:gd name="T48" fmla="*/ 0 w 153"/>
              <a:gd name="T49" fmla="*/ 2147483647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50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632200" y="3582789"/>
            <a:ext cx="187325" cy="158750"/>
          </a:xfrm>
          <a:custGeom>
            <a:avLst/>
            <a:gdLst>
              <a:gd name="T0" fmla="*/ 2147483647 w 426"/>
              <a:gd name="T1" fmla="*/ 2147483647 h 299"/>
              <a:gd name="T2" fmla="*/ 2147483647 w 426"/>
              <a:gd name="T3" fmla="*/ 2147483647 h 299"/>
              <a:gd name="T4" fmla="*/ 2147483647 w 426"/>
              <a:gd name="T5" fmla="*/ 2147483647 h 299"/>
              <a:gd name="T6" fmla="*/ 2147483647 w 426"/>
              <a:gd name="T7" fmla="*/ 2147483647 h 299"/>
              <a:gd name="T8" fmla="*/ 2147483647 w 426"/>
              <a:gd name="T9" fmla="*/ 2147483647 h 299"/>
              <a:gd name="T10" fmla="*/ 2147483647 w 426"/>
              <a:gd name="T11" fmla="*/ 2147483647 h 299"/>
              <a:gd name="T12" fmla="*/ 2147483647 w 426"/>
              <a:gd name="T13" fmla="*/ 2147483647 h 299"/>
              <a:gd name="T14" fmla="*/ 2147483647 w 426"/>
              <a:gd name="T15" fmla="*/ 2147483647 h 299"/>
              <a:gd name="T16" fmla="*/ 2147483647 w 426"/>
              <a:gd name="T17" fmla="*/ 2147483647 h 299"/>
              <a:gd name="T18" fmla="*/ 2147483647 w 426"/>
              <a:gd name="T19" fmla="*/ 2147483647 h 299"/>
              <a:gd name="T20" fmla="*/ 2147483647 w 426"/>
              <a:gd name="T21" fmla="*/ 2147483647 h 299"/>
              <a:gd name="T22" fmla="*/ 2147483647 w 426"/>
              <a:gd name="T23" fmla="*/ 2147483647 h 299"/>
              <a:gd name="T24" fmla="*/ 2147483647 w 426"/>
              <a:gd name="T25" fmla="*/ 2147483647 h 299"/>
              <a:gd name="T26" fmla="*/ 2147483647 w 426"/>
              <a:gd name="T27" fmla="*/ 2147483647 h 299"/>
              <a:gd name="T28" fmla="*/ 2147483647 w 426"/>
              <a:gd name="T29" fmla="*/ 2147483647 h 299"/>
              <a:gd name="T30" fmla="*/ 2147483647 w 426"/>
              <a:gd name="T31" fmla="*/ 2147483647 h 299"/>
              <a:gd name="T32" fmla="*/ 2147483647 w 426"/>
              <a:gd name="T33" fmla="*/ 2147483647 h 299"/>
              <a:gd name="T34" fmla="*/ 2147483647 w 426"/>
              <a:gd name="T35" fmla="*/ 2147483647 h 299"/>
              <a:gd name="T36" fmla="*/ 2147483647 w 426"/>
              <a:gd name="T37" fmla="*/ 2147483647 h 299"/>
              <a:gd name="T38" fmla="*/ 2147483647 w 426"/>
              <a:gd name="T39" fmla="*/ 2147483647 h 299"/>
              <a:gd name="T40" fmla="*/ 2147483647 w 426"/>
              <a:gd name="T41" fmla="*/ 2147483647 h 299"/>
              <a:gd name="T42" fmla="*/ 2147483647 w 426"/>
              <a:gd name="T43" fmla="*/ 2147483647 h 299"/>
              <a:gd name="T44" fmla="*/ 2147483647 w 426"/>
              <a:gd name="T45" fmla="*/ 2147483647 h 299"/>
              <a:gd name="T46" fmla="*/ 2147483647 w 426"/>
              <a:gd name="T47" fmla="*/ 2147483647 h 299"/>
              <a:gd name="T48" fmla="*/ 2147483647 w 426"/>
              <a:gd name="T49" fmla="*/ 2147483647 h 299"/>
              <a:gd name="T50" fmla="*/ 2147483647 w 426"/>
              <a:gd name="T51" fmla="*/ 2147483647 h 299"/>
              <a:gd name="T52" fmla="*/ 2147483647 w 426"/>
              <a:gd name="T53" fmla="*/ 2147483647 h 299"/>
              <a:gd name="T54" fmla="*/ 2147483647 w 426"/>
              <a:gd name="T55" fmla="*/ 2147483647 h 299"/>
              <a:gd name="T56" fmla="*/ 2147483647 w 426"/>
              <a:gd name="T57" fmla="*/ 2147483647 h 299"/>
              <a:gd name="T58" fmla="*/ 2147483647 w 426"/>
              <a:gd name="T59" fmla="*/ 2147483647 h 299"/>
              <a:gd name="T60" fmla="*/ 2147483647 w 426"/>
              <a:gd name="T61" fmla="*/ 2147483647 h 299"/>
              <a:gd name="T62" fmla="*/ 2147483647 w 426"/>
              <a:gd name="T63" fmla="*/ 2147483647 h 299"/>
              <a:gd name="T64" fmla="*/ 2147483647 w 426"/>
              <a:gd name="T65" fmla="*/ 2147483647 h 299"/>
              <a:gd name="T66" fmla="*/ 2147483647 w 426"/>
              <a:gd name="T67" fmla="*/ 2147483647 h 299"/>
              <a:gd name="T68" fmla="*/ 2147483647 w 426"/>
              <a:gd name="T69" fmla="*/ 2147483647 h 299"/>
              <a:gd name="T70" fmla="*/ 2147483647 w 426"/>
              <a:gd name="T71" fmla="*/ 2147483647 h 299"/>
              <a:gd name="T72" fmla="*/ 2147483647 w 426"/>
              <a:gd name="T73" fmla="*/ 2147483647 h 299"/>
              <a:gd name="T74" fmla="*/ 2147483647 w 426"/>
              <a:gd name="T75" fmla="*/ 2147483647 h 299"/>
              <a:gd name="T76" fmla="*/ 2147483647 w 426"/>
              <a:gd name="T77" fmla="*/ 2147483647 h 299"/>
              <a:gd name="T78" fmla="*/ 2147483647 w 426"/>
              <a:gd name="T79" fmla="*/ 2147483647 h 299"/>
              <a:gd name="T80" fmla="*/ 2147483647 w 426"/>
              <a:gd name="T81" fmla="*/ 2147483647 h 299"/>
              <a:gd name="T82" fmla="*/ 2147483647 w 426"/>
              <a:gd name="T83" fmla="*/ 2147483647 h 299"/>
              <a:gd name="T84" fmla="*/ 2147483647 w 426"/>
              <a:gd name="T85" fmla="*/ 2147483647 h 299"/>
              <a:gd name="T86" fmla="*/ 2147483647 w 426"/>
              <a:gd name="T87" fmla="*/ 2147483647 h 299"/>
              <a:gd name="T88" fmla="*/ 2147483647 w 426"/>
              <a:gd name="T89" fmla="*/ 2147483647 h 299"/>
              <a:gd name="T90" fmla="*/ 2147483647 w 426"/>
              <a:gd name="T91" fmla="*/ 2147483647 h 299"/>
              <a:gd name="T92" fmla="*/ 2147483647 w 426"/>
              <a:gd name="T93" fmla="*/ 2147483647 h 299"/>
              <a:gd name="T94" fmla="*/ 2147483647 w 426"/>
              <a:gd name="T95" fmla="*/ 2147483647 h 299"/>
              <a:gd name="T96" fmla="*/ 2147483647 w 426"/>
              <a:gd name="T97" fmla="*/ 2147483647 h 299"/>
              <a:gd name="T98" fmla="*/ 2147483647 w 426"/>
              <a:gd name="T99" fmla="*/ 2147483647 h 299"/>
              <a:gd name="T100" fmla="*/ 2147483647 w 426"/>
              <a:gd name="T101" fmla="*/ 2147483647 h 299"/>
              <a:gd name="T102" fmla="*/ 2147483647 w 426"/>
              <a:gd name="T103" fmla="*/ 2147483647 h 299"/>
              <a:gd name="T104" fmla="*/ 2147483647 w 426"/>
              <a:gd name="T105" fmla="*/ 2147483647 h 299"/>
              <a:gd name="T106" fmla="*/ 2147483647 w 426"/>
              <a:gd name="T107" fmla="*/ 2147483647 h 299"/>
              <a:gd name="T108" fmla="*/ 2147483647 w 426"/>
              <a:gd name="T109" fmla="*/ 2147483647 h 299"/>
              <a:gd name="T110" fmla="*/ 2147483647 w 426"/>
              <a:gd name="T111" fmla="*/ 2147483647 h 299"/>
              <a:gd name="T112" fmla="*/ 2147483647 w 426"/>
              <a:gd name="T113" fmla="*/ 2147483647 h 299"/>
              <a:gd name="T114" fmla="*/ 2147483647 w 426"/>
              <a:gd name="T115" fmla="*/ 2147483647 h 299"/>
              <a:gd name="T116" fmla="*/ 2147483647 w 426"/>
              <a:gd name="T117" fmla="*/ 2147483647 h 299"/>
              <a:gd name="T118" fmla="*/ 2147483647 w 426"/>
              <a:gd name="T119" fmla="*/ 2147483647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51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676900" y="2846189"/>
            <a:ext cx="692150" cy="874713"/>
          </a:xfrm>
          <a:custGeom>
            <a:avLst/>
            <a:gdLst>
              <a:gd name="T0" fmla="*/ 2147483647 w 1594"/>
              <a:gd name="T1" fmla="*/ 2147483647 h 1670"/>
              <a:gd name="T2" fmla="*/ 2147483647 w 1594"/>
              <a:gd name="T3" fmla="*/ 2147483647 h 1670"/>
              <a:gd name="T4" fmla="*/ 2147483647 w 1594"/>
              <a:gd name="T5" fmla="*/ 2147483647 h 1670"/>
              <a:gd name="T6" fmla="*/ 2147483647 w 1594"/>
              <a:gd name="T7" fmla="*/ 2147483647 h 1670"/>
              <a:gd name="T8" fmla="*/ 2147483647 w 1594"/>
              <a:gd name="T9" fmla="*/ 2147483647 h 1670"/>
              <a:gd name="T10" fmla="*/ 2147483647 w 1594"/>
              <a:gd name="T11" fmla="*/ 2147483647 h 1670"/>
              <a:gd name="T12" fmla="*/ 2147483647 w 1594"/>
              <a:gd name="T13" fmla="*/ 2147483647 h 1670"/>
              <a:gd name="T14" fmla="*/ 2147483647 w 1594"/>
              <a:gd name="T15" fmla="*/ 2147483647 h 1670"/>
              <a:gd name="T16" fmla="*/ 2147483647 w 1594"/>
              <a:gd name="T17" fmla="*/ 2147483647 h 1670"/>
              <a:gd name="T18" fmla="*/ 2147483647 w 1594"/>
              <a:gd name="T19" fmla="*/ 2147483647 h 1670"/>
              <a:gd name="T20" fmla="*/ 2147483647 w 1594"/>
              <a:gd name="T21" fmla="*/ 2147483647 h 1670"/>
              <a:gd name="T22" fmla="*/ 2147483647 w 1594"/>
              <a:gd name="T23" fmla="*/ 2147483647 h 1670"/>
              <a:gd name="T24" fmla="*/ 2147483647 w 1594"/>
              <a:gd name="T25" fmla="*/ 2147483647 h 1670"/>
              <a:gd name="T26" fmla="*/ 2147483647 w 1594"/>
              <a:gd name="T27" fmla="*/ 2147483647 h 1670"/>
              <a:gd name="T28" fmla="*/ 2147483647 w 1594"/>
              <a:gd name="T29" fmla="*/ 2147483647 h 1670"/>
              <a:gd name="T30" fmla="*/ 2147483647 w 1594"/>
              <a:gd name="T31" fmla="*/ 2147483647 h 1670"/>
              <a:gd name="T32" fmla="*/ 2147483647 w 1594"/>
              <a:gd name="T33" fmla="*/ 2147483647 h 1670"/>
              <a:gd name="T34" fmla="*/ 2147483647 w 1594"/>
              <a:gd name="T35" fmla="*/ 2147483647 h 1670"/>
              <a:gd name="T36" fmla="*/ 2147483647 w 1594"/>
              <a:gd name="T37" fmla="*/ 2147483647 h 1670"/>
              <a:gd name="T38" fmla="*/ 2147483647 w 1594"/>
              <a:gd name="T39" fmla="*/ 2147483647 h 1670"/>
              <a:gd name="T40" fmla="*/ 2147483647 w 1594"/>
              <a:gd name="T41" fmla="*/ 2147483647 h 1670"/>
              <a:gd name="T42" fmla="*/ 2147483647 w 1594"/>
              <a:gd name="T43" fmla="*/ 2147483647 h 1670"/>
              <a:gd name="T44" fmla="*/ 2147483647 w 1594"/>
              <a:gd name="T45" fmla="*/ 2147483647 h 1670"/>
              <a:gd name="T46" fmla="*/ 2147483647 w 1594"/>
              <a:gd name="T47" fmla="*/ 2147483647 h 1670"/>
              <a:gd name="T48" fmla="*/ 2147483647 w 1594"/>
              <a:gd name="T49" fmla="*/ 2147483647 h 1670"/>
              <a:gd name="T50" fmla="*/ 2147483647 w 1594"/>
              <a:gd name="T51" fmla="*/ 2147483647 h 1670"/>
              <a:gd name="T52" fmla="*/ 2147483647 w 1594"/>
              <a:gd name="T53" fmla="*/ 2147483647 h 1670"/>
              <a:gd name="T54" fmla="*/ 2147483647 w 1594"/>
              <a:gd name="T55" fmla="*/ 2147483647 h 1670"/>
              <a:gd name="T56" fmla="*/ 2147483647 w 1594"/>
              <a:gd name="T57" fmla="*/ 2147483647 h 1670"/>
              <a:gd name="T58" fmla="*/ 2147483647 w 1594"/>
              <a:gd name="T59" fmla="*/ 2147483647 h 1670"/>
              <a:gd name="T60" fmla="*/ 2147483647 w 1594"/>
              <a:gd name="T61" fmla="*/ 2147483647 h 1670"/>
              <a:gd name="T62" fmla="*/ 2147483647 w 1594"/>
              <a:gd name="T63" fmla="*/ 2147483647 h 1670"/>
              <a:gd name="T64" fmla="*/ 2147483647 w 1594"/>
              <a:gd name="T65" fmla="*/ 2147483647 h 1670"/>
              <a:gd name="T66" fmla="*/ 2147483647 w 1594"/>
              <a:gd name="T67" fmla="*/ 2147483647 h 1670"/>
              <a:gd name="T68" fmla="*/ 2147483647 w 1594"/>
              <a:gd name="T69" fmla="*/ 2147483647 h 1670"/>
              <a:gd name="T70" fmla="*/ 2147483647 w 1594"/>
              <a:gd name="T71" fmla="*/ 2147483647 h 1670"/>
              <a:gd name="T72" fmla="*/ 2147483647 w 1594"/>
              <a:gd name="T73" fmla="*/ 2147483647 h 1670"/>
              <a:gd name="T74" fmla="*/ 2147483647 w 1594"/>
              <a:gd name="T75" fmla="*/ 2147483647 h 1670"/>
              <a:gd name="T76" fmla="*/ 2147483647 w 1594"/>
              <a:gd name="T77" fmla="*/ 2147483647 h 1670"/>
              <a:gd name="T78" fmla="*/ 2147483647 w 1594"/>
              <a:gd name="T79" fmla="*/ 2147483647 h 1670"/>
              <a:gd name="T80" fmla="*/ 2147483647 w 1594"/>
              <a:gd name="T81" fmla="*/ 2147483647 h 1670"/>
              <a:gd name="T82" fmla="*/ 2147483647 w 1594"/>
              <a:gd name="T83" fmla="*/ 2147483647 h 1670"/>
              <a:gd name="T84" fmla="*/ 2147483647 w 1594"/>
              <a:gd name="T85" fmla="*/ 2147483647 h 1670"/>
              <a:gd name="T86" fmla="*/ 2147483647 w 1594"/>
              <a:gd name="T87" fmla="*/ 2147483647 h 1670"/>
              <a:gd name="T88" fmla="*/ 2147483647 w 1594"/>
              <a:gd name="T89" fmla="*/ 2147483647 h 1670"/>
              <a:gd name="T90" fmla="*/ 2147483647 w 1594"/>
              <a:gd name="T91" fmla="*/ 2147483647 h 1670"/>
              <a:gd name="T92" fmla="*/ 2147483647 w 1594"/>
              <a:gd name="T93" fmla="*/ 2147483647 h 1670"/>
              <a:gd name="T94" fmla="*/ 2147483647 w 1594"/>
              <a:gd name="T95" fmla="*/ 2147483647 h 1670"/>
              <a:gd name="T96" fmla="*/ 2147483647 w 1594"/>
              <a:gd name="T97" fmla="*/ 2147483647 h 1670"/>
              <a:gd name="T98" fmla="*/ 2147483647 w 1594"/>
              <a:gd name="T99" fmla="*/ 2147483647 h 1670"/>
              <a:gd name="T100" fmla="*/ 2147483647 w 1594"/>
              <a:gd name="T101" fmla="*/ 2147483647 h 1670"/>
              <a:gd name="T102" fmla="*/ 2147483647 w 1594"/>
              <a:gd name="T103" fmla="*/ 2147483647 h 1670"/>
              <a:gd name="T104" fmla="*/ 2147483647 w 1594"/>
              <a:gd name="T105" fmla="*/ 2147483647 h 1670"/>
              <a:gd name="T106" fmla="*/ 2147483647 w 1594"/>
              <a:gd name="T107" fmla="*/ 2147483647 h 1670"/>
              <a:gd name="T108" fmla="*/ 2147483647 w 1594"/>
              <a:gd name="T109" fmla="*/ 2147483647 h 1670"/>
              <a:gd name="T110" fmla="*/ 2147483647 w 1594"/>
              <a:gd name="T111" fmla="*/ 2147483647 h 1670"/>
              <a:gd name="T112" fmla="*/ 2147483647 w 1594"/>
              <a:gd name="T113" fmla="*/ 2147483647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52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798888" y="3641527"/>
            <a:ext cx="158750" cy="206375"/>
          </a:xfrm>
          <a:custGeom>
            <a:avLst/>
            <a:gdLst>
              <a:gd name="T0" fmla="*/ 2147483647 w 359"/>
              <a:gd name="T1" fmla="*/ 2147483647 h 394"/>
              <a:gd name="T2" fmla="*/ 2147483647 w 359"/>
              <a:gd name="T3" fmla="*/ 2147483647 h 394"/>
              <a:gd name="T4" fmla="*/ 2147483647 w 359"/>
              <a:gd name="T5" fmla="*/ 2147483647 h 394"/>
              <a:gd name="T6" fmla="*/ 2147483647 w 359"/>
              <a:gd name="T7" fmla="*/ 2147483647 h 394"/>
              <a:gd name="T8" fmla="*/ 2147483647 w 359"/>
              <a:gd name="T9" fmla="*/ 2147483647 h 394"/>
              <a:gd name="T10" fmla="*/ 2147483647 w 359"/>
              <a:gd name="T11" fmla="*/ 2147483647 h 394"/>
              <a:gd name="T12" fmla="*/ 2147483647 w 359"/>
              <a:gd name="T13" fmla="*/ 2147483647 h 394"/>
              <a:gd name="T14" fmla="*/ 0 w 359"/>
              <a:gd name="T15" fmla="*/ 2147483647 h 394"/>
              <a:gd name="T16" fmla="*/ 2147483647 w 359"/>
              <a:gd name="T17" fmla="*/ 2147483647 h 394"/>
              <a:gd name="T18" fmla="*/ 2147483647 w 359"/>
              <a:gd name="T19" fmla="*/ 2147483647 h 394"/>
              <a:gd name="T20" fmla="*/ 2147483647 w 359"/>
              <a:gd name="T21" fmla="*/ 2147483647 h 394"/>
              <a:gd name="T22" fmla="*/ 2147483647 w 359"/>
              <a:gd name="T23" fmla="*/ 2147483647 h 394"/>
              <a:gd name="T24" fmla="*/ 2147483647 w 359"/>
              <a:gd name="T25" fmla="*/ 2147483647 h 394"/>
              <a:gd name="T26" fmla="*/ 2147483647 w 359"/>
              <a:gd name="T27" fmla="*/ 2147483647 h 394"/>
              <a:gd name="T28" fmla="*/ 2147483647 w 359"/>
              <a:gd name="T29" fmla="*/ 2147483647 h 394"/>
              <a:gd name="T30" fmla="*/ 2147483647 w 359"/>
              <a:gd name="T31" fmla="*/ 2147483647 h 394"/>
              <a:gd name="T32" fmla="*/ 2147483647 w 359"/>
              <a:gd name="T33" fmla="*/ 2147483647 h 394"/>
              <a:gd name="T34" fmla="*/ 2147483647 w 359"/>
              <a:gd name="T35" fmla="*/ 2147483647 h 394"/>
              <a:gd name="T36" fmla="*/ 2147483647 w 359"/>
              <a:gd name="T37" fmla="*/ 0 h 394"/>
              <a:gd name="T38" fmla="*/ 2147483647 w 359"/>
              <a:gd name="T39" fmla="*/ 2147483647 h 394"/>
              <a:gd name="T40" fmla="*/ 2147483647 w 359"/>
              <a:gd name="T41" fmla="*/ 2147483647 h 394"/>
              <a:gd name="T42" fmla="*/ 2147483647 w 359"/>
              <a:gd name="T43" fmla="*/ 2147483647 h 394"/>
              <a:gd name="T44" fmla="*/ 2147483647 w 359"/>
              <a:gd name="T45" fmla="*/ 2147483647 h 394"/>
              <a:gd name="T46" fmla="*/ 2147483647 w 359"/>
              <a:gd name="T47" fmla="*/ 2147483647 h 394"/>
              <a:gd name="T48" fmla="*/ 2147483647 w 359"/>
              <a:gd name="T49" fmla="*/ 2147483647 h 394"/>
              <a:gd name="T50" fmla="*/ 2147483647 w 359"/>
              <a:gd name="T51" fmla="*/ 2147483647 h 394"/>
              <a:gd name="T52" fmla="*/ 2147483647 w 359"/>
              <a:gd name="T53" fmla="*/ 2147483647 h 394"/>
              <a:gd name="T54" fmla="*/ 2147483647 w 359"/>
              <a:gd name="T55" fmla="*/ 2147483647 h 394"/>
              <a:gd name="T56" fmla="*/ 2147483647 w 359"/>
              <a:gd name="T57" fmla="*/ 2147483647 h 394"/>
              <a:gd name="T58" fmla="*/ 2147483647 w 359"/>
              <a:gd name="T59" fmla="*/ 2147483647 h 394"/>
              <a:gd name="T60" fmla="*/ 2147483647 w 359"/>
              <a:gd name="T61" fmla="*/ 2147483647 h 394"/>
              <a:gd name="T62" fmla="*/ 2147483647 w 359"/>
              <a:gd name="T63" fmla="*/ 2147483647 h 394"/>
              <a:gd name="T64" fmla="*/ 2147483647 w 359"/>
              <a:gd name="T65" fmla="*/ 2147483647 h 394"/>
              <a:gd name="T66" fmla="*/ 2147483647 w 359"/>
              <a:gd name="T67" fmla="*/ 2147483647 h 394"/>
              <a:gd name="T68" fmla="*/ 2147483647 w 359"/>
              <a:gd name="T69" fmla="*/ 2147483647 h 394"/>
              <a:gd name="T70" fmla="*/ 2147483647 w 359"/>
              <a:gd name="T71" fmla="*/ 2147483647 h 394"/>
              <a:gd name="T72" fmla="*/ 2147483647 w 359"/>
              <a:gd name="T73" fmla="*/ 2147483647 h 394"/>
              <a:gd name="T74" fmla="*/ 2147483647 w 359"/>
              <a:gd name="T75" fmla="*/ 2147483647 h 394"/>
              <a:gd name="T76" fmla="*/ 2147483647 w 359"/>
              <a:gd name="T77" fmla="*/ 2147483647 h 394"/>
              <a:gd name="T78" fmla="*/ 2147483647 w 359"/>
              <a:gd name="T79" fmla="*/ 2147483647 h 394"/>
              <a:gd name="T80" fmla="*/ 2147483647 w 359"/>
              <a:gd name="T81" fmla="*/ 2147483647 h 394"/>
              <a:gd name="T82" fmla="*/ 2147483647 w 359"/>
              <a:gd name="T83" fmla="*/ 2147483647 h 394"/>
              <a:gd name="T84" fmla="*/ 2147483647 w 359"/>
              <a:gd name="T85" fmla="*/ 2147483647 h 394"/>
              <a:gd name="T86" fmla="*/ 2147483647 w 359"/>
              <a:gd name="T87" fmla="*/ 2147483647 h 394"/>
              <a:gd name="T88" fmla="*/ 2147483647 w 359"/>
              <a:gd name="T89" fmla="*/ 2147483647 h 394"/>
              <a:gd name="T90" fmla="*/ 2147483647 w 359"/>
              <a:gd name="T91" fmla="*/ 2147483647 h 394"/>
              <a:gd name="T92" fmla="*/ 2147483647 w 359"/>
              <a:gd name="T93" fmla="*/ 2147483647 h 394"/>
              <a:gd name="T94" fmla="*/ 2147483647 w 359"/>
              <a:gd name="T95" fmla="*/ 2147483647 h 394"/>
              <a:gd name="T96" fmla="*/ 2147483647 w 359"/>
              <a:gd name="T97" fmla="*/ 2147483647 h 394"/>
              <a:gd name="T98" fmla="*/ 2147483647 w 359"/>
              <a:gd name="T99" fmla="*/ 2147483647 h 394"/>
              <a:gd name="T100" fmla="*/ 2147483647 w 359"/>
              <a:gd name="T101" fmla="*/ 2147483647 h 394"/>
              <a:gd name="T102" fmla="*/ 2147483647 w 359"/>
              <a:gd name="T103" fmla="*/ 2147483647 h 394"/>
              <a:gd name="T104" fmla="*/ 2147483647 w 359"/>
              <a:gd name="T105" fmla="*/ 2147483647 h 394"/>
              <a:gd name="T106" fmla="*/ 2147483647 w 359"/>
              <a:gd name="T107" fmla="*/ 2147483647 h 394"/>
              <a:gd name="T108" fmla="*/ 2147483647 w 359"/>
              <a:gd name="T109" fmla="*/ 2147483647 h 394"/>
              <a:gd name="T110" fmla="*/ 2147483647 w 359"/>
              <a:gd name="T111" fmla="*/ 2147483647 h 394"/>
              <a:gd name="T112" fmla="*/ 2147483647 w 359"/>
              <a:gd name="T113" fmla="*/ 2147483647 h 394"/>
              <a:gd name="T114" fmla="*/ 2147483647 w 359"/>
              <a:gd name="T115" fmla="*/ 2147483647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53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867275" y="3836789"/>
            <a:ext cx="192088" cy="271463"/>
          </a:xfrm>
          <a:custGeom>
            <a:avLst/>
            <a:gdLst>
              <a:gd name="T0" fmla="*/ 2147483647 w 449"/>
              <a:gd name="T1" fmla="*/ 2147483647 h 523"/>
              <a:gd name="T2" fmla="*/ 2147483647 w 449"/>
              <a:gd name="T3" fmla="*/ 2147483647 h 523"/>
              <a:gd name="T4" fmla="*/ 2147483647 w 449"/>
              <a:gd name="T5" fmla="*/ 2147483647 h 523"/>
              <a:gd name="T6" fmla="*/ 2147483647 w 449"/>
              <a:gd name="T7" fmla="*/ 2147483647 h 523"/>
              <a:gd name="T8" fmla="*/ 2147483647 w 449"/>
              <a:gd name="T9" fmla="*/ 2147483647 h 523"/>
              <a:gd name="T10" fmla="*/ 2147483647 w 449"/>
              <a:gd name="T11" fmla="*/ 2147483647 h 523"/>
              <a:gd name="T12" fmla="*/ 2147483647 w 449"/>
              <a:gd name="T13" fmla="*/ 2147483647 h 523"/>
              <a:gd name="T14" fmla="*/ 2147483647 w 449"/>
              <a:gd name="T15" fmla="*/ 2147483647 h 523"/>
              <a:gd name="T16" fmla="*/ 2147483647 w 449"/>
              <a:gd name="T17" fmla="*/ 2147483647 h 523"/>
              <a:gd name="T18" fmla="*/ 2147483647 w 449"/>
              <a:gd name="T19" fmla="*/ 2147483647 h 523"/>
              <a:gd name="T20" fmla="*/ 2147483647 w 449"/>
              <a:gd name="T21" fmla="*/ 2147483647 h 523"/>
              <a:gd name="T22" fmla="*/ 2147483647 w 449"/>
              <a:gd name="T23" fmla="*/ 2147483647 h 523"/>
              <a:gd name="T24" fmla="*/ 2147483647 w 449"/>
              <a:gd name="T25" fmla="*/ 2147483647 h 523"/>
              <a:gd name="T26" fmla="*/ 2147483647 w 449"/>
              <a:gd name="T27" fmla="*/ 2147483647 h 523"/>
              <a:gd name="T28" fmla="*/ 2147483647 w 449"/>
              <a:gd name="T29" fmla="*/ 2147483647 h 523"/>
              <a:gd name="T30" fmla="*/ 2147483647 w 449"/>
              <a:gd name="T31" fmla="*/ 2147483647 h 523"/>
              <a:gd name="T32" fmla="*/ 2147483647 w 449"/>
              <a:gd name="T33" fmla="*/ 2147483647 h 523"/>
              <a:gd name="T34" fmla="*/ 2147483647 w 449"/>
              <a:gd name="T35" fmla="*/ 2147483647 h 523"/>
              <a:gd name="T36" fmla="*/ 2147483647 w 449"/>
              <a:gd name="T37" fmla="*/ 2147483647 h 523"/>
              <a:gd name="T38" fmla="*/ 2147483647 w 449"/>
              <a:gd name="T39" fmla="*/ 2147483647 h 523"/>
              <a:gd name="T40" fmla="*/ 2147483647 w 449"/>
              <a:gd name="T41" fmla="*/ 2147483647 h 523"/>
              <a:gd name="T42" fmla="*/ 2147483647 w 449"/>
              <a:gd name="T43" fmla="*/ 2147483647 h 523"/>
              <a:gd name="T44" fmla="*/ 2147483647 w 449"/>
              <a:gd name="T45" fmla="*/ 2147483647 h 523"/>
              <a:gd name="T46" fmla="*/ 2147483647 w 449"/>
              <a:gd name="T47" fmla="*/ 2147483647 h 523"/>
              <a:gd name="T48" fmla="*/ 2147483647 w 449"/>
              <a:gd name="T49" fmla="*/ 2147483647 h 523"/>
              <a:gd name="T50" fmla="*/ 2147483647 w 449"/>
              <a:gd name="T51" fmla="*/ 0 h 523"/>
              <a:gd name="T52" fmla="*/ 2147483647 w 449"/>
              <a:gd name="T53" fmla="*/ 0 h 523"/>
              <a:gd name="T54" fmla="*/ 2147483647 w 449"/>
              <a:gd name="T55" fmla="*/ 0 h 523"/>
              <a:gd name="T56" fmla="*/ 2147483647 w 449"/>
              <a:gd name="T57" fmla="*/ 2147483647 h 523"/>
              <a:gd name="T58" fmla="*/ 2147483647 w 449"/>
              <a:gd name="T59" fmla="*/ 2147483647 h 523"/>
              <a:gd name="T60" fmla="*/ 2147483647 w 449"/>
              <a:gd name="T61" fmla="*/ 2147483647 h 523"/>
              <a:gd name="T62" fmla="*/ 2147483647 w 449"/>
              <a:gd name="T63" fmla="*/ 2147483647 h 523"/>
              <a:gd name="T64" fmla="*/ 2147483647 w 449"/>
              <a:gd name="T65" fmla="*/ 2147483647 h 523"/>
              <a:gd name="T66" fmla="*/ 2147483647 w 449"/>
              <a:gd name="T67" fmla="*/ 2147483647 h 523"/>
              <a:gd name="T68" fmla="*/ 2147483647 w 449"/>
              <a:gd name="T69" fmla="*/ 2147483647 h 523"/>
              <a:gd name="T70" fmla="*/ 2147483647 w 449"/>
              <a:gd name="T71" fmla="*/ 2147483647 h 523"/>
              <a:gd name="T72" fmla="*/ 2147483647 w 449"/>
              <a:gd name="T73" fmla="*/ 2147483647 h 523"/>
              <a:gd name="T74" fmla="*/ 2147483647 w 449"/>
              <a:gd name="T75" fmla="*/ 2147483647 h 523"/>
              <a:gd name="T76" fmla="*/ 2147483647 w 449"/>
              <a:gd name="T77" fmla="*/ 2147483647 h 523"/>
              <a:gd name="T78" fmla="*/ 2147483647 w 449"/>
              <a:gd name="T79" fmla="*/ 2147483647 h 523"/>
              <a:gd name="T80" fmla="*/ 2147483647 w 449"/>
              <a:gd name="T81" fmla="*/ 2147483647 h 523"/>
              <a:gd name="T82" fmla="*/ 2147483647 w 449"/>
              <a:gd name="T83" fmla="*/ 2147483647 h 523"/>
              <a:gd name="T84" fmla="*/ 2147483647 w 449"/>
              <a:gd name="T85" fmla="*/ 2147483647 h 523"/>
              <a:gd name="T86" fmla="*/ 2147483647 w 449"/>
              <a:gd name="T87" fmla="*/ 2147483647 h 523"/>
              <a:gd name="T88" fmla="*/ 2147483647 w 449"/>
              <a:gd name="T89" fmla="*/ 2147483647 h 523"/>
              <a:gd name="T90" fmla="*/ 2147483647 w 449"/>
              <a:gd name="T91" fmla="*/ 2147483647 h 523"/>
              <a:gd name="T92" fmla="*/ 2147483647 w 449"/>
              <a:gd name="T93" fmla="*/ 2147483647 h 523"/>
              <a:gd name="T94" fmla="*/ 2147483647 w 449"/>
              <a:gd name="T95" fmla="*/ 2147483647 h 523"/>
              <a:gd name="T96" fmla="*/ 2147483647 w 449"/>
              <a:gd name="T97" fmla="*/ 2147483647 h 523"/>
              <a:gd name="T98" fmla="*/ 2147483647 w 449"/>
              <a:gd name="T99" fmla="*/ 2147483647 h 523"/>
              <a:gd name="T100" fmla="*/ 2147483647 w 449"/>
              <a:gd name="T101" fmla="*/ 2147483647 h 523"/>
              <a:gd name="T102" fmla="*/ 2147483647 w 449"/>
              <a:gd name="T103" fmla="*/ 2147483647 h 523"/>
              <a:gd name="T104" fmla="*/ 2147483647 w 449"/>
              <a:gd name="T105" fmla="*/ 2147483647 h 523"/>
              <a:gd name="T106" fmla="*/ 2147483647 w 449"/>
              <a:gd name="T107" fmla="*/ 2147483647 h 523"/>
              <a:gd name="T108" fmla="*/ 2147483647 w 449"/>
              <a:gd name="T109" fmla="*/ 2147483647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54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849813" y="2922389"/>
            <a:ext cx="101600" cy="130175"/>
          </a:xfrm>
          <a:custGeom>
            <a:avLst/>
            <a:gdLst>
              <a:gd name="T0" fmla="*/ 2147483647 w 226"/>
              <a:gd name="T1" fmla="*/ 2147483647 h 246"/>
              <a:gd name="T2" fmla="*/ 2147483647 w 226"/>
              <a:gd name="T3" fmla="*/ 2147483647 h 246"/>
              <a:gd name="T4" fmla="*/ 2147483647 w 226"/>
              <a:gd name="T5" fmla="*/ 2147483647 h 246"/>
              <a:gd name="T6" fmla="*/ 2147483647 w 226"/>
              <a:gd name="T7" fmla="*/ 2147483647 h 246"/>
              <a:gd name="T8" fmla="*/ 2147483647 w 226"/>
              <a:gd name="T9" fmla="*/ 2147483647 h 246"/>
              <a:gd name="T10" fmla="*/ 2147483647 w 226"/>
              <a:gd name="T11" fmla="*/ 2147483647 h 246"/>
              <a:gd name="T12" fmla="*/ 2147483647 w 226"/>
              <a:gd name="T13" fmla="*/ 2147483647 h 246"/>
              <a:gd name="T14" fmla="*/ 2147483647 w 226"/>
              <a:gd name="T15" fmla="*/ 2147483647 h 246"/>
              <a:gd name="T16" fmla="*/ 2147483647 w 226"/>
              <a:gd name="T17" fmla="*/ 2147483647 h 246"/>
              <a:gd name="T18" fmla="*/ 2147483647 w 226"/>
              <a:gd name="T19" fmla="*/ 2147483647 h 246"/>
              <a:gd name="T20" fmla="*/ 2147483647 w 226"/>
              <a:gd name="T21" fmla="*/ 2147483647 h 246"/>
              <a:gd name="T22" fmla="*/ 2147483647 w 226"/>
              <a:gd name="T23" fmla="*/ 2147483647 h 246"/>
              <a:gd name="T24" fmla="*/ 2147483647 w 226"/>
              <a:gd name="T25" fmla="*/ 2147483647 h 246"/>
              <a:gd name="T26" fmla="*/ 2147483647 w 226"/>
              <a:gd name="T27" fmla="*/ 2147483647 h 246"/>
              <a:gd name="T28" fmla="*/ 2147483647 w 226"/>
              <a:gd name="T29" fmla="*/ 2147483647 h 246"/>
              <a:gd name="T30" fmla="*/ 2147483647 w 226"/>
              <a:gd name="T31" fmla="*/ 2147483647 h 246"/>
              <a:gd name="T32" fmla="*/ 2147483647 w 226"/>
              <a:gd name="T33" fmla="*/ 2147483647 h 246"/>
              <a:gd name="T34" fmla="*/ 2147483647 w 226"/>
              <a:gd name="T35" fmla="*/ 2147483647 h 246"/>
              <a:gd name="T36" fmla="*/ 2147483647 w 226"/>
              <a:gd name="T37" fmla="*/ 2147483647 h 246"/>
              <a:gd name="T38" fmla="*/ 2147483647 w 226"/>
              <a:gd name="T39" fmla="*/ 2147483647 h 246"/>
              <a:gd name="T40" fmla="*/ 2147483647 w 226"/>
              <a:gd name="T41" fmla="*/ 2147483647 h 246"/>
              <a:gd name="T42" fmla="*/ 2147483647 w 226"/>
              <a:gd name="T43" fmla="*/ 2147483647 h 246"/>
              <a:gd name="T44" fmla="*/ 2147483647 w 226"/>
              <a:gd name="T45" fmla="*/ 2147483647 h 246"/>
              <a:gd name="T46" fmla="*/ 2147483647 w 226"/>
              <a:gd name="T47" fmla="*/ 2147483647 h 246"/>
              <a:gd name="T48" fmla="*/ 2147483647 w 226"/>
              <a:gd name="T49" fmla="*/ 2147483647 h 246"/>
              <a:gd name="T50" fmla="*/ 2147483647 w 226"/>
              <a:gd name="T51" fmla="*/ 2147483647 h 246"/>
              <a:gd name="T52" fmla="*/ 2147483647 w 226"/>
              <a:gd name="T53" fmla="*/ 2147483647 h 246"/>
              <a:gd name="T54" fmla="*/ 2147483647 w 226"/>
              <a:gd name="T55" fmla="*/ 2147483647 h 246"/>
              <a:gd name="T56" fmla="*/ 2147483647 w 226"/>
              <a:gd name="T57" fmla="*/ 2147483647 h 246"/>
              <a:gd name="T58" fmla="*/ 2147483647 w 226"/>
              <a:gd name="T59" fmla="*/ 2147483647 h 246"/>
              <a:gd name="T60" fmla="*/ 2147483647 w 226"/>
              <a:gd name="T61" fmla="*/ 2147483647 h 246"/>
              <a:gd name="T62" fmla="*/ 2147483647 w 226"/>
              <a:gd name="T63" fmla="*/ 2147483647 h 246"/>
              <a:gd name="T64" fmla="*/ 2147483647 w 226"/>
              <a:gd name="T65" fmla="*/ 2147483647 h 246"/>
              <a:gd name="T66" fmla="*/ 2147483647 w 226"/>
              <a:gd name="T67" fmla="*/ 2147483647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55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148263" y="3025577"/>
            <a:ext cx="22225" cy="55562"/>
          </a:xfrm>
          <a:custGeom>
            <a:avLst/>
            <a:gdLst>
              <a:gd name="T0" fmla="*/ 2147483647 w 60"/>
              <a:gd name="T1" fmla="*/ 0 h 81"/>
              <a:gd name="T2" fmla="*/ 2147483647 w 60"/>
              <a:gd name="T3" fmla="*/ 2147483647 h 81"/>
              <a:gd name="T4" fmla="*/ 2147483647 w 60"/>
              <a:gd name="T5" fmla="*/ 2147483647 h 81"/>
              <a:gd name="T6" fmla="*/ 2147483647 w 60"/>
              <a:gd name="T7" fmla="*/ 2147483647 h 81"/>
              <a:gd name="T8" fmla="*/ 2147483647 w 60"/>
              <a:gd name="T9" fmla="*/ 2147483647 h 81"/>
              <a:gd name="T10" fmla="*/ 2147483647 w 60"/>
              <a:gd name="T11" fmla="*/ 2147483647 h 81"/>
              <a:gd name="T12" fmla="*/ 2147483647 w 60"/>
              <a:gd name="T13" fmla="*/ 0 h 81"/>
              <a:gd name="T14" fmla="*/ 2147483647 w 60"/>
              <a:gd name="T15" fmla="*/ 2147483647 h 81"/>
              <a:gd name="T16" fmla="*/ 2147483647 w 60"/>
              <a:gd name="T17" fmla="*/ 2147483647 h 81"/>
              <a:gd name="T18" fmla="*/ 2147483647 w 60"/>
              <a:gd name="T19" fmla="*/ 2147483647 h 81"/>
              <a:gd name="T20" fmla="*/ 2147483647 w 60"/>
              <a:gd name="T21" fmla="*/ 2147483647 h 81"/>
              <a:gd name="T22" fmla="*/ 2147483647 w 60"/>
              <a:gd name="T23" fmla="*/ 2147483647 h 81"/>
              <a:gd name="T24" fmla="*/ 2147483647 w 60"/>
              <a:gd name="T25" fmla="*/ 2147483647 h 81"/>
              <a:gd name="T26" fmla="*/ 2147483647 w 60"/>
              <a:gd name="T27" fmla="*/ 2147483647 h 81"/>
              <a:gd name="T28" fmla="*/ 2147483647 w 60"/>
              <a:gd name="T29" fmla="*/ 2147483647 h 81"/>
              <a:gd name="T30" fmla="*/ 2147483647 w 60"/>
              <a:gd name="T31" fmla="*/ 2147483647 h 81"/>
              <a:gd name="T32" fmla="*/ 2147483647 w 60"/>
              <a:gd name="T33" fmla="*/ 2147483647 h 81"/>
              <a:gd name="T34" fmla="*/ 2147483647 w 60"/>
              <a:gd name="T35" fmla="*/ 2147483647 h 81"/>
              <a:gd name="T36" fmla="*/ 2147483647 w 60"/>
              <a:gd name="T37" fmla="*/ 2147483647 h 81"/>
              <a:gd name="T38" fmla="*/ 0 w 60"/>
              <a:gd name="T39" fmla="*/ 2147483647 h 81"/>
              <a:gd name="T40" fmla="*/ 2147483647 w 60"/>
              <a:gd name="T41" fmla="*/ 2147483647 h 81"/>
              <a:gd name="T42" fmla="*/ 2147483647 w 60"/>
              <a:gd name="T43" fmla="*/ 2147483647 h 81"/>
              <a:gd name="T44" fmla="*/ 2147483647 w 60"/>
              <a:gd name="T45" fmla="*/ 0 h 81"/>
              <a:gd name="T46" fmla="*/ 2147483647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56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435475" y="2160389"/>
            <a:ext cx="161925" cy="66675"/>
          </a:xfrm>
          <a:custGeom>
            <a:avLst/>
            <a:gdLst>
              <a:gd name="T0" fmla="*/ 47881223 w 370"/>
              <a:gd name="T1" fmla="*/ 31256103 h 129"/>
              <a:gd name="T2" fmla="*/ 49413383 w 370"/>
              <a:gd name="T3" fmla="*/ 31790020 h 129"/>
              <a:gd name="T4" fmla="*/ 53052319 w 370"/>
              <a:gd name="T5" fmla="*/ 32858887 h 129"/>
              <a:gd name="T6" fmla="*/ 56499571 w 370"/>
              <a:gd name="T7" fmla="*/ 33927238 h 129"/>
              <a:gd name="T8" fmla="*/ 58031732 w 370"/>
              <a:gd name="T9" fmla="*/ 34461672 h 129"/>
              <a:gd name="T10" fmla="*/ 70864069 w 370"/>
              <a:gd name="T11" fmla="*/ 25912799 h 129"/>
              <a:gd name="T12" fmla="*/ 68565610 w 370"/>
              <a:gd name="T13" fmla="*/ 20036096 h 129"/>
              <a:gd name="T14" fmla="*/ 66075903 w 370"/>
              <a:gd name="T15" fmla="*/ 12822791 h 129"/>
              <a:gd name="T16" fmla="*/ 64160812 w 370"/>
              <a:gd name="T17" fmla="*/ 7212788 h 129"/>
              <a:gd name="T18" fmla="*/ 63203266 w 370"/>
              <a:gd name="T19" fmla="*/ 4808353 h 129"/>
              <a:gd name="T20" fmla="*/ 57457555 w 370"/>
              <a:gd name="T21" fmla="*/ 4007219 h 129"/>
              <a:gd name="T22" fmla="*/ 49221699 w 370"/>
              <a:gd name="T23" fmla="*/ 2404435 h 129"/>
              <a:gd name="T24" fmla="*/ 40986281 w 370"/>
              <a:gd name="T25" fmla="*/ 534434 h 129"/>
              <a:gd name="T26" fmla="*/ 35048885 w 370"/>
              <a:gd name="T27" fmla="*/ 0 h 129"/>
              <a:gd name="T28" fmla="*/ 34283024 w 370"/>
              <a:gd name="T29" fmla="*/ 0 h 129"/>
              <a:gd name="T30" fmla="*/ 33708409 w 370"/>
              <a:gd name="T31" fmla="*/ 267217 h 129"/>
              <a:gd name="T32" fmla="*/ 32942110 w 370"/>
              <a:gd name="T33" fmla="*/ 534434 h 129"/>
              <a:gd name="T34" fmla="*/ 32559179 w 370"/>
              <a:gd name="T35" fmla="*/ 801651 h 129"/>
              <a:gd name="T36" fmla="*/ 31027018 w 370"/>
              <a:gd name="T37" fmla="*/ 1870001 h 129"/>
              <a:gd name="T38" fmla="*/ 28728558 w 370"/>
              <a:gd name="T39" fmla="*/ 3205569 h 129"/>
              <a:gd name="T40" fmla="*/ 28153944 w 370"/>
              <a:gd name="T41" fmla="*/ 5610003 h 129"/>
              <a:gd name="T42" fmla="*/ 26813467 w 370"/>
              <a:gd name="T43" fmla="*/ 9350006 h 129"/>
              <a:gd name="T44" fmla="*/ 25664237 w 370"/>
              <a:gd name="T45" fmla="*/ 12822791 h 129"/>
              <a:gd name="T46" fmla="*/ 25089622 w 370"/>
              <a:gd name="T47" fmla="*/ 14692792 h 129"/>
              <a:gd name="T48" fmla="*/ 23365778 w 370"/>
              <a:gd name="T49" fmla="*/ 14425576 h 129"/>
              <a:gd name="T50" fmla="*/ 21259440 w 370"/>
              <a:gd name="T51" fmla="*/ 13090008 h 129"/>
              <a:gd name="T52" fmla="*/ 18769296 w 370"/>
              <a:gd name="T53" fmla="*/ 11754441 h 129"/>
              <a:gd name="T54" fmla="*/ 16087905 w 370"/>
              <a:gd name="T55" fmla="*/ 10151656 h 129"/>
              <a:gd name="T56" fmla="*/ 11491423 w 370"/>
              <a:gd name="T57" fmla="*/ 6945571 h 129"/>
              <a:gd name="T58" fmla="*/ 8427102 w 370"/>
              <a:gd name="T59" fmla="*/ 4808353 h 129"/>
              <a:gd name="T60" fmla="*/ 6128642 w 370"/>
              <a:gd name="T61" fmla="*/ 6678871 h 129"/>
              <a:gd name="T62" fmla="*/ 4021867 w 370"/>
              <a:gd name="T63" fmla="*/ 8815572 h 129"/>
              <a:gd name="T64" fmla="*/ 3064321 w 370"/>
              <a:gd name="T65" fmla="*/ 9884440 h 129"/>
              <a:gd name="T66" fmla="*/ 2298460 w 370"/>
              <a:gd name="T67" fmla="*/ 10952790 h 129"/>
              <a:gd name="T68" fmla="*/ 1723845 w 370"/>
              <a:gd name="T69" fmla="*/ 12288874 h 129"/>
              <a:gd name="T70" fmla="*/ 957546 w 370"/>
              <a:gd name="T71" fmla="*/ 13891659 h 129"/>
              <a:gd name="T72" fmla="*/ 574615 w 370"/>
              <a:gd name="T73" fmla="*/ 15227226 h 129"/>
              <a:gd name="T74" fmla="*/ 191684 w 370"/>
              <a:gd name="T75" fmla="*/ 16830010 h 129"/>
              <a:gd name="T76" fmla="*/ 0 w 370"/>
              <a:gd name="T77" fmla="*/ 18432795 h 129"/>
              <a:gd name="T78" fmla="*/ 0 w 370"/>
              <a:gd name="T79" fmla="*/ 20036096 h 129"/>
              <a:gd name="T80" fmla="*/ 191684 w 370"/>
              <a:gd name="T81" fmla="*/ 21906097 h 129"/>
              <a:gd name="T82" fmla="*/ 574615 w 370"/>
              <a:gd name="T83" fmla="*/ 23508881 h 129"/>
              <a:gd name="T84" fmla="*/ 1149230 w 370"/>
              <a:gd name="T85" fmla="*/ 25646099 h 129"/>
              <a:gd name="T86" fmla="*/ 2106776 w 370"/>
              <a:gd name="T87" fmla="*/ 27516101 h 129"/>
              <a:gd name="T88" fmla="*/ 3830620 w 370"/>
              <a:gd name="T89" fmla="*/ 26981667 h 129"/>
              <a:gd name="T90" fmla="*/ 6320327 w 370"/>
              <a:gd name="T91" fmla="*/ 26447233 h 129"/>
              <a:gd name="T92" fmla="*/ 9576332 w 370"/>
              <a:gd name="T93" fmla="*/ 25912799 h 129"/>
              <a:gd name="T94" fmla="*/ 13215268 w 370"/>
              <a:gd name="T95" fmla="*/ 25378883 h 129"/>
              <a:gd name="T96" fmla="*/ 19535595 w 370"/>
              <a:gd name="T97" fmla="*/ 24577232 h 129"/>
              <a:gd name="T98" fmla="*/ 22408232 w 370"/>
              <a:gd name="T99" fmla="*/ 24310015 h 129"/>
              <a:gd name="T100" fmla="*/ 26238852 w 370"/>
              <a:gd name="T101" fmla="*/ 24577232 h 129"/>
              <a:gd name="T102" fmla="*/ 29111927 w 370"/>
              <a:gd name="T103" fmla="*/ 25111666 h 129"/>
              <a:gd name="T104" fmla="*/ 31792880 w 370"/>
              <a:gd name="T105" fmla="*/ 25912799 h 129"/>
              <a:gd name="T106" fmla="*/ 33899655 w 370"/>
              <a:gd name="T107" fmla="*/ 26714450 h 129"/>
              <a:gd name="T108" fmla="*/ 36198115 w 370"/>
              <a:gd name="T109" fmla="*/ 27782801 h 129"/>
              <a:gd name="T110" fmla="*/ 38496575 w 370"/>
              <a:gd name="T111" fmla="*/ 28851668 h 129"/>
              <a:gd name="T112" fmla="*/ 41560896 w 370"/>
              <a:gd name="T113" fmla="*/ 29386102 h 129"/>
              <a:gd name="T114" fmla="*/ 45391516 w 370"/>
              <a:gd name="T115" fmla="*/ 29653319 h 129"/>
              <a:gd name="T116" fmla="*/ 45391516 w 370"/>
              <a:gd name="T117" fmla="*/ 31256103 h 129"/>
              <a:gd name="T118" fmla="*/ 47881223 w 370"/>
              <a:gd name="T119" fmla="*/ 3125610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57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846638" y="2881114"/>
            <a:ext cx="30162" cy="57150"/>
          </a:xfrm>
          <a:custGeom>
            <a:avLst/>
            <a:gdLst>
              <a:gd name="T0" fmla="*/ 2147483647 w 80"/>
              <a:gd name="T1" fmla="*/ 2147483647 h 94"/>
              <a:gd name="T2" fmla="*/ 2147483647 w 80"/>
              <a:gd name="T3" fmla="*/ 0 h 94"/>
              <a:gd name="T4" fmla="*/ 2147483647 w 80"/>
              <a:gd name="T5" fmla="*/ 0 h 94"/>
              <a:gd name="T6" fmla="*/ 2147483647 w 80"/>
              <a:gd name="T7" fmla="*/ 2147483647 h 94"/>
              <a:gd name="T8" fmla="*/ 2147483647 w 80"/>
              <a:gd name="T9" fmla="*/ 2147483647 h 94"/>
              <a:gd name="T10" fmla="*/ 2147483647 w 80"/>
              <a:gd name="T11" fmla="*/ 2147483647 h 94"/>
              <a:gd name="T12" fmla="*/ 2147483647 w 80"/>
              <a:gd name="T13" fmla="*/ 2147483647 h 94"/>
              <a:gd name="T14" fmla="*/ 2147483647 w 80"/>
              <a:gd name="T15" fmla="*/ 2147483647 h 94"/>
              <a:gd name="T16" fmla="*/ 2147483647 w 80"/>
              <a:gd name="T17" fmla="*/ 2147483647 h 94"/>
              <a:gd name="T18" fmla="*/ 2147483647 w 80"/>
              <a:gd name="T19" fmla="*/ 2147483647 h 94"/>
              <a:gd name="T20" fmla="*/ 2147483647 w 80"/>
              <a:gd name="T21" fmla="*/ 2147483647 h 94"/>
              <a:gd name="T22" fmla="*/ 2147483647 w 80"/>
              <a:gd name="T23" fmla="*/ 2147483647 h 94"/>
              <a:gd name="T24" fmla="*/ 2147483647 w 80"/>
              <a:gd name="T25" fmla="*/ 2147483647 h 94"/>
              <a:gd name="T26" fmla="*/ 2147483647 w 80"/>
              <a:gd name="T27" fmla="*/ 2147483647 h 94"/>
              <a:gd name="T28" fmla="*/ 2147483647 w 80"/>
              <a:gd name="T29" fmla="*/ 2147483647 h 94"/>
              <a:gd name="T30" fmla="*/ 2147483647 w 80"/>
              <a:gd name="T31" fmla="*/ 2147483647 h 94"/>
              <a:gd name="T32" fmla="*/ 2147483647 w 80"/>
              <a:gd name="T33" fmla="*/ 2147483647 h 94"/>
              <a:gd name="T34" fmla="*/ 2147483647 w 80"/>
              <a:gd name="T35" fmla="*/ 2147483647 h 94"/>
              <a:gd name="T36" fmla="*/ 2147483647 w 80"/>
              <a:gd name="T37" fmla="*/ 2147483647 h 94"/>
              <a:gd name="T38" fmla="*/ 2147483647 w 80"/>
              <a:gd name="T39" fmla="*/ 2147483647 h 94"/>
              <a:gd name="T40" fmla="*/ 2147483647 w 80"/>
              <a:gd name="T41" fmla="*/ 2147483647 h 94"/>
              <a:gd name="T42" fmla="*/ 2147483647 w 80"/>
              <a:gd name="T43" fmla="*/ 2147483647 h 94"/>
              <a:gd name="T44" fmla="*/ 2147483647 w 80"/>
              <a:gd name="T45" fmla="*/ 2147483647 h 94"/>
              <a:gd name="T46" fmla="*/ 2147483647 w 80"/>
              <a:gd name="T47" fmla="*/ 2147483647 h 94"/>
              <a:gd name="T48" fmla="*/ 2147483647 w 80"/>
              <a:gd name="T49" fmla="*/ 2147483647 h 94"/>
              <a:gd name="T50" fmla="*/ 0 w 80"/>
              <a:gd name="T51" fmla="*/ 2147483647 h 94"/>
              <a:gd name="T52" fmla="*/ 2147483647 w 80"/>
              <a:gd name="T53" fmla="*/ 2147483647 h 94"/>
              <a:gd name="T54" fmla="*/ 2147483647 w 80"/>
              <a:gd name="T55" fmla="*/ 2147483647 h 94"/>
              <a:gd name="T56" fmla="*/ 2147483647 w 80"/>
              <a:gd name="T57" fmla="*/ 2147483647 h 94"/>
              <a:gd name="T58" fmla="*/ 2147483647 w 80"/>
              <a:gd name="T59" fmla="*/ 2147483647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58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662488" y="4892477"/>
            <a:ext cx="61912" cy="57150"/>
          </a:xfrm>
          <a:custGeom>
            <a:avLst/>
            <a:gdLst>
              <a:gd name="T0" fmla="*/ 2147483647 w 135"/>
              <a:gd name="T1" fmla="*/ 2147483647 h 98"/>
              <a:gd name="T2" fmla="*/ 2147483647 w 135"/>
              <a:gd name="T3" fmla="*/ 2147483647 h 98"/>
              <a:gd name="T4" fmla="*/ 2147483647 w 135"/>
              <a:gd name="T5" fmla="*/ 2147483647 h 98"/>
              <a:gd name="T6" fmla="*/ 2147483647 w 135"/>
              <a:gd name="T7" fmla="*/ 2147483647 h 98"/>
              <a:gd name="T8" fmla="*/ 2147483647 w 135"/>
              <a:gd name="T9" fmla="*/ 2147483647 h 98"/>
              <a:gd name="T10" fmla="*/ 2147483647 w 135"/>
              <a:gd name="T11" fmla="*/ 2147483647 h 98"/>
              <a:gd name="T12" fmla="*/ 2147483647 w 135"/>
              <a:gd name="T13" fmla="*/ 2147483647 h 98"/>
              <a:gd name="T14" fmla="*/ 2147483647 w 135"/>
              <a:gd name="T15" fmla="*/ 2147483647 h 98"/>
              <a:gd name="T16" fmla="*/ 2147483647 w 135"/>
              <a:gd name="T17" fmla="*/ 2147483647 h 98"/>
              <a:gd name="T18" fmla="*/ 2147483647 w 135"/>
              <a:gd name="T19" fmla="*/ 2147483647 h 98"/>
              <a:gd name="T20" fmla="*/ 2147483647 w 135"/>
              <a:gd name="T21" fmla="*/ 2147483647 h 98"/>
              <a:gd name="T22" fmla="*/ 2147483647 w 135"/>
              <a:gd name="T23" fmla="*/ 0 h 98"/>
              <a:gd name="T24" fmla="*/ 2147483647 w 135"/>
              <a:gd name="T25" fmla="*/ 0 h 98"/>
              <a:gd name="T26" fmla="*/ 2147483647 w 135"/>
              <a:gd name="T27" fmla="*/ 0 h 98"/>
              <a:gd name="T28" fmla="*/ 2147483647 w 135"/>
              <a:gd name="T29" fmla="*/ 2147483647 h 98"/>
              <a:gd name="T30" fmla="*/ 2147483647 w 135"/>
              <a:gd name="T31" fmla="*/ 2147483647 h 98"/>
              <a:gd name="T32" fmla="*/ 2147483647 w 135"/>
              <a:gd name="T33" fmla="*/ 2147483647 h 98"/>
              <a:gd name="T34" fmla="*/ 2147483647 w 135"/>
              <a:gd name="T35" fmla="*/ 2147483647 h 98"/>
              <a:gd name="T36" fmla="*/ 2147483647 w 135"/>
              <a:gd name="T37" fmla="*/ 2147483647 h 98"/>
              <a:gd name="T38" fmla="*/ 2147483647 w 135"/>
              <a:gd name="T39" fmla="*/ 2147483647 h 98"/>
              <a:gd name="T40" fmla="*/ 2147483647 w 135"/>
              <a:gd name="T41" fmla="*/ 2147483647 h 98"/>
              <a:gd name="T42" fmla="*/ 2147483647 w 135"/>
              <a:gd name="T43" fmla="*/ 2147483647 h 98"/>
              <a:gd name="T44" fmla="*/ 2147483647 w 135"/>
              <a:gd name="T45" fmla="*/ 2147483647 h 98"/>
              <a:gd name="T46" fmla="*/ 2147483647 w 135"/>
              <a:gd name="T47" fmla="*/ 2147483647 h 98"/>
              <a:gd name="T48" fmla="*/ 2147483647 w 135"/>
              <a:gd name="T49" fmla="*/ 2147483647 h 98"/>
              <a:gd name="T50" fmla="*/ 2147483647 w 135"/>
              <a:gd name="T51" fmla="*/ 2147483647 h 98"/>
              <a:gd name="T52" fmla="*/ 2147483647 w 135"/>
              <a:gd name="T53" fmla="*/ 2147483647 h 98"/>
              <a:gd name="T54" fmla="*/ 2147483647 w 135"/>
              <a:gd name="T55" fmla="*/ 2147483647 h 98"/>
              <a:gd name="T56" fmla="*/ 2147483647 w 135"/>
              <a:gd name="T57" fmla="*/ 2147483647 h 98"/>
              <a:gd name="T58" fmla="*/ 2147483647 w 135"/>
              <a:gd name="T59" fmla="*/ 2147483647 h 98"/>
              <a:gd name="T60" fmla="*/ 2147483647 w 135"/>
              <a:gd name="T61" fmla="*/ 2147483647 h 98"/>
              <a:gd name="T62" fmla="*/ 2147483647 w 135"/>
              <a:gd name="T63" fmla="*/ 2147483647 h 98"/>
              <a:gd name="T64" fmla="*/ 2147483647 w 135"/>
              <a:gd name="T65" fmla="*/ 2147483647 h 98"/>
              <a:gd name="T66" fmla="*/ 2147483647 w 135"/>
              <a:gd name="T67" fmla="*/ 2147483647 h 98"/>
              <a:gd name="T68" fmla="*/ 2147483647 w 135"/>
              <a:gd name="T69" fmla="*/ 2147483647 h 98"/>
              <a:gd name="T70" fmla="*/ 2147483647 w 135"/>
              <a:gd name="T71" fmla="*/ 2147483647 h 98"/>
              <a:gd name="T72" fmla="*/ 2147483647 w 135"/>
              <a:gd name="T73" fmla="*/ 2147483647 h 98"/>
              <a:gd name="T74" fmla="*/ 2147483647 w 135"/>
              <a:gd name="T75" fmla="*/ 2147483647 h 98"/>
              <a:gd name="T76" fmla="*/ 0 w 135"/>
              <a:gd name="T77" fmla="*/ 2147483647 h 98"/>
              <a:gd name="T78" fmla="*/ 0 w 135"/>
              <a:gd name="T79" fmla="*/ 2147483647 h 98"/>
              <a:gd name="T80" fmla="*/ 2147483647 w 135"/>
              <a:gd name="T81" fmla="*/ 2147483647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59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433888" y="2208014"/>
            <a:ext cx="131762" cy="84138"/>
          </a:xfrm>
          <a:custGeom>
            <a:avLst/>
            <a:gdLst>
              <a:gd name="T0" fmla="*/ 34242917 w 312"/>
              <a:gd name="T1" fmla="*/ 45672278 h 155"/>
              <a:gd name="T2" fmla="*/ 34599772 w 312"/>
              <a:gd name="T3" fmla="*/ 44493803 h 155"/>
              <a:gd name="T4" fmla="*/ 35134844 w 312"/>
              <a:gd name="T5" fmla="*/ 43609540 h 155"/>
              <a:gd name="T6" fmla="*/ 35669916 w 312"/>
              <a:gd name="T7" fmla="*/ 42725819 h 155"/>
              <a:gd name="T8" fmla="*/ 36204988 w 312"/>
              <a:gd name="T9" fmla="*/ 41841556 h 155"/>
              <a:gd name="T10" fmla="*/ 37631565 w 312"/>
              <a:gd name="T11" fmla="*/ 40368327 h 155"/>
              <a:gd name="T12" fmla="*/ 39236781 w 312"/>
              <a:gd name="T13" fmla="*/ 38895098 h 155"/>
              <a:gd name="T14" fmla="*/ 42447213 w 312"/>
              <a:gd name="T15" fmla="*/ 36243393 h 155"/>
              <a:gd name="T16" fmla="*/ 45122150 w 312"/>
              <a:gd name="T17" fmla="*/ 34475410 h 155"/>
              <a:gd name="T18" fmla="*/ 45479006 w 312"/>
              <a:gd name="T19" fmla="*/ 32117917 h 155"/>
              <a:gd name="T20" fmla="*/ 46370933 w 312"/>
              <a:gd name="T21" fmla="*/ 28581950 h 155"/>
              <a:gd name="T22" fmla="*/ 47084222 w 312"/>
              <a:gd name="T23" fmla="*/ 26813966 h 155"/>
              <a:gd name="T24" fmla="*/ 47619294 w 312"/>
              <a:gd name="T25" fmla="*/ 25340737 h 155"/>
              <a:gd name="T26" fmla="*/ 47975727 w 312"/>
              <a:gd name="T27" fmla="*/ 24162262 h 155"/>
              <a:gd name="T28" fmla="*/ 48510799 w 312"/>
              <a:gd name="T29" fmla="*/ 23867508 h 155"/>
              <a:gd name="T30" fmla="*/ 55644951 w 312"/>
              <a:gd name="T31" fmla="*/ 12964852 h 155"/>
              <a:gd name="T32" fmla="*/ 55644951 w 312"/>
              <a:gd name="T33" fmla="*/ 11491622 h 155"/>
              <a:gd name="T34" fmla="*/ 55288095 w 312"/>
              <a:gd name="T35" fmla="*/ 10313147 h 155"/>
              <a:gd name="T36" fmla="*/ 54574807 w 312"/>
              <a:gd name="T37" fmla="*/ 9428884 h 155"/>
              <a:gd name="T38" fmla="*/ 53861518 w 312"/>
              <a:gd name="T39" fmla="*/ 8839918 h 155"/>
              <a:gd name="T40" fmla="*/ 51899447 w 312"/>
              <a:gd name="T41" fmla="*/ 8250409 h 155"/>
              <a:gd name="T42" fmla="*/ 49937798 w 312"/>
              <a:gd name="T43" fmla="*/ 7955655 h 155"/>
              <a:gd name="T44" fmla="*/ 47797510 w 312"/>
              <a:gd name="T45" fmla="*/ 7955655 h 155"/>
              <a:gd name="T46" fmla="*/ 46192294 w 312"/>
              <a:gd name="T47" fmla="*/ 7955655 h 155"/>
              <a:gd name="T48" fmla="*/ 45657222 w 312"/>
              <a:gd name="T49" fmla="*/ 7660901 h 155"/>
              <a:gd name="T50" fmla="*/ 45122150 w 312"/>
              <a:gd name="T51" fmla="*/ 7366689 h 155"/>
              <a:gd name="T52" fmla="*/ 44943934 w 312"/>
              <a:gd name="T53" fmla="*/ 6777180 h 155"/>
              <a:gd name="T54" fmla="*/ 45122150 w 312"/>
              <a:gd name="T55" fmla="*/ 5893460 h 155"/>
              <a:gd name="T56" fmla="*/ 41377069 w 312"/>
              <a:gd name="T57" fmla="*/ 5598705 h 155"/>
              <a:gd name="T58" fmla="*/ 38523492 w 312"/>
              <a:gd name="T59" fmla="*/ 5009197 h 155"/>
              <a:gd name="T60" fmla="*/ 36026349 w 312"/>
              <a:gd name="T61" fmla="*/ 3830722 h 155"/>
              <a:gd name="T62" fmla="*/ 33707845 w 312"/>
              <a:gd name="T63" fmla="*/ 2651704 h 155"/>
              <a:gd name="T64" fmla="*/ 31567979 w 312"/>
              <a:gd name="T65" fmla="*/ 1767984 h 155"/>
              <a:gd name="T66" fmla="*/ 29070836 w 312"/>
              <a:gd name="T67" fmla="*/ 883720 h 155"/>
              <a:gd name="T68" fmla="*/ 26039043 w 312"/>
              <a:gd name="T69" fmla="*/ 294754 h 155"/>
              <a:gd name="T70" fmla="*/ 22472178 w 312"/>
              <a:gd name="T71" fmla="*/ 0 h 155"/>
              <a:gd name="T72" fmla="*/ 19618602 w 312"/>
              <a:gd name="T73" fmla="*/ 294754 h 155"/>
              <a:gd name="T74" fmla="*/ 13197738 w 312"/>
              <a:gd name="T75" fmla="*/ 1178475 h 155"/>
              <a:gd name="T76" fmla="*/ 9452657 w 312"/>
              <a:gd name="T77" fmla="*/ 1767984 h 155"/>
              <a:gd name="T78" fmla="*/ 6064008 w 312"/>
              <a:gd name="T79" fmla="*/ 2357492 h 155"/>
              <a:gd name="T80" fmla="*/ 3210432 w 312"/>
              <a:gd name="T81" fmla="*/ 2946458 h 155"/>
              <a:gd name="T82" fmla="*/ 1248360 w 312"/>
              <a:gd name="T83" fmla="*/ 3535967 h 155"/>
              <a:gd name="T84" fmla="*/ 1605216 w 312"/>
              <a:gd name="T85" fmla="*/ 5009197 h 155"/>
              <a:gd name="T86" fmla="*/ 1961649 w 312"/>
              <a:gd name="T87" fmla="*/ 5598705 h 155"/>
              <a:gd name="T88" fmla="*/ 2318504 w 312"/>
              <a:gd name="T89" fmla="*/ 5598705 h 155"/>
              <a:gd name="T90" fmla="*/ 2675360 w 312"/>
              <a:gd name="T91" fmla="*/ 5893460 h 155"/>
              <a:gd name="T92" fmla="*/ 3210432 w 312"/>
              <a:gd name="T93" fmla="*/ 5893460 h 155"/>
              <a:gd name="T94" fmla="*/ 3388648 w 312"/>
              <a:gd name="T95" fmla="*/ 5893460 h 155"/>
              <a:gd name="T96" fmla="*/ 3566865 w 312"/>
              <a:gd name="T97" fmla="*/ 6482426 h 155"/>
              <a:gd name="T98" fmla="*/ 3566865 w 312"/>
              <a:gd name="T99" fmla="*/ 7660901 h 155"/>
              <a:gd name="T100" fmla="*/ 3566865 w 312"/>
              <a:gd name="T101" fmla="*/ 8839918 h 155"/>
              <a:gd name="T102" fmla="*/ 3388648 w 312"/>
              <a:gd name="T103" fmla="*/ 10313147 h 155"/>
              <a:gd name="T104" fmla="*/ 3210432 w 312"/>
              <a:gd name="T105" fmla="*/ 11491622 h 155"/>
              <a:gd name="T106" fmla="*/ 2675360 w 312"/>
              <a:gd name="T107" fmla="*/ 12375886 h 155"/>
              <a:gd name="T108" fmla="*/ 2140288 w 312"/>
              <a:gd name="T109" fmla="*/ 13259606 h 155"/>
              <a:gd name="T110" fmla="*/ 1605216 w 312"/>
              <a:gd name="T111" fmla="*/ 14143869 h 155"/>
              <a:gd name="T112" fmla="*/ 713289 w 312"/>
              <a:gd name="T113" fmla="*/ 14438081 h 155"/>
              <a:gd name="T114" fmla="*/ 0 w 312"/>
              <a:gd name="T115" fmla="*/ 14732835 h 155"/>
              <a:gd name="T116" fmla="*/ 13197738 w 312"/>
              <a:gd name="T117" fmla="*/ 20036786 h 155"/>
              <a:gd name="T118" fmla="*/ 15516242 w 312"/>
              <a:gd name="T119" fmla="*/ 32707426 h 155"/>
              <a:gd name="T120" fmla="*/ 29605908 w 312"/>
              <a:gd name="T121" fmla="*/ 36243393 h 155"/>
              <a:gd name="T122" fmla="*/ 34242917 w 312"/>
              <a:gd name="T123" fmla="*/ 4567227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0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140200" y="2393752"/>
            <a:ext cx="19050" cy="60325"/>
          </a:xfrm>
          <a:custGeom>
            <a:avLst/>
            <a:gdLst>
              <a:gd name="T0" fmla="*/ 0 w 46"/>
              <a:gd name="T1" fmla="*/ 2147483647 h 50"/>
              <a:gd name="T2" fmla="*/ 2147483647 w 46"/>
              <a:gd name="T3" fmla="*/ 2147483647 h 50"/>
              <a:gd name="T4" fmla="*/ 2147483647 w 46"/>
              <a:gd name="T5" fmla="*/ 2147483647 h 50"/>
              <a:gd name="T6" fmla="*/ 2147483647 w 46"/>
              <a:gd name="T7" fmla="*/ 2147483647 h 50"/>
              <a:gd name="T8" fmla="*/ 2147483647 w 46"/>
              <a:gd name="T9" fmla="*/ 2147483647 h 50"/>
              <a:gd name="T10" fmla="*/ 2147483647 w 46"/>
              <a:gd name="T11" fmla="*/ 2147483647 h 50"/>
              <a:gd name="T12" fmla="*/ 2147483647 w 46"/>
              <a:gd name="T13" fmla="*/ 2147483647 h 50"/>
              <a:gd name="T14" fmla="*/ 2147483647 w 46"/>
              <a:gd name="T15" fmla="*/ 0 h 50"/>
              <a:gd name="T16" fmla="*/ 2147483647 w 46"/>
              <a:gd name="T17" fmla="*/ 2147483647 h 50"/>
              <a:gd name="T18" fmla="*/ 2147483647 w 46"/>
              <a:gd name="T19" fmla="*/ 2147483647 h 50"/>
              <a:gd name="T20" fmla="*/ 2147483647 w 46"/>
              <a:gd name="T21" fmla="*/ 2147483647 h 50"/>
              <a:gd name="T22" fmla="*/ 2147483647 w 46"/>
              <a:gd name="T23" fmla="*/ 2147483647 h 50"/>
              <a:gd name="T24" fmla="*/ 2147483647 w 46"/>
              <a:gd name="T25" fmla="*/ 2147483647 h 50"/>
              <a:gd name="T26" fmla="*/ 2147483647 w 46"/>
              <a:gd name="T27" fmla="*/ 2147483647 h 50"/>
              <a:gd name="T28" fmla="*/ 0 w 46"/>
              <a:gd name="T29" fmla="*/ 2147483647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1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837113" y="4278114"/>
            <a:ext cx="69850" cy="241300"/>
          </a:xfrm>
          <a:custGeom>
            <a:avLst/>
            <a:gdLst>
              <a:gd name="T0" fmla="*/ 2147483647 w 166"/>
              <a:gd name="T1" fmla="*/ 2147483647 h 456"/>
              <a:gd name="T2" fmla="*/ 2147483647 w 166"/>
              <a:gd name="T3" fmla="*/ 2147483647 h 456"/>
              <a:gd name="T4" fmla="*/ 2147483647 w 166"/>
              <a:gd name="T5" fmla="*/ 2147483647 h 456"/>
              <a:gd name="T6" fmla="*/ 2147483647 w 166"/>
              <a:gd name="T7" fmla="*/ 2147483647 h 456"/>
              <a:gd name="T8" fmla="*/ 2147483647 w 166"/>
              <a:gd name="T9" fmla="*/ 2147483647 h 456"/>
              <a:gd name="T10" fmla="*/ 2147483647 w 166"/>
              <a:gd name="T11" fmla="*/ 2147483647 h 456"/>
              <a:gd name="T12" fmla="*/ 2147483647 w 166"/>
              <a:gd name="T13" fmla="*/ 2147483647 h 456"/>
              <a:gd name="T14" fmla="*/ 2147483647 w 166"/>
              <a:gd name="T15" fmla="*/ 2147483647 h 456"/>
              <a:gd name="T16" fmla="*/ 2147483647 w 166"/>
              <a:gd name="T17" fmla="*/ 2147483647 h 456"/>
              <a:gd name="T18" fmla="*/ 2147483647 w 166"/>
              <a:gd name="T19" fmla="*/ 2147483647 h 456"/>
              <a:gd name="T20" fmla="*/ 2147483647 w 166"/>
              <a:gd name="T21" fmla="*/ 2147483647 h 456"/>
              <a:gd name="T22" fmla="*/ 2147483647 w 166"/>
              <a:gd name="T23" fmla="*/ 2147483647 h 456"/>
              <a:gd name="T24" fmla="*/ 2147483647 w 166"/>
              <a:gd name="T25" fmla="*/ 2147483647 h 456"/>
              <a:gd name="T26" fmla="*/ 2147483647 w 166"/>
              <a:gd name="T27" fmla="*/ 2147483647 h 456"/>
              <a:gd name="T28" fmla="*/ 2147483647 w 166"/>
              <a:gd name="T29" fmla="*/ 2147483647 h 456"/>
              <a:gd name="T30" fmla="*/ 2147483647 w 166"/>
              <a:gd name="T31" fmla="*/ 2147483647 h 456"/>
              <a:gd name="T32" fmla="*/ 2147483647 w 166"/>
              <a:gd name="T33" fmla="*/ 2147483647 h 456"/>
              <a:gd name="T34" fmla="*/ 2147483647 w 166"/>
              <a:gd name="T35" fmla="*/ 2147483647 h 456"/>
              <a:gd name="T36" fmla="*/ 2147483647 w 166"/>
              <a:gd name="T37" fmla="*/ 2147483647 h 456"/>
              <a:gd name="T38" fmla="*/ 2147483647 w 166"/>
              <a:gd name="T39" fmla="*/ 2147483647 h 456"/>
              <a:gd name="T40" fmla="*/ 2147483647 w 166"/>
              <a:gd name="T41" fmla="*/ 2147483647 h 456"/>
              <a:gd name="T42" fmla="*/ 2147483647 w 166"/>
              <a:gd name="T43" fmla="*/ 2147483647 h 456"/>
              <a:gd name="T44" fmla="*/ 2147483647 w 166"/>
              <a:gd name="T45" fmla="*/ 2147483647 h 456"/>
              <a:gd name="T46" fmla="*/ 2147483647 w 166"/>
              <a:gd name="T47" fmla="*/ 2147483647 h 456"/>
              <a:gd name="T48" fmla="*/ 2147483647 w 166"/>
              <a:gd name="T49" fmla="*/ 2147483647 h 456"/>
              <a:gd name="T50" fmla="*/ 2147483647 w 166"/>
              <a:gd name="T51" fmla="*/ 2147483647 h 456"/>
              <a:gd name="T52" fmla="*/ 2147483647 w 166"/>
              <a:gd name="T53" fmla="*/ 2147483647 h 456"/>
              <a:gd name="T54" fmla="*/ 2147483647 w 166"/>
              <a:gd name="T55" fmla="*/ 2147483647 h 456"/>
              <a:gd name="T56" fmla="*/ 2147483647 w 166"/>
              <a:gd name="T57" fmla="*/ 2147483647 h 456"/>
              <a:gd name="T58" fmla="*/ 2147483647 w 166"/>
              <a:gd name="T59" fmla="*/ 2147483647 h 456"/>
              <a:gd name="T60" fmla="*/ 2147483647 w 166"/>
              <a:gd name="T61" fmla="*/ 2147483647 h 456"/>
              <a:gd name="T62" fmla="*/ 2147483647 w 166"/>
              <a:gd name="T63" fmla="*/ 2147483647 h 456"/>
              <a:gd name="T64" fmla="*/ 2147483647 w 166"/>
              <a:gd name="T65" fmla="*/ 2147483647 h 456"/>
              <a:gd name="T66" fmla="*/ 2147483647 w 166"/>
              <a:gd name="T67" fmla="*/ 2147483647 h 456"/>
              <a:gd name="T68" fmla="*/ 2147483647 w 166"/>
              <a:gd name="T69" fmla="*/ 2147483647 h 456"/>
              <a:gd name="T70" fmla="*/ 2147483647 w 166"/>
              <a:gd name="T71" fmla="*/ 2147483647 h 456"/>
              <a:gd name="T72" fmla="*/ 2147483647 w 166"/>
              <a:gd name="T73" fmla="*/ 2147483647 h 456"/>
              <a:gd name="T74" fmla="*/ 2147483647 w 166"/>
              <a:gd name="T75" fmla="*/ 2147483647 h 456"/>
              <a:gd name="T76" fmla="*/ 2147483647 w 166"/>
              <a:gd name="T77" fmla="*/ 2147483647 h 456"/>
              <a:gd name="T78" fmla="*/ 2147483647 w 166"/>
              <a:gd name="T79" fmla="*/ 2147483647 h 456"/>
              <a:gd name="T80" fmla="*/ 2147483647 w 166"/>
              <a:gd name="T81" fmla="*/ 2147483647 h 456"/>
              <a:gd name="T82" fmla="*/ 2147483647 w 166"/>
              <a:gd name="T83" fmla="*/ 2147483647 h 456"/>
              <a:gd name="T84" fmla="*/ 2147483647 w 166"/>
              <a:gd name="T85" fmla="*/ 2147483647 h 456"/>
              <a:gd name="T86" fmla="*/ 2147483647 w 166"/>
              <a:gd name="T87" fmla="*/ 2147483647 h 456"/>
              <a:gd name="T88" fmla="*/ 2147483647 w 166"/>
              <a:gd name="T89" fmla="*/ 2147483647 h 456"/>
              <a:gd name="T90" fmla="*/ 2147483647 w 166"/>
              <a:gd name="T91" fmla="*/ 2147483647 h 456"/>
              <a:gd name="T92" fmla="*/ 2147483647 w 166"/>
              <a:gd name="T93" fmla="*/ 2147483647 h 456"/>
              <a:gd name="T94" fmla="*/ 2147483647 w 166"/>
              <a:gd name="T95" fmla="*/ 2147483647 h 456"/>
              <a:gd name="T96" fmla="*/ 2147483647 w 166"/>
              <a:gd name="T97" fmla="*/ 2147483647 h 456"/>
              <a:gd name="T98" fmla="*/ 2147483647 w 166"/>
              <a:gd name="T99" fmla="*/ 2147483647 h 456"/>
              <a:gd name="T100" fmla="*/ 2147483647 w 166"/>
              <a:gd name="T101" fmla="*/ 2147483647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2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329113" y="2849364"/>
            <a:ext cx="14287" cy="57150"/>
          </a:xfrm>
          <a:custGeom>
            <a:avLst/>
            <a:gdLst>
              <a:gd name="T0" fmla="*/ 2147483647 w 27"/>
              <a:gd name="T1" fmla="*/ 0 h 19"/>
              <a:gd name="T2" fmla="*/ 2147483647 w 27"/>
              <a:gd name="T3" fmla="*/ 2147483647 h 19"/>
              <a:gd name="T4" fmla="*/ 2147483647 w 27"/>
              <a:gd name="T5" fmla="*/ 2147483647 h 19"/>
              <a:gd name="T6" fmla="*/ 2147483647 w 27"/>
              <a:gd name="T7" fmla="*/ 2147483647 h 19"/>
              <a:gd name="T8" fmla="*/ 0 w 27"/>
              <a:gd name="T9" fmla="*/ 2147483647 h 19"/>
              <a:gd name="T10" fmla="*/ 2147483647 w 27"/>
              <a:gd name="T11" fmla="*/ 2147483647 h 19"/>
              <a:gd name="T12" fmla="*/ 214748364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3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648200" y="4470202"/>
            <a:ext cx="188913" cy="217487"/>
          </a:xfrm>
          <a:custGeom>
            <a:avLst/>
            <a:gdLst>
              <a:gd name="T0" fmla="*/ 2147483647 w 438"/>
              <a:gd name="T1" fmla="*/ 2147483647 h 406"/>
              <a:gd name="T2" fmla="*/ 2147483647 w 438"/>
              <a:gd name="T3" fmla="*/ 2147483647 h 406"/>
              <a:gd name="T4" fmla="*/ 2147483647 w 438"/>
              <a:gd name="T5" fmla="*/ 2147483647 h 406"/>
              <a:gd name="T6" fmla="*/ 2147483647 w 438"/>
              <a:gd name="T7" fmla="*/ 2147483647 h 406"/>
              <a:gd name="T8" fmla="*/ 2147483647 w 438"/>
              <a:gd name="T9" fmla="*/ 2147483647 h 406"/>
              <a:gd name="T10" fmla="*/ 2147483647 w 438"/>
              <a:gd name="T11" fmla="*/ 2147483647 h 406"/>
              <a:gd name="T12" fmla="*/ 2147483647 w 438"/>
              <a:gd name="T13" fmla="*/ 2147483647 h 406"/>
              <a:gd name="T14" fmla="*/ 2147483647 w 438"/>
              <a:gd name="T15" fmla="*/ 2147483647 h 406"/>
              <a:gd name="T16" fmla="*/ 2147483647 w 438"/>
              <a:gd name="T17" fmla="*/ 2147483647 h 406"/>
              <a:gd name="T18" fmla="*/ 2147483647 w 438"/>
              <a:gd name="T19" fmla="*/ 2147483647 h 406"/>
              <a:gd name="T20" fmla="*/ 2147483647 w 438"/>
              <a:gd name="T21" fmla="*/ 2147483647 h 406"/>
              <a:gd name="T22" fmla="*/ 2147483647 w 438"/>
              <a:gd name="T23" fmla="*/ 2147483647 h 406"/>
              <a:gd name="T24" fmla="*/ 2147483647 w 438"/>
              <a:gd name="T25" fmla="*/ 2147483647 h 406"/>
              <a:gd name="T26" fmla="*/ 2147483647 w 438"/>
              <a:gd name="T27" fmla="*/ 2147483647 h 406"/>
              <a:gd name="T28" fmla="*/ 2147483647 w 438"/>
              <a:gd name="T29" fmla="*/ 2147483647 h 406"/>
              <a:gd name="T30" fmla="*/ 2147483647 w 438"/>
              <a:gd name="T31" fmla="*/ 2147483647 h 406"/>
              <a:gd name="T32" fmla="*/ 2147483647 w 438"/>
              <a:gd name="T33" fmla="*/ 2147483647 h 406"/>
              <a:gd name="T34" fmla="*/ 2147483647 w 438"/>
              <a:gd name="T35" fmla="*/ 2147483647 h 406"/>
              <a:gd name="T36" fmla="*/ 2147483647 w 438"/>
              <a:gd name="T37" fmla="*/ 2147483647 h 406"/>
              <a:gd name="T38" fmla="*/ 2147483647 w 438"/>
              <a:gd name="T39" fmla="*/ 2147483647 h 406"/>
              <a:gd name="T40" fmla="*/ 2147483647 w 438"/>
              <a:gd name="T41" fmla="*/ 2147483647 h 406"/>
              <a:gd name="T42" fmla="*/ 2147483647 w 438"/>
              <a:gd name="T43" fmla="*/ 2147483647 h 406"/>
              <a:gd name="T44" fmla="*/ 2147483647 w 438"/>
              <a:gd name="T45" fmla="*/ 2147483647 h 406"/>
              <a:gd name="T46" fmla="*/ 2147483647 w 438"/>
              <a:gd name="T47" fmla="*/ 2147483647 h 406"/>
              <a:gd name="T48" fmla="*/ 2147483647 w 438"/>
              <a:gd name="T49" fmla="*/ 2147483647 h 406"/>
              <a:gd name="T50" fmla="*/ 2147483647 w 438"/>
              <a:gd name="T51" fmla="*/ 2147483647 h 406"/>
              <a:gd name="T52" fmla="*/ 2147483647 w 438"/>
              <a:gd name="T53" fmla="*/ 2147483647 h 406"/>
              <a:gd name="T54" fmla="*/ 2147483647 w 438"/>
              <a:gd name="T55" fmla="*/ 2147483647 h 406"/>
              <a:gd name="T56" fmla="*/ 2147483647 w 438"/>
              <a:gd name="T57" fmla="*/ 2147483647 h 406"/>
              <a:gd name="T58" fmla="*/ 2147483647 w 438"/>
              <a:gd name="T59" fmla="*/ 2147483647 h 406"/>
              <a:gd name="T60" fmla="*/ 2147483647 w 438"/>
              <a:gd name="T61" fmla="*/ 2147483647 h 406"/>
              <a:gd name="T62" fmla="*/ 2147483647 w 438"/>
              <a:gd name="T63" fmla="*/ 2147483647 h 406"/>
              <a:gd name="T64" fmla="*/ 0 w 438"/>
              <a:gd name="T65" fmla="*/ 2147483647 h 406"/>
              <a:gd name="T66" fmla="*/ 2147483647 w 438"/>
              <a:gd name="T67" fmla="*/ 2147483647 h 406"/>
              <a:gd name="T68" fmla="*/ 2147483647 w 438"/>
              <a:gd name="T69" fmla="*/ 2147483647 h 406"/>
              <a:gd name="T70" fmla="*/ 2147483647 w 438"/>
              <a:gd name="T71" fmla="*/ 2147483647 h 406"/>
              <a:gd name="T72" fmla="*/ 2147483647 w 438"/>
              <a:gd name="T73" fmla="*/ 2147483647 h 406"/>
              <a:gd name="T74" fmla="*/ 2147483647 w 438"/>
              <a:gd name="T75" fmla="*/ 2147483647 h 406"/>
              <a:gd name="T76" fmla="*/ 2147483647 w 438"/>
              <a:gd name="T77" fmla="*/ 2147483647 h 406"/>
              <a:gd name="T78" fmla="*/ 2147483647 w 438"/>
              <a:gd name="T79" fmla="*/ 2147483647 h 406"/>
              <a:gd name="T80" fmla="*/ 2147483647 w 438"/>
              <a:gd name="T81" fmla="*/ 2147483647 h 406"/>
              <a:gd name="T82" fmla="*/ 2147483647 w 438"/>
              <a:gd name="T83" fmla="*/ 2147483647 h 406"/>
              <a:gd name="T84" fmla="*/ 2147483647 w 438"/>
              <a:gd name="T85" fmla="*/ 2147483647 h 406"/>
              <a:gd name="T86" fmla="*/ 2147483647 w 438"/>
              <a:gd name="T87" fmla="*/ 2147483647 h 406"/>
              <a:gd name="T88" fmla="*/ 2147483647 w 438"/>
              <a:gd name="T89" fmla="*/ 2147483647 h 406"/>
              <a:gd name="T90" fmla="*/ 2147483647 w 438"/>
              <a:gd name="T91" fmla="*/ 2147483647 h 406"/>
              <a:gd name="T92" fmla="*/ 2147483647 w 438"/>
              <a:gd name="T93" fmla="*/ 2147483647 h 406"/>
              <a:gd name="T94" fmla="*/ 2147483647 w 438"/>
              <a:gd name="T95" fmla="*/ 2147483647 h 406"/>
              <a:gd name="T96" fmla="*/ 2147483647 w 438"/>
              <a:gd name="T97" fmla="*/ 2147483647 h 406"/>
              <a:gd name="T98" fmla="*/ 2147483647 w 438"/>
              <a:gd name="T99" fmla="*/ 2147483647 h 406"/>
              <a:gd name="T100" fmla="*/ 2147483647 w 438"/>
              <a:gd name="T101" fmla="*/ 2147483647 h 406"/>
              <a:gd name="T102" fmla="*/ 2147483647 w 438"/>
              <a:gd name="T103" fmla="*/ 2147483647 h 406"/>
              <a:gd name="T104" fmla="*/ 2147483647 w 438"/>
              <a:gd name="T105" fmla="*/ 2147483647 h 406"/>
              <a:gd name="T106" fmla="*/ 2147483647 w 438"/>
              <a:gd name="T107" fmla="*/ 2147483647 h 406"/>
              <a:gd name="T108" fmla="*/ 2147483647 w 438"/>
              <a:gd name="T109" fmla="*/ 2147483647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4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560888" y="4246364"/>
            <a:ext cx="293687" cy="300038"/>
          </a:xfrm>
          <a:custGeom>
            <a:avLst/>
            <a:gdLst>
              <a:gd name="T0" fmla="*/ 2147483647 w 678"/>
              <a:gd name="T1" fmla="*/ 2147483647 h 574"/>
              <a:gd name="T2" fmla="*/ 2147483647 w 678"/>
              <a:gd name="T3" fmla="*/ 2147483647 h 574"/>
              <a:gd name="T4" fmla="*/ 2147483647 w 678"/>
              <a:gd name="T5" fmla="*/ 2147483647 h 574"/>
              <a:gd name="T6" fmla="*/ 2147483647 w 678"/>
              <a:gd name="T7" fmla="*/ 2147483647 h 574"/>
              <a:gd name="T8" fmla="*/ 2147483647 w 678"/>
              <a:gd name="T9" fmla="*/ 2147483647 h 574"/>
              <a:gd name="T10" fmla="*/ 2147483647 w 678"/>
              <a:gd name="T11" fmla="*/ 2147483647 h 574"/>
              <a:gd name="T12" fmla="*/ 2147483647 w 678"/>
              <a:gd name="T13" fmla="*/ 2147483647 h 574"/>
              <a:gd name="T14" fmla="*/ 2147483647 w 678"/>
              <a:gd name="T15" fmla="*/ 2147483647 h 574"/>
              <a:gd name="T16" fmla="*/ 2147483647 w 678"/>
              <a:gd name="T17" fmla="*/ 2147483647 h 574"/>
              <a:gd name="T18" fmla="*/ 2147483647 w 678"/>
              <a:gd name="T19" fmla="*/ 2147483647 h 574"/>
              <a:gd name="T20" fmla="*/ 2147483647 w 678"/>
              <a:gd name="T21" fmla="*/ 2147483647 h 574"/>
              <a:gd name="T22" fmla="*/ 2147483647 w 678"/>
              <a:gd name="T23" fmla="*/ 2147483647 h 574"/>
              <a:gd name="T24" fmla="*/ 2147483647 w 678"/>
              <a:gd name="T25" fmla="*/ 2147483647 h 574"/>
              <a:gd name="T26" fmla="*/ 2147483647 w 678"/>
              <a:gd name="T27" fmla="*/ 2147483647 h 574"/>
              <a:gd name="T28" fmla="*/ 2147483647 w 678"/>
              <a:gd name="T29" fmla="*/ 2147483647 h 574"/>
              <a:gd name="T30" fmla="*/ 2147483647 w 678"/>
              <a:gd name="T31" fmla="*/ 2147483647 h 574"/>
              <a:gd name="T32" fmla="*/ 2147483647 w 678"/>
              <a:gd name="T33" fmla="*/ 2147483647 h 574"/>
              <a:gd name="T34" fmla="*/ 2147483647 w 678"/>
              <a:gd name="T35" fmla="*/ 2147483647 h 574"/>
              <a:gd name="T36" fmla="*/ 2147483647 w 678"/>
              <a:gd name="T37" fmla="*/ 2147483647 h 574"/>
              <a:gd name="T38" fmla="*/ 2147483647 w 678"/>
              <a:gd name="T39" fmla="*/ 2147483647 h 574"/>
              <a:gd name="T40" fmla="*/ 2147483647 w 678"/>
              <a:gd name="T41" fmla="*/ 2147483647 h 574"/>
              <a:gd name="T42" fmla="*/ 2147483647 w 678"/>
              <a:gd name="T43" fmla="*/ 2147483647 h 574"/>
              <a:gd name="T44" fmla="*/ 2147483647 w 678"/>
              <a:gd name="T45" fmla="*/ 2147483647 h 574"/>
              <a:gd name="T46" fmla="*/ 2147483647 w 678"/>
              <a:gd name="T47" fmla="*/ 2147483647 h 574"/>
              <a:gd name="T48" fmla="*/ 2147483647 w 678"/>
              <a:gd name="T49" fmla="*/ 2147483647 h 574"/>
              <a:gd name="T50" fmla="*/ 2147483647 w 678"/>
              <a:gd name="T51" fmla="*/ 2147483647 h 574"/>
              <a:gd name="T52" fmla="*/ 2147483647 w 678"/>
              <a:gd name="T53" fmla="*/ 2147483647 h 574"/>
              <a:gd name="T54" fmla="*/ 2147483647 w 678"/>
              <a:gd name="T55" fmla="*/ 2147483647 h 574"/>
              <a:gd name="T56" fmla="*/ 2147483647 w 678"/>
              <a:gd name="T57" fmla="*/ 2147483647 h 574"/>
              <a:gd name="T58" fmla="*/ 2147483647 w 678"/>
              <a:gd name="T59" fmla="*/ 2147483647 h 574"/>
              <a:gd name="T60" fmla="*/ 2147483647 w 678"/>
              <a:gd name="T61" fmla="*/ 2147483647 h 574"/>
              <a:gd name="T62" fmla="*/ 2147483647 w 678"/>
              <a:gd name="T63" fmla="*/ 2147483647 h 574"/>
              <a:gd name="T64" fmla="*/ 0 w 678"/>
              <a:gd name="T65" fmla="*/ 2147483647 h 574"/>
              <a:gd name="T66" fmla="*/ 2147483647 w 678"/>
              <a:gd name="T67" fmla="*/ 2147483647 h 574"/>
              <a:gd name="T68" fmla="*/ 2147483647 w 678"/>
              <a:gd name="T69" fmla="*/ 2147483647 h 574"/>
              <a:gd name="T70" fmla="*/ 2147483647 w 678"/>
              <a:gd name="T71" fmla="*/ 2147483647 h 574"/>
              <a:gd name="T72" fmla="*/ 2147483647 w 678"/>
              <a:gd name="T73" fmla="*/ 2147483647 h 574"/>
              <a:gd name="T74" fmla="*/ 2147483647 w 678"/>
              <a:gd name="T75" fmla="*/ 2147483647 h 574"/>
              <a:gd name="T76" fmla="*/ 2147483647 w 678"/>
              <a:gd name="T77" fmla="*/ 2147483647 h 574"/>
              <a:gd name="T78" fmla="*/ 2147483647 w 678"/>
              <a:gd name="T79" fmla="*/ 2147483647 h 574"/>
              <a:gd name="T80" fmla="*/ 2147483647 w 678"/>
              <a:gd name="T81" fmla="*/ 2147483647 h 574"/>
              <a:gd name="T82" fmla="*/ 2147483647 w 678"/>
              <a:gd name="T83" fmla="*/ 2147483647 h 574"/>
              <a:gd name="T84" fmla="*/ 2147483647 w 678"/>
              <a:gd name="T85" fmla="*/ 2147483647 h 574"/>
              <a:gd name="T86" fmla="*/ 2147483647 w 678"/>
              <a:gd name="T87" fmla="*/ 2147483647 h 574"/>
              <a:gd name="T88" fmla="*/ 2147483647 w 678"/>
              <a:gd name="T89" fmla="*/ 2147483647 h 574"/>
              <a:gd name="T90" fmla="*/ 2147483647 w 678"/>
              <a:gd name="T91" fmla="*/ 2147483647 h 574"/>
              <a:gd name="T92" fmla="*/ 2147483647 w 678"/>
              <a:gd name="T93" fmla="*/ 2147483647 h 574"/>
              <a:gd name="T94" fmla="*/ 2147483647 w 678"/>
              <a:gd name="T95" fmla="*/ 2147483647 h 574"/>
              <a:gd name="T96" fmla="*/ 2147483647 w 678"/>
              <a:gd name="T97" fmla="*/ 2147483647 h 574"/>
              <a:gd name="T98" fmla="*/ 2147483647 w 678"/>
              <a:gd name="T99" fmla="*/ 2147483647 h 574"/>
              <a:gd name="T100" fmla="*/ 2147483647 w 678"/>
              <a:gd name="T101" fmla="*/ 2147483647 h 574"/>
              <a:gd name="T102" fmla="*/ 2147483647 w 678"/>
              <a:gd name="T103" fmla="*/ 2147483647 h 574"/>
              <a:gd name="T104" fmla="*/ 2147483647 w 678"/>
              <a:gd name="T105" fmla="*/ 2147483647 h 574"/>
              <a:gd name="T106" fmla="*/ 2147483647 w 678"/>
              <a:gd name="T107" fmla="*/ 2147483647 h 574"/>
              <a:gd name="T108" fmla="*/ 2147483647 w 678"/>
              <a:gd name="T109" fmla="*/ 2147483647 h 574"/>
              <a:gd name="T110" fmla="*/ 2147483647 w 678"/>
              <a:gd name="T111" fmla="*/ 2147483647 h 574"/>
              <a:gd name="T112" fmla="*/ 2147483647 w 678"/>
              <a:gd name="T113" fmla="*/ 2147483647 h 574"/>
              <a:gd name="T114" fmla="*/ 2147483647 w 678"/>
              <a:gd name="T115" fmla="*/ 2147483647 h 574"/>
              <a:gd name="T116" fmla="*/ 2147483647 w 678"/>
              <a:gd name="T117" fmla="*/ 2147483647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5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297363" y="4519414"/>
            <a:ext cx="350837" cy="381000"/>
          </a:xfrm>
          <a:custGeom>
            <a:avLst/>
            <a:gdLst>
              <a:gd name="T0" fmla="*/ 2147483647 w 810"/>
              <a:gd name="T1" fmla="*/ 2147483647 h 727"/>
              <a:gd name="T2" fmla="*/ 2147483647 w 810"/>
              <a:gd name="T3" fmla="*/ 2147483647 h 727"/>
              <a:gd name="T4" fmla="*/ 2147483647 w 810"/>
              <a:gd name="T5" fmla="*/ 2147483647 h 727"/>
              <a:gd name="T6" fmla="*/ 2147483647 w 810"/>
              <a:gd name="T7" fmla="*/ 2147483647 h 727"/>
              <a:gd name="T8" fmla="*/ 2147483647 w 810"/>
              <a:gd name="T9" fmla="*/ 2147483647 h 727"/>
              <a:gd name="T10" fmla="*/ 2147483647 w 810"/>
              <a:gd name="T11" fmla="*/ 2147483647 h 727"/>
              <a:gd name="T12" fmla="*/ 2147483647 w 810"/>
              <a:gd name="T13" fmla="*/ 2147483647 h 727"/>
              <a:gd name="T14" fmla="*/ 2147483647 w 810"/>
              <a:gd name="T15" fmla="*/ 2147483647 h 727"/>
              <a:gd name="T16" fmla="*/ 2147483647 w 810"/>
              <a:gd name="T17" fmla="*/ 0 h 727"/>
              <a:gd name="T18" fmla="*/ 2147483647 w 810"/>
              <a:gd name="T19" fmla="*/ 2147483647 h 727"/>
              <a:gd name="T20" fmla="*/ 2147483647 w 810"/>
              <a:gd name="T21" fmla="*/ 2147483647 h 727"/>
              <a:gd name="T22" fmla="*/ 0 w 810"/>
              <a:gd name="T23" fmla="*/ 2147483647 h 727"/>
              <a:gd name="T24" fmla="*/ 2147483647 w 810"/>
              <a:gd name="T25" fmla="*/ 2147483647 h 727"/>
              <a:gd name="T26" fmla="*/ 2147483647 w 810"/>
              <a:gd name="T27" fmla="*/ 2147483647 h 727"/>
              <a:gd name="T28" fmla="*/ 2147483647 w 810"/>
              <a:gd name="T29" fmla="*/ 2147483647 h 727"/>
              <a:gd name="T30" fmla="*/ 2147483647 w 810"/>
              <a:gd name="T31" fmla="*/ 2147483647 h 727"/>
              <a:gd name="T32" fmla="*/ 2147483647 w 810"/>
              <a:gd name="T33" fmla="*/ 2147483647 h 727"/>
              <a:gd name="T34" fmla="*/ 2147483647 w 810"/>
              <a:gd name="T35" fmla="*/ 2147483647 h 727"/>
              <a:gd name="T36" fmla="*/ 2147483647 w 810"/>
              <a:gd name="T37" fmla="*/ 2147483647 h 727"/>
              <a:gd name="T38" fmla="*/ 2147483647 w 810"/>
              <a:gd name="T39" fmla="*/ 2147483647 h 727"/>
              <a:gd name="T40" fmla="*/ 2147483647 w 810"/>
              <a:gd name="T41" fmla="*/ 2147483647 h 727"/>
              <a:gd name="T42" fmla="*/ 2147483647 w 810"/>
              <a:gd name="T43" fmla="*/ 2147483647 h 727"/>
              <a:gd name="T44" fmla="*/ 2147483647 w 810"/>
              <a:gd name="T45" fmla="*/ 2147483647 h 727"/>
              <a:gd name="T46" fmla="*/ 2147483647 w 810"/>
              <a:gd name="T47" fmla="*/ 2147483647 h 727"/>
              <a:gd name="T48" fmla="*/ 2147483647 w 810"/>
              <a:gd name="T49" fmla="*/ 2147483647 h 727"/>
              <a:gd name="T50" fmla="*/ 2147483647 w 810"/>
              <a:gd name="T51" fmla="*/ 2147483647 h 727"/>
              <a:gd name="T52" fmla="*/ 2147483647 w 810"/>
              <a:gd name="T53" fmla="*/ 2147483647 h 727"/>
              <a:gd name="T54" fmla="*/ 2147483647 w 810"/>
              <a:gd name="T55" fmla="*/ 2147483647 h 727"/>
              <a:gd name="T56" fmla="*/ 2147483647 w 810"/>
              <a:gd name="T57" fmla="*/ 2147483647 h 727"/>
              <a:gd name="T58" fmla="*/ 2147483647 w 810"/>
              <a:gd name="T59" fmla="*/ 2147483647 h 727"/>
              <a:gd name="T60" fmla="*/ 2147483647 w 810"/>
              <a:gd name="T61" fmla="*/ 2147483647 h 727"/>
              <a:gd name="T62" fmla="*/ 2147483647 w 810"/>
              <a:gd name="T63" fmla="*/ 2147483647 h 727"/>
              <a:gd name="T64" fmla="*/ 2147483647 w 810"/>
              <a:gd name="T65" fmla="*/ 2147483647 h 727"/>
              <a:gd name="T66" fmla="*/ 2147483647 w 810"/>
              <a:gd name="T67" fmla="*/ 2147483647 h 727"/>
              <a:gd name="T68" fmla="*/ 2147483647 w 810"/>
              <a:gd name="T69" fmla="*/ 2147483647 h 727"/>
              <a:gd name="T70" fmla="*/ 2147483647 w 810"/>
              <a:gd name="T71" fmla="*/ 2147483647 h 727"/>
              <a:gd name="T72" fmla="*/ 2147483647 w 810"/>
              <a:gd name="T73" fmla="*/ 2147483647 h 727"/>
              <a:gd name="T74" fmla="*/ 2147483647 w 810"/>
              <a:gd name="T75" fmla="*/ 2147483647 h 727"/>
              <a:gd name="T76" fmla="*/ 2147483647 w 810"/>
              <a:gd name="T77" fmla="*/ 2147483647 h 727"/>
              <a:gd name="T78" fmla="*/ 2147483647 w 810"/>
              <a:gd name="T79" fmla="*/ 2147483647 h 727"/>
              <a:gd name="T80" fmla="*/ 2147483647 w 810"/>
              <a:gd name="T81" fmla="*/ 2147483647 h 727"/>
              <a:gd name="T82" fmla="*/ 2147483647 w 810"/>
              <a:gd name="T83" fmla="*/ 2147483647 h 727"/>
              <a:gd name="T84" fmla="*/ 2147483647 w 810"/>
              <a:gd name="T85" fmla="*/ 2147483647 h 727"/>
              <a:gd name="T86" fmla="*/ 2147483647 w 810"/>
              <a:gd name="T87" fmla="*/ 2147483647 h 727"/>
              <a:gd name="T88" fmla="*/ 2147483647 w 810"/>
              <a:gd name="T89" fmla="*/ 2147483647 h 727"/>
              <a:gd name="T90" fmla="*/ 2147483647 w 810"/>
              <a:gd name="T91" fmla="*/ 2147483647 h 727"/>
              <a:gd name="T92" fmla="*/ 2147483647 w 810"/>
              <a:gd name="T93" fmla="*/ 2147483647 h 727"/>
              <a:gd name="T94" fmla="*/ 2147483647 w 810"/>
              <a:gd name="T95" fmla="*/ 2147483647 h 727"/>
              <a:gd name="T96" fmla="*/ 2147483647 w 810"/>
              <a:gd name="T97" fmla="*/ 2147483647 h 727"/>
              <a:gd name="T98" fmla="*/ 2147483647 w 810"/>
              <a:gd name="T99" fmla="*/ 2147483647 h 727"/>
              <a:gd name="T100" fmla="*/ 2147483647 w 810"/>
              <a:gd name="T101" fmla="*/ 2147483647 h 727"/>
              <a:gd name="T102" fmla="*/ 2147483647 w 810"/>
              <a:gd name="T103" fmla="*/ 2147483647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6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576638" y="3449439"/>
            <a:ext cx="161925" cy="141288"/>
          </a:xfrm>
          <a:custGeom>
            <a:avLst/>
            <a:gdLst>
              <a:gd name="T0" fmla="*/ 2147483647 w 365"/>
              <a:gd name="T1" fmla="*/ 2147483647 h 271"/>
              <a:gd name="T2" fmla="*/ 2147483647 w 365"/>
              <a:gd name="T3" fmla="*/ 2147483647 h 271"/>
              <a:gd name="T4" fmla="*/ 2147483647 w 365"/>
              <a:gd name="T5" fmla="*/ 2147483647 h 271"/>
              <a:gd name="T6" fmla="*/ 2147483647 w 365"/>
              <a:gd name="T7" fmla="*/ 2147483647 h 271"/>
              <a:gd name="T8" fmla="*/ 2147483647 w 365"/>
              <a:gd name="T9" fmla="*/ 2147483647 h 271"/>
              <a:gd name="T10" fmla="*/ 2147483647 w 365"/>
              <a:gd name="T11" fmla="*/ 2147483647 h 271"/>
              <a:gd name="T12" fmla="*/ 2147483647 w 365"/>
              <a:gd name="T13" fmla="*/ 2147483647 h 271"/>
              <a:gd name="T14" fmla="*/ 2147483647 w 365"/>
              <a:gd name="T15" fmla="*/ 2147483647 h 271"/>
              <a:gd name="T16" fmla="*/ 2147483647 w 365"/>
              <a:gd name="T17" fmla="*/ 2147483647 h 271"/>
              <a:gd name="T18" fmla="*/ 2147483647 w 365"/>
              <a:gd name="T19" fmla="*/ 2147483647 h 271"/>
              <a:gd name="T20" fmla="*/ 2147483647 w 365"/>
              <a:gd name="T21" fmla="*/ 2147483647 h 271"/>
              <a:gd name="T22" fmla="*/ 2147483647 w 365"/>
              <a:gd name="T23" fmla="*/ 2147483647 h 271"/>
              <a:gd name="T24" fmla="*/ 2147483647 w 365"/>
              <a:gd name="T25" fmla="*/ 2147483647 h 271"/>
              <a:gd name="T26" fmla="*/ 2147483647 w 365"/>
              <a:gd name="T27" fmla="*/ 2147483647 h 271"/>
              <a:gd name="T28" fmla="*/ 2147483647 w 365"/>
              <a:gd name="T29" fmla="*/ 2147483647 h 271"/>
              <a:gd name="T30" fmla="*/ 2147483647 w 365"/>
              <a:gd name="T31" fmla="*/ 2147483647 h 271"/>
              <a:gd name="T32" fmla="*/ 2147483647 w 365"/>
              <a:gd name="T33" fmla="*/ 2147483647 h 271"/>
              <a:gd name="T34" fmla="*/ 2147483647 w 365"/>
              <a:gd name="T35" fmla="*/ 2147483647 h 271"/>
              <a:gd name="T36" fmla="*/ 2147483647 w 365"/>
              <a:gd name="T37" fmla="*/ 2147483647 h 271"/>
              <a:gd name="T38" fmla="*/ 2147483647 w 365"/>
              <a:gd name="T39" fmla="*/ 2147483647 h 271"/>
              <a:gd name="T40" fmla="*/ 2147483647 w 365"/>
              <a:gd name="T41" fmla="*/ 2147483647 h 271"/>
              <a:gd name="T42" fmla="*/ 2147483647 w 365"/>
              <a:gd name="T43" fmla="*/ 2147483647 h 271"/>
              <a:gd name="T44" fmla="*/ 2147483647 w 365"/>
              <a:gd name="T45" fmla="*/ 2147483647 h 271"/>
              <a:gd name="T46" fmla="*/ 2147483647 w 365"/>
              <a:gd name="T47" fmla="*/ 2147483647 h 271"/>
              <a:gd name="T48" fmla="*/ 2147483647 w 365"/>
              <a:gd name="T49" fmla="*/ 2147483647 h 271"/>
              <a:gd name="T50" fmla="*/ 2147483647 w 365"/>
              <a:gd name="T51" fmla="*/ 2147483647 h 271"/>
              <a:gd name="T52" fmla="*/ 2147483647 w 365"/>
              <a:gd name="T53" fmla="*/ 2147483647 h 271"/>
              <a:gd name="T54" fmla="*/ 2147483647 w 365"/>
              <a:gd name="T55" fmla="*/ 2147483647 h 271"/>
              <a:gd name="T56" fmla="*/ 2147483647 w 365"/>
              <a:gd name="T57" fmla="*/ 2147483647 h 271"/>
              <a:gd name="T58" fmla="*/ 2147483647 w 365"/>
              <a:gd name="T59" fmla="*/ 2147483647 h 271"/>
              <a:gd name="T60" fmla="*/ 2147483647 w 365"/>
              <a:gd name="T61" fmla="*/ 2147483647 h 271"/>
              <a:gd name="T62" fmla="*/ 2147483647 w 365"/>
              <a:gd name="T63" fmla="*/ 2147483647 h 271"/>
              <a:gd name="T64" fmla="*/ 0 w 365"/>
              <a:gd name="T65" fmla="*/ 2147483647 h 271"/>
              <a:gd name="T66" fmla="*/ 2147483647 w 365"/>
              <a:gd name="T67" fmla="*/ 2147483647 h 271"/>
              <a:gd name="T68" fmla="*/ 2147483647 w 365"/>
              <a:gd name="T69" fmla="*/ 2147483647 h 271"/>
              <a:gd name="T70" fmla="*/ 2147483647 w 365"/>
              <a:gd name="T71" fmla="*/ 2147483647 h 271"/>
              <a:gd name="T72" fmla="*/ 2147483647 w 365"/>
              <a:gd name="T73" fmla="*/ 2147483647 h 271"/>
              <a:gd name="T74" fmla="*/ 2147483647 w 365"/>
              <a:gd name="T75" fmla="*/ 2147483647 h 271"/>
              <a:gd name="T76" fmla="*/ 2147483647 w 365"/>
              <a:gd name="T77" fmla="*/ 2147483647 h 271"/>
              <a:gd name="T78" fmla="*/ 2147483647 w 365"/>
              <a:gd name="T79" fmla="*/ 2147483647 h 271"/>
              <a:gd name="T80" fmla="*/ 2147483647 w 365"/>
              <a:gd name="T81" fmla="*/ 2147483647 h 271"/>
              <a:gd name="T82" fmla="*/ 2147483647 w 365"/>
              <a:gd name="T83" fmla="*/ 2147483647 h 271"/>
              <a:gd name="T84" fmla="*/ 2147483647 w 365"/>
              <a:gd name="T85" fmla="*/ 0 h 271"/>
              <a:gd name="T86" fmla="*/ 2147483647 w 365"/>
              <a:gd name="T87" fmla="*/ 2147483647 h 271"/>
              <a:gd name="T88" fmla="*/ 2147483647 w 365"/>
              <a:gd name="T89" fmla="*/ 2147483647 h 271"/>
              <a:gd name="T90" fmla="*/ 2147483647 w 365"/>
              <a:gd name="T91" fmla="*/ 2147483647 h 271"/>
              <a:gd name="T92" fmla="*/ 2147483647 w 365"/>
              <a:gd name="T93" fmla="*/ 2147483647 h 271"/>
              <a:gd name="T94" fmla="*/ 2147483647 w 365"/>
              <a:gd name="T95" fmla="*/ 2147483647 h 271"/>
              <a:gd name="T96" fmla="*/ 2147483647 w 365"/>
              <a:gd name="T97" fmla="*/ 2147483647 h 271"/>
              <a:gd name="T98" fmla="*/ 2147483647 w 365"/>
              <a:gd name="T99" fmla="*/ 2147483647 h 271"/>
              <a:gd name="T100" fmla="*/ 2147483647 w 365"/>
              <a:gd name="T101" fmla="*/ 2147483647 h 271"/>
              <a:gd name="T102" fmla="*/ 2147483647 w 365"/>
              <a:gd name="T103" fmla="*/ 2147483647 h 271"/>
              <a:gd name="T104" fmla="*/ 2147483647 w 365"/>
              <a:gd name="T105" fmla="*/ 2147483647 h 271"/>
              <a:gd name="T106" fmla="*/ 2147483647 w 365"/>
              <a:gd name="T107" fmla="*/ 2147483647 h 271"/>
              <a:gd name="T108" fmla="*/ 2147483647 w 365"/>
              <a:gd name="T109" fmla="*/ 2147483647 h 271"/>
              <a:gd name="T110" fmla="*/ 2147483647 w 365"/>
              <a:gd name="T111" fmla="*/ 2147483647 h 271"/>
              <a:gd name="T112" fmla="*/ 2147483647 w 365"/>
              <a:gd name="T113" fmla="*/ 2147483647 h 271"/>
              <a:gd name="T114" fmla="*/ 2147483647 w 365"/>
              <a:gd name="T115" fmla="*/ 2147483647 h 271"/>
              <a:gd name="T116" fmla="*/ 2147483647 w 365"/>
              <a:gd name="T117" fmla="*/ 2147483647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7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749800" y="4011414"/>
            <a:ext cx="269875" cy="334963"/>
          </a:xfrm>
          <a:custGeom>
            <a:avLst/>
            <a:gdLst>
              <a:gd name="T0" fmla="*/ 2147483647 w 624"/>
              <a:gd name="T1" fmla="*/ 2147483647 h 640"/>
              <a:gd name="T2" fmla="*/ 2147483647 w 624"/>
              <a:gd name="T3" fmla="*/ 2147483647 h 640"/>
              <a:gd name="T4" fmla="*/ 2147483647 w 624"/>
              <a:gd name="T5" fmla="*/ 2147483647 h 640"/>
              <a:gd name="T6" fmla="*/ 2147483647 w 624"/>
              <a:gd name="T7" fmla="*/ 2147483647 h 640"/>
              <a:gd name="T8" fmla="*/ 2147483647 w 624"/>
              <a:gd name="T9" fmla="*/ 2147483647 h 640"/>
              <a:gd name="T10" fmla="*/ 2147483647 w 624"/>
              <a:gd name="T11" fmla="*/ 2147483647 h 640"/>
              <a:gd name="T12" fmla="*/ 2147483647 w 624"/>
              <a:gd name="T13" fmla="*/ 2147483647 h 640"/>
              <a:gd name="T14" fmla="*/ 2147483647 w 624"/>
              <a:gd name="T15" fmla="*/ 2147483647 h 640"/>
              <a:gd name="T16" fmla="*/ 2147483647 w 624"/>
              <a:gd name="T17" fmla="*/ 2147483647 h 640"/>
              <a:gd name="T18" fmla="*/ 2147483647 w 624"/>
              <a:gd name="T19" fmla="*/ 2147483647 h 640"/>
              <a:gd name="T20" fmla="*/ 2147483647 w 624"/>
              <a:gd name="T21" fmla="*/ 2147483647 h 640"/>
              <a:gd name="T22" fmla="*/ 2147483647 w 624"/>
              <a:gd name="T23" fmla="*/ 2147483647 h 640"/>
              <a:gd name="T24" fmla="*/ 2147483647 w 624"/>
              <a:gd name="T25" fmla="*/ 2147483647 h 640"/>
              <a:gd name="T26" fmla="*/ 2147483647 w 624"/>
              <a:gd name="T27" fmla="*/ 2147483647 h 640"/>
              <a:gd name="T28" fmla="*/ 2147483647 w 624"/>
              <a:gd name="T29" fmla="*/ 2147483647 h 640"/>
              <a:gd name="T30" fmla="*/ 2147483647 w 624"/>
              <a:gd name="T31" fmla="*/ 2147483647 h 640"/>
              <a:gd name="T32" fmla="*/ 2147483647 w 624"/>
              <a:gd name="T33" fmla="*/ 2147483647 h 640"/>
              <a:gd name="T34" fmla="*/ 2147483647 w 624"/>
              <a:gd name="T35" fmla="*/ 2147483647 h 640"/>
              <a:gd name="T36" fmla="*/ 2147483647 w 624"/>
              <a:gd name="T37" fmla="*/ 2147483647 h 640"/>
              <a:gd name="T38" fmla="*/ 2147483647 w 624"/>
              <a:gd name="T39" fmla="*/ 2147483647 h 640"/>
              <a:gd name="T40" fmla="*/ 2147483647 w 624"/>
              <a:gd name="T41" fmla="*/ 2147483647 h 640"/>
              <a:gd name="T42" fmla="*/ 2147483647 w 624"/>
              <a:gd name="T43" fmla="*/ 2147483647 h 640"/>
              <a:gd name="T44" fmla="*/ 2147483647 w 624"/>
              <a:gd name="T45" fmla="*/ 2147483647 h 640"/>
              <a:gd name="T46" fmla="*/ 2147483647 w 624"/>
              <a:gd name="T47" fmla="*/ 2147483647 h 640"/>
              <a:gd name="T48" fmla="*/ 2147483647 w 624"/>
              <a:gd name="T49" fmla="*/ 2147483647 h 640"/>
              <a:gd name="T50" fmla="*/ 2147483647 w 624"/>
              <a:gd name="T51" fmla="*/ 2147483647 h 640"/>
              <a:gd name="T52" fmla="*/ 2147483647 w 624"/>
              <a:gd name="T53" fmla="*/ 2147483647 h 640"/>
              <a:gd name="T54" fmla="*/ 2147483647 w 624"/>
              <a:gd name="T55" fmla="*/ 2147483647 h 640"/>
              <a:gd name="T56" fmla="*/ 2147483647 w 624"/>
              <a:gd name="T57" fmla="*/ 2147483647 h 640"/>
              <a:gd name="T58" fmla="*/ 2147483647 w 624"/>
              <a:gd name="T59" fmla="*/ 2147483647 h 640"/>
              <a:gd name="T60" fmla="*/ 2147483647 w 624"/>
              <a:gd name="T61" fmla="*/ 2147483647 h 640"/>
              <a:gd name="T62" fmla="*/ 2147483647 w 624"/>
              <a:gd name="T63" fmla="*/ 2147483647 h 640"/>
              <a:gd name="T64" fmla="*/ 2147483647 w 624"/>
              <a:gd name="T65" fmla="*/ 2147483647 h 640"/>
              <a:gd name="T66" fmla="*/ 2147483647 w 624"/>
              <a:gd name="T67" fmla="*/ 2147483647 h 640"/>
              <a:gd name="T68" fmla="*/ 2147483647 w 624"/>
              <a:gd name="T69" fmla="*/ 2147483647 h 640"/>
              <a:gd name="T70" fmla="*/ 2147483647 w 624"/>
              <a:gd name="T71" fmla="*/ 2147483647 h 640"/>
              <a:gd name="T72" fmla="*/ 2147483647 w 624"/>
              <a:gd name="T73" fmla="*/ 2147483647 h 640"/>
              <a:gd name="T74" fmla="*/ 2147483647 w 624"/>
              <a:gd name="T75" fmla="*/ 2147483647 h 640"/>
              <a:gd name="T76" fmla="*/ 2147483647 w 624"/>
              <a:gd name="T77" fmla="*/ 2147483647 h 640"/>
              <a:gd name="T78" fmla="*/ 2147483647 w 624"/>
              <a:gd name="T79" fmla="*/ 2147483647 h 640"/>
              <a:gd name="T80" fmla="*/ 2147483647 w 624"/>
              <a:gd name="T81" fmla="*/ 2147483647 h 640"/>
              <a:gd name="T82" fmla="*/ 2147483647 w 624"/>
              <a:gd name="T83" fmla="*/ 2147483647 h 640"/>
              <a:gd name="T84" fmla="*/ 2147483647 w 624"/>
              <a:gd name="T85" fmla="*/ 2147483647 h 640"/>
              <a:gd name="T86" fmla="*/ 2147483647 w 624"/>
              <a:gd name="T87" fmla="*/ 2147483647 h 640"/>
              <a:gd name="T88" fmla="*/ 2147483647 w 624"/>
              <a:gd name="T89" fmla="*/ 2147483647 h 640"/>
              <a:gd name="T90" fmla="*/ 0 w 624"/>
              <a:gd name="T91" fmla="*/ 2147483647 h 640"/>
              <a:gd name="T92" fmla="*/ 0 w 624"/>
              <a:gd name="T93" fmla="*/ 2147483647 h 640"/>
              <a:gd name="T94" fmla="*/ 2147483647 w 624"/>
              <a:gd name="T95" fmla="*/ 2147483647 h 640"/>
              <a:gd name="T96" fmla="*/ 2147483647 w 624"/>
              <a:gd name="T97" fmla="*/ 2147483647 h 640"/>
              <a:gd name="T98" fmla="*/ 2147483647 w 624"/>
              <a:gd name="T99" fmla="*/ 2147483647 h 640"/>
              <a:gd name="T100" fmla="*/ 2147483647 w 624"/>
              <a:gd name="T101" fmla="*/ 2147483647 h 640"/>
              <a:gd name="T102" fmla="*/ 2147483647 w 624"/>
              <a:gd name="T103" fmla="*/ 2147483647 h 640"/>
              <a:gd name="T104" fmla="*/ 2147483647 w 624"/>
              <a:gd name="T105" fmla="*/ 214748364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8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313613" y="2525514"/>
            <a:ext cx="19050" cy="57150"/>
          </a:xfrm>
          <a:custGeom>
            <a:avLst/>
            <a:gdLst>
              <a:gd name="T0" fmla="*/ 2147483647 w 52"/>
              <a:gd name="T1" fmla="*/ 2147483647 h 50"/>
              <a:gd name="T2" fmla="*/ 0 w 52"/>
              <a:gd name="T3" fmla="*/ 2147483647 h 50"/>
              <a:gd name="T4" fmla="*/ 2147483647 w 52"/>
              <a:gd name="T5" fmla="*/ 2147483647 h 50"/>
              <a:gd name="T6" fmla="*/ 2147483647 w 52"/>
              <a:gd name="T7" fmla="*/ 2147483647 h 50"/>
              <a:gd name="T8" fmla="*/ 2147483647 w 52"/>
              <a:gd name="T9" fmla="*/ 2147483647 h 50"/>
              <a:gd name="T10" fmla="*/ 2147483647 w 52"/>
              <a:gd name="T11" fmla="*/ 2147483647 h 50"/>
              <a:gd name="T12" fmla="*/ 2147483647 w 52"/>
              <a:gd name="T13" fmla="*/ 2147483647 h 50"/>
              <a:gd name="T14" fmla="*/ 2147483647 w 52"/>
              <a:gd name="T15" fmla="*/ 2147483647 h 50"/>
              <a:gd name="T16" fmla="*/ 2147483647 w 52"/>
              <a:gd name="T17" fmla="*/ 2147483647 h 50"/>
              <a:gd name="T18" fmla="*/ 2147483647 w 52"/>
              <a:gd name="T19" fmla="*/ 0 h 50"/>
              <a:gd name="T20" fmla="*/ 2147483647 w 52"/>
              <a:gd name="T21" fmla="*/ 2147483647 h 50"/>
              <a:gd name="T22" fmla="*/ 2147483647 w 52"/>
              <a:gd name="T23" fmla="*/ 2147483647 h 50"/>
              <a:gd name="T24" fmla="*/ 2147483647 w 52"/>
              <a:gd name="T25" fmla="*/ 2147483647 h 50"/>
              <a:gd name="T26" fmla="*/ 2147483647 w 52"/>
              <a:gd name="T27" fmla="*/ 2147483647 h 50"/>
              <a:gd name="T28" fmla="*/ 2147483647 w 52"/>
              <a:gd name="T29" fmla="*/ 2147483647 h 50"/>
              <a:gd name="T30" fmla="*/ 2147483647 w 52"/>
              <a:gd name="T31" fmla="*/ 2147483647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69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172325" y="2527102"/>
            <a:ext cx="141288" cy="125412"/>
          </a:xfrm>
          <a:custGeom>
            <a:avLst/>
            <a:gdLst>
              <a:gd name="T0" fmla="*/ 2147483647 w 320"/>
              <a:gd name="T1" fmla="*/ 2147483647 h 234"/>
              <a:gd name="T2" fmla="*/ 2147483647 w 320"/>
              <a:gd name="T3" fmla="*/ 2147483647 h 234"/>
              <a:gd name="T4" fmla="*/ 2147483647 w 320"/>
              <a:gd name="T5" fmla="*/ 2147483647 h 234"/>
              <a:gd name="T6" fmla="*/ 2147483647 w 320"/>
              <a:gd name="T7" fmla="*/ 2147483647 h 234"/>
              <a:gd name="T8" fmla="*/ 2147483647 w 320"/>
              <a:gd name="T9" fmla="*/ 2147483647 h 234"/>
              <a:gd name="T10" fmla="*/ 2147483647 w 320"/>
              <a:gd name="T11" fmla="*/ 2147483647 h 234"/>
              <a:gd name="T12" fmla="*/ 2147483647 w 320"/>
              <a:gd name="T13" fmla="*/ 2147483647 h 234"/>
              <a:gd name="T14" fmla="*/ 2147483647 w 320"/>
              <a:gd name="T15" fmla="*/ 2147483647 h 234"/>
              <a:gd name="T16" fmla="*/ 2147483647 w 320"/>
              <a:gd name="T17" fmla="*/ 2147483647 h 234"/>
              <a:gd name="T18" fmla="*/ 2147483647 w 320"/>
              <a:gd name="T19" fmla="*/ 2147483647 h 234"/>
              <a:gd name="T20" fmla="*/ 2147483647 w 320"/>
              <a:gd name="T21" fmla="*/ 2147483647 h 234"/>
              <a:gd name="T22" fmla="*/ 2147483647 w 320"/>
              <a:gd name="T23" fmla="*/ 2147483647 h 234"/>
              <a:gd name="T24" fmla="*/ 2147483647 w 320"/>
              <a:gd name="T25" fmla="*/ 2147483647 h 234"/>
              <a:gd name="T26" fmla="*/ 2147483647 w 320"/>
              <a:gd name="T27" fmla="*/ 2147483647 h 234"/>
              <a:gd name="T28" fmla="*/ 2147483647 w 320"/>
              <a:gd name="T29" fmla="*/ 2147483647 h 234"/>
              <a:gd name="T30" fmla="*/ 2147483647 w 320"/>
              <a:gd name="T31" fmla="*/ 2147483647 h 234"/>
              <a:gd name="T32" fmla="*/ 2147483647 w 320"/>
              <a:gd name="T33" fmla="*/ 2147483647 h 234"/>
              <a:gd name="T34" fmla="*/ 2147483647 w 320"/>
              <a:gd name="T35" fmla="*/ 2147483647 h 234"/>
              <a:gd name="T36" fmla="*/ 2147483647 w 320"/>
              <a:gd name="T37" fmla="*/ 2147483647 h 234"/>
              <a:gd name="T38" fmla="*/ 2147483647 w 320"/>
              <a:gd name="T39" fmla="*/ 2147483647 h 234"/>
              <a:gd name="T40" fmla="*/ 2147483647 w 320"/>
              <a:gd name="T41" fmla="*/ 2147483647 h 234"/>
              <a:gd name="T42" fmla="*/ 2147483647 w 320"/>
              <a:gd name="T43" fmla="*/ 2147483647 h 234"/>
              <a:gd name="T44" fmla="*/ 2147483647 w 320"/>
              <a:gd name="T45" fmla="*/ 0 h 234"/>
              <a:gd name="T46" fmla="*/ 2147483647 w 320"/>
              <a:gd name="T47" fmla="*/ 0 h 234"/>
              <a:gd name="T48" fmla="*/ 2147483647 w 320"/>
              <a:gd name="T49" fmla="*/ 2147483647 h 234"/>
              <a:gd name="T50" fmla="*/ 2147483647 w 320"/>
              <a:gd name="T51" fmla="*/ 2147483647 h 234"/>
              <a:gd name="T52" fmla="*/ 2147483647 w 320"/>
              <a:gd name="T53" fmla="*/ 2147483647 h 234"/>
              <a:gd name="T54" fmla="*/ 2147483647 w 320"/>
              <a:gd name="T55" fmla="*/ 2147483647 h 234"/>
              <a:gd name="T56" fmla="*/ 2147483647 w 320"/>
              <a:gd name="T57" fmla="*/ 2147483647 h 234"/>
              <a:gd name="T58" fmla="*/ 2147483647 w 320"/>
              <a:gd name="T59" fmla="*/ 2147483647 h 234"/>
              <a:gd name="T60" fmla="*/ 2147483647 w 320"/>
              <a:gd name="T61" fmla="*/ 2147483647 h 234"/>
              <a:gd name="T62" fmla="*/ 2147483647 w 320"/>
              <a:gd name="T63" fmla="*/ 2147483647 h 234"/>
              <a:gd name="T64" fmla="*/ 2147483647 w 320"/>
              <a:gd name="T65" fmla="*/ 2147483647 h 234"/>
              <a:gd name="T66" fmla="*/ 2147483647 w 320"/>
              <a:gd name="T67" fmla="*/ 2147483647 h 234"/>
              <a:gd name="T68" fmla="*/ 2147483647 w 320"/>
              <a:gd name="T69" fmla="*/ 2147483647 h 234"/>
              <a:gd name="T70" fmla="*/ 2147483647 w 320"/>
              <a:gd name="T71" fmla="*/ 2147483647 h 234"/>
              <a:gd name="T72" fmla="*/ 2147483647 w 320"/>
              <a:gd name="T73" fmla="*/ 2147483647 h 234"/>
              <a:gd name="T74" fmla="*/ 2147483647 w 320"/>
              <a:gd name="T75" fmla="*/ 2147483647 h 234"/>
              <a:gd name="T76" fmla="*/ 2147483647 w 320"/>
              <a:gd name="T77" fmla="*/ 2147483647 h 234"/>
              <a:gd name="T78" fmla="*/ 2147483647 w 320"/>
              <a:gd name="T79" fmla="*/ 2147483647 h 234"/>
              <a:gd name="T80" fmla="*/ 2147483647 w 320"/>
              <a:gd name="T81" fmla="*/ 2147483647 h 234"/>
              <a:gd name="T82" fmla="*/ 2147483647 w 320"/>
              <a:gd name="T83" fmla="*/ 2147483647 h 234"/>
              <a:gd name="T84" fmla="*/ 2147483647 w 320"/>
              <a:gd name="T85" fmla="*/ 2147483647 h 234"/>
              <a:gd name="T86" fmla="*/ 2147483647 w 320"/>
              <a:gd name="T87" fmla="*/ 2147483647 h 234"/>
              <a:gd name="T88" fmla="*/ 2147483647 w 320"/>
              <a:gd name="T89" fmla="*/ 2147483647 h 234"/>
              <a:gd name="T90" fmla="*/ 2147483647 w 320"/>
              <a:gd name="T91" fmla="*/ 2147483647 h 234"/>
              <a:gd name="T92" fmla="*/ 2147483647 w 320"/>
              <a:gd name="T93" fmla="*/ 2147483647 h 234"/>
              <a:gd name="T94" fmla="*/ 2147483647 w 320"/>
              <a:gd name="T95" fmla="*/ 2147483647 h 234"/>
              <a:gd name="T96" fmla="*/ 2147483647 w 320"/>
              <a:gd name="T97" fmla="*/ 2147483647 h 234"/>
              <a:gd name="T98" fmla="*/ 2147483647 w 320"/>
              <a:gd name="T99" fmla="*/ 2147483647 h 234"/>
              <a:gd name="T100" fmla="*/ 2147483647 w 320"/>
              <a:gd name="T101" fmla="*/ 2147483647 h 234"/>
              <a:gd name="T102" fmla="*/ 2147483647 w 320"/>
              <a:gd name="T103" fmla="*/ 2147483647 h 234"/>
              <a:gd name="T104" fmla="*/ 2147483647 w 320"/>
              <a:gd name="T105" fmla="*/ 2147483647 h 234"/>
              <a:gd name="T106" fmla="*/ 2147483647 w 320"/>
              <a:gd name="T107" fmla="*/ 2147483647 h 234"/>
              <a:gd name="T108" fmla="*/ 2147483647 w 320"/>
              <a:gd name="T109" fmla="*/ 2147483647 h 234"/>
              <a:gd name="T110" fmla="*/ 2147483647 w 320"/>
              <a:gd name="T111" fmla="*/ 2147483647 h 234"/>
              <a:gd name="T112" fmla="*/ 2147483647 w 320"/>
              <a:gd name="T113" fmla="*/ 2147483647 h 234"/>
              <a:gd name="T114" fmla="*/ 2147483647 w 320"/>
              <a:gd name="T115" fmla="*/ 2147483647 h 234"/>
              <a:gd name="T116" fmla="*/ 2147483647 w 320"/>
              <a:gd name="T117" fmla="*/ 2147483647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0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142163" y="2881114"/>
            <a:ext cx="52387" cy="57150"/>
          </a:xfrm>
          <a:custGeom>
            <a:avLst/>
            <a:gdLst>
              <a:gd name="T0" fmla="*/ 2147483647 w 125"/>
              <a:gd name="T1" fmla="*/ 2147483647 h 93"/>
              <a:gd name="T2" fmla="*/ 2147483647 w 125"/>
              <a:gd name="T3" fmla="*/ 2147483647 h 93"/>
              <a:gd name="T4" fmla="*/ 2147483647 w 125"/>
              <a:gd name="T5" fmla="*/ 2147483647 h 93"/>
              <a:gd name="T6" fmla="*/ 2147483647 w 125"/>
              <a:gd name="T7" fmla="*/ 2147483647 h 93"/>
              <a:gd name="T8" fmla="*/ 2147483647 w 125"/>
              <a:gd name="T9" fmla="*/ 2147483647 h 93"/>
              <a:gd name="T10" fmla="*/ 2147483647 w 125"/>
              <a:gd name="T11" fmla="*/ 2147483647 h 93"/>
              <a:gd name="T12" fmla="*/ 2147483647 w 125"/>
              <a:gd name="T13" fmla="*/ 2147483647 h 93"/>
              <a:gd name="T14" fmla="*/ 2147483647 w 125"/>
              <a:gd name="T15" fmla="*/ 2147483647 h 93"/>
              <a:gd name="T16" fmla="*/ 2147483647 w 125"/>
              <a:gd name="T17" fmla="*/ 2147483647 h 93"/>
              <a:gd name="T18" fmla="*/ 2147483647 w 125"/>
              <a:gd name="T19" fmla="*/ 2147483647 h 93"/>
              <a:gd name="T20" fmla="*/ 2147483647 w 125"/>
              <a:gd name="T21" fmla="*/ 0 h 93"/>
              <a:gd name="T22" fmla="*/ 2147483647 w 125"/>
              <a:gd name="T23" fmla="*/ 0 h 93"/>
              <a:gd name="T24" fmla="*/ 2147483647 w 125"/>
              <a:gd name="T25" fmla="*/ 2147483647 h 93"/>
              <a:gd name="T26" fmla="*/ 2147483647 w 125"/>
              <a:gd name="T27" fmla="*/ 2147483647 h 93"/>
              <a:gd name="T28" fmla="*/ 2147483647 w 125"/>
              <a:gd name="T29" fmla="*/ 2147483647 h 93"/>
              <a:gd name="T30" fmla="*/ 2147483647 w 125"/>
              <a:gd name="T31" fmla="*/ 2147483647 h 93"/>
              <a:gd name="T32" fmla="*/ 2147483647 w 125"/>
              <a:gd name="T33" fmla="*/ 2147483647 h 93"/>
              <a:gd name="T34" fmla="*/ 2147483647 w 125"/>
              <a:gd name="T35" fmla="*/ 2147483647 h 93"/>
              <a:gd name="T36" fmla="*/ 2147483647 w 125"/>
              <a:gd name="T37" fmla="*/ 2147483647 h 93"/>
              <a:gd name="T38" fmla="*/ 2147483647 w 125"/>
              <a:gd name="T39" fmla="*/ 2147483647 h 93"/>
              <a:gd name="T40" fmla="*/ 2147483647 w 125"/>
              <a:gd name="T41" fmla="*/ 2147483647 h 93"/>
              <a:gd name="T42" fmla="*/ 2147483647 w 125"/>
              <a:gd name="T43" fmla="*/ 2147483647 h 93"/>
              <a:gd name="T44" fmla="*/ 2147483647 w 125"/>
              <a:gd name="T45" fmla="*/ 2147483647 h 93"/>
              <a:gd name="T46" fmla="*/ 2147483647 w 125"/>
              <a:gd name="T47" fmla="*/ 2147483647 h 93"/>
              <a:gd name="T48" fmla="*/ 2147483647 w 125"/>
              <a:gd name="T49" fmla="*/ 2147483647 h 93"/>
              <a:gd name="T50" fmla="*/ 2147483647 w 125"/>
              <a:gd name="T51" fmla="*/ 2147483647 h 93"/>
              <a:gd name="T52" fmla="*/ 2147483647 w 125"/>
              <a:gd name="T53" fmla="*/ 2147483647 h 93"/>
              <a:gd name="T54" fmla="*/ 2147483647 w 125"/>
              <a:gd name="T55" fmla="*/ 2147483647 h 93"/>
              <a:gd name="T56" fmla="*/ 2147483647 w 125"/>
              <a:gd name="T57" fmla="*/ 2147483647 h 93"/>
              <a:gd name="T58" fmla="*/ 2147483647 w 125"/>
              <a:gd name="T59" fmla="*/ 2147483647 h 93"/>
              <a:gd name="T60" fmla="*/ 2147483647 w 125"/>
              <a:gd name="T61" fmla="*/ 2147483647 h 93"/>
              <a:gd name="T62" fmla="*/ 2147483647 w 125"/>
              <a:gd name="T63" fmla="*/ 2147483647 h 93"/>
              <a:gd name="T64" fmla="*/ 2147483647 w 125"/>
              <a:gd name="T65" fmla="*/ 2147483647 h 93"/>
              <a:gd name="T66" fmla="*/ 2147483647 w 125"/>
              <a:gd name="T67" fmla="*/ 2147483647 h 93"/>
              <a:gd name="T68" fmla="*/ 0 w 125"/>
              <a:gd name="T69" fmla="*/ 2147483647 h 93"/>
              <a:gd name="T70" fmla="*/ 0 w 125"/>
              <a:gd name="T71" fmla="*/ 2147483647 h 93"/>
              <a:gd name="T72" fmla="*/ 2147483647 w 125"/>
              <a:gd name="T73" fmla="*/ 2147483647 h 93"/>
              <a:gd name="T74" fmla="*/ 2147483647 w 125"/>
              <a:gd name="T75" fmla="*/ 2147483647 h 93"/>
              <a:gd name="T76" fmla="*/ 2147483647 w 125"/>
              <a:gd name="T77" fmla="*/ 2147483647 h 93"/>
              <a:gd name="T78" fmla="*/ 2147483647 w 125"/>
              <a:gd name="T79" fmla="*/ 2147483647 h 93"/>
              <a:gd name="T80" fmla="*/ 2147483647 w 125"/>
              <a:gd name="T81" fmla="*/ 2147483647 h 93"/>
              <a:gd name="T82" fmla="*/ 2147483647 w 125"/>
              <a:gd name="T83" fmla="*/ 2147483647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1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088188" y="2895402"/>
            <a:ext cx="60325" cy="84137"/>
          </a:xfrm>
          <a:custGeom>
            <a:avLst/>
            <a:gdLst>
              <a:gd name="T0" fmla="*/ 2147483647 w 133"/>
              <a:gd name="T1" fmla="*/ 2147483647 h 154"/>
              <a:gd name="T2" fmla="*/ 2147483647 w 133"/>
              <a:gd name="T3" fmla="*/ 2147483647 h 154"/>
              <a:gd name="T4" fmla="*/ 2147483647 w 133"/>
              <a:gd name="T5" fmla="*/ 2147483647 h 154"/>
              <a:gd name="T6" fmla="*/ 2147483647 w 133"/>
              <a:gd name="T7" fmla="*/ 2147483647 h 154"/>
              <a:gd name="T8" fmla="*/ 2147483647 w 133"/>
              <a:gd name="T9" fmla="*/ 2147483647 h 154"/>
              <a:gd name="T10" fmla="*/ 2147483647 w 133"/>
              <a:gd name="T11" fmla="*/ 2147483647 h 154"/>
              <a:gd name="T12" fmla="*/ 2147483647 w 133"/>
              <a:gd name="T13" fmla="*/ 0 h 154"/>
              <a:gd name="T14" fmla="*/ 2147483647 w 133"/>
              <a:gd name="T15" fmla="*/ 2147483647 h 154"/>
              <a:gd name="T16" fmla="*/ 2147483647 w 133"/>
              <a:gd name="T17" fmla="*/ 2147483647 h 154"/>
              <a:gd name="T18" fmla="*/ 2147483647 w 133"/>
              <a:gd name="T19" fmla="*/ 2147483647 h 154"/>
              <a:gd name="T20" fmla="*/ 2147483647 w 133"/>
              <a:gd name="T21" fmla="*/ 2147483647 h 154"/>
              <a:gd name="T22" fmla="*/ 2147483647 w 133"/>
              <a:gd name="T23" fmla="*/ 2147483647 h 154"/>
              <a:gd name="T24" fmla="*/ 2147483647 w 133"/>
              <a:gd name="T25" fmla="*/ 2147483647 h 154"/>
              <a:gd name="T26" fmla="*/ 2147483647 w 133"/>
              <a:gd name="T27" fmla="*/ 2147483647 h 154"/>
              <a:gd name="T28" fmla="*/ 2147483647 w 133"/>
              <a:gd name="T29" fmla="*/ 2147483647 h 154"/>
              <a:gd name="T30" fmla="*/ 2147483647 w 133"/>
              <a:gd name="T31" fmla="*/ 2147483647 h 154"/>
              <a:gd name="T32" fmla="*/ 2147483647 w 133"/>
              <a:gd name="T33" fmla="*/ 2147483647 h 154"/>
              <a:gd name="T34" fmla="*/ 2147483647 w 133"/>
              <a:gd name="T35" fmla="*/ 2147483647 h 154"/>
              <a:gd name="T36" fmla="*/ 2147483647 w 133"/>
              <a:gd name="T37" fmla="*/ 2147483647 h 154"/>
              <a:gd name="T38" fmla="*/ 2147483647 w 133"/>
              <a:gd name="T39" fmla="*/ 2147483647 h 154"/>
              <a:gd name="T40" fmla="*/ 2147483647 w 133"/>
              <a:gd name="T41" fmla="*/ 2147483647 h 154"/>
              <a:gd name="T42" fmla="*/ 2147483647 w 133"/>
              <a:gd name="T43" fmla="*/ 2147483647 h 154"/>
              <a:gd name="T44" fmla="*/ 2147483647 w 133"/>
              <a:gd name="T45" fmla="*/ 2147483647 h 154"/>
              <a:gd name="T46" fmla="*/ 2147483647 w 133"/>
              <a:gd name="T47" fmla="*/ 2147483647 h 154"/>
              <a:gd name="T48" fmla="*/ 2147483647 w 133"/>
              <a:gd name="T49" fmla="*/ 2147483647 h 154"/>
              <a:gd name="T50" fmla="*/ 2147483647 w 133"/>
              <a:gd name="T51" fmla="*/ 2147483647 h 154"/>
              <a:gd name="T52" fmla="*/ 2147483647 w 133"/>
              <a:gd name="T53" fmla="*/ 2147483647 h 154"/>
              <a:gd name="T54" fmla="*/ 2147483647 w 133"/>
              <a:gd name="T55" fmla="*/ 2147483647 h 154"/>
              <a:gd name="T56" fmla="*/ 2147483647 w 133"/>
              <a:gd name="T57" fmla="*/ 2147483647 h 154"/>
              <a:gd name="T58" fmla="*/ 2147483647 w 133"/>
              <a:gd name="T59" fmla="*/ 2147483647 h 154"/>
              <a:gd name="T60" fmla="*/ 2147483647 w 133"/>
              <a:gd name="T61" fmla="*/ 2147483647 h 154"/>
              <a:gd name="T62" fmla="*/ 2147483647 w 133"/>
              <a:gd name="T63" fmla="*/ 2147483647 h 154"/>
              <a:gd name="T64" fmla="*/ 2147483647 w 133"/>
              <a:gd name="T65" fmla="*/ 2147483647 h 154"/>
              <a:gd name="T66" fmla="*/ 2147483647 w 133"/>
              <a:gd name="T67" fmla="*/ 2147483647 h 154"/>
              <a:gd name="T68" fmla="*/ 2147483647 w 133"/>
              <a:gd name="T69" fmla="*/ 2147483647 h 154"/>
              <a:gd name="T70" fmla="*/ 2147483647 w 133"/>
              <a:gd name="T71" fmla="*/ 2147483647 h 154"/>
              <a:gd name="T72" fmla="*/ 2147483647 w 133"/>
              <a:gd name="T73" fmla="*/ 2147483647 h 154"/>
              <a:gd name="T74" fmla="*/ 2147483647 w 133"/>
              <a:gd name="T75" fmla="*/ 2147483647 h 154"/>
              <a:gd name="T76" fmla="*/ 2147483647 w 133"/>
              <a:gd name="T77" fmla="*/ 2147483647 h 154"/>
              <a:gd name="T78" fmla="*/ 2147483647 w 133"/>
              <a:gd name="T79" fmla="*/ 2147483647 h 154"/>
              <a:gd name="T80" fmla="*/ 2147483647 w 133"/>
              <a:gd name="T81" fmla="*/ 2147483647 h 154"/>
              <a:gd name="T82" fmla="*/ 2147483647 w 133"/>
              <a:gd name="T83" fmla="*/ 2147483647 h 154"/>
              <a:gd name="T84" fmla="*/ 2147483647 w 133"/>
              <a:gd name="T85" fmla="*/ 2147483647 h 154"/>
              <a:gd name="T86" fmla="*/ 2147483647 w 133"/>
              <a:gd name="T87" fmla="*/ 2147483647 h 154"/>
              <a:gd name="T88" fmla="*/ 2147483647 w 133"/>
              <a:gd name="T89" fmla="*/ 2147483647 h 154"/>
              <a:gd name="T90" fmla="*/ 2147483647 w 133"/>
              <a:gd name="T91" fmla="*/ 2147483647 h 154"/>
              <a:gd name="T92" fmla="*/ 2147483647 w 133"/>
              <a:gd name="T93" fmla="*/ 2147483647 h 154"/>
              <a:gd name="T94" fmla="*/ 2147483647 w 133"/>
              <a:gd name="T95" fmla="*/ 2147483647 h 154"/>
              <a:gd name="T96" fmla="*/ 2147483647 w 133"/>
              <a:gd name="T97" fmla="*/ 2147483647 h 154"/>
              <a:gd name="T98" fmla="*/ 2147483647 w 133"/>
              <a:gd name="T99" fmla="*/ 2147483647 h 154"/>
              <a:gd name="T100" fmla="*/ 2147483647 w 133"/>
              <a:gd name="T101" fmla="*/ 2147483647 h 154"/>
              <a:gd name="T102" fmla="*/ 0 w 133"/>
              <a:gd name="T103" fmla="*/ 2147483647 h 154"/>
              <a:gd name="T104" fmla="*/ 0 w 133"/>
              <a:gd name="T105" fmla="*/ 2147483647 h 154"/>
              <a:gd name="T106" fmla="*/ 2147483647 w 133"/>
              <a:gd name="T107" fmla="*/ 2147483647 h 154"/>
              <a:gd name="T108" fmla="*/ 2147483647 w 133"/>
              <a:gd name="T109" fmla="*/ 2147483647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2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104063" y="2657277"/>
            <a:ext cx="209550" cy="244475"/>
          </a:xfrm>
          <a:custGeom>
            <a:avLst/>
            <a:gdLst>
              <a:gd name="T0" fmla="*/ 2147483647 w 485"/>
              <a:gd name="T1" fmla="*/ 2147483647 h 468"/>
              <a:gd name="T2" fmla="*/ 2147483647 w 485"/>
              <a:gd name="T3" fmla="*/ 2147483647 h 468"/>
              <a:gd name="T4" fmla="*/ 2147483647 w 485"/>
              <a:gd name="T5" fmla="*/ 2147483647 h 468"/>
              <a:gd name="T6" fmla="*/ 2147483647 w 485"/>
              <a:gd name="T7" fmla="*/ 2147483647 h 468"/>
              <a:gd name="T8" fmla="*/ 2147483647 w 485"/>
              <a:gd name="T9" fmla="*/ 2147483647 h 468"/>
              <a:gd name="T10" fmla="*/ 2147483647 w 485"/>
              <a:gd name="T11" fmla="*/ 2147483647 h 468"/>
              <a:gd name="T12" fmla="*/ 2147483647 w 485"/>
              <a:gd name="T13" fmla="*/ 2147483647 h 468"/>
              <a:gd name="T14" fmla="*/ 2147483647 w 485"/>
              <a:gd name="T15" fmla="*/ 2147483647 h 468"/>
              <a:gd name="T16" fmla="*/ 2147483647 w 485"/>
              <a:gd name="T17" fmla="*/ 2147483647 h 468"/>
              <a:gd name="T18" fmla="*/ 2147483647 w 485"/>
              <a:gd name="T19" fmla="*/ 2147483647 h 468"/>
              <a:gd name="T20" fmla="*/ 2147483647 w 485"/>
              <a:gd name="T21" fmla="*/ 2147483647 h 468"/>
              <a:gd name="T22" fmla="*/ 2147483647 w 485"/>
              <a:gd name="T23" fmla="*/ 2147483647 h 468"/>
              <a:gd name="T24" fmla="*/ 2147483647 w 485"/>
              <a:gd name="T25" fmla="*/ 2147483647 h 468"/>
              <a:gd name="T26" fmla="*/ 2147483647 w 485"/>
              <a:gd name="T27" fmla="*/ 2147483647 h 468"/>
              <a:gd name="T28" fmla="*/ 2147483647 w 485"/>
              <a:gd name="T29" fmla="*/ 2147483647 h 468"/>
              <a:gd name="T30" fmla="*/ 2147483647 w 485"/>
              <a:gd name="T31" fmla="*/ 2147483647 h 468"/>
              <a:gd name="T32" fmla="*/ 2147483647 w 485"/>
              <a:gd name="T33" fmla="*/ 2147483647 h 468"/>
              <a:gd name="T34" fmla="*/ 2147483647 w 485"/>
              <a:gd name="T35" fmla="*/ 2147483647 h 468"/>
              <a:gd name="T36" fmla="*/ 2147483647 w 485"/>
              <a:gd name="T37" fmla="*/ 2147483647 h 468"/>
              <a:gd name="T38" fmla="*/ 2147483647 w 485"/>
              <a:gd name="T39" fmla="*/ 2147483647 h 468"/>
              <a:gd name="T40" fmla="*/ 2147483647 w 485"/>
              <a:gd name="T41" fmla="*/ 2147483647 h 468"/>
              <a:gd name="T42" fmla="*/ 2147483647 w 485"/>
              <a:gd name="T43" fmla="*/ 2147483647 h 468"/>
              <a:gd name="T44" fmla="*/ 2147483647 w 485"/>
              <a:gd name="T45" fmla="*/ 2147483647 h 468"/>
              <a:gd name="T46" fmla="*/ 2147483647 w 485"/>
              <a:gd name="T47" fmla="*/ 2147483647 h 468"/>
              <a:gd name="T48" fmla="*/ 2147483647 w 485"/>
              <a:gd name="T49" fmla="*/ 2147483647 h 468"/>
              <a:gd name="T50" fmla="*/ 2147483647 w 485"/>
              <a:gd name="T51" fmla="*/ 2147483647 h 468"/>
              <a:gd name="T52" fmla="*/ 2147483647 w 485"/>
              <a:gd name="T53" fmla="*/ 2147483647 h 468"/>
              <a:gd name="T54" fmla="*/ 2147483647 w 485"/>
              <a:gd name="T55" fmla="*/ 2147483647 h 468"/>
              <a:gd name="T56" fmla="*/ 2147483647 w 485"/>
              <a:gd name="T57" fmla="*/ 2147483647 h 468"/>
              <a:gd name="T58" fmla="*/ 2147483647 w 485"/>
              <a:gd name="T59" fmla="*/ 2147483647 h 468"/>
              <a:gd name="T60" fmla="*/ 2147483647 w 485"/>
              <a:gd name="T61" fmla="*/ 2147483647 h 468"/>
              <a:gd name="T62" fmla="*/ 2147483647 w 485"/>
              <a:gd name="T63" fmla="*/ 2147483647 h 468"/>
              <a:gd name="T64" fmla="*/ 2147483647 w 485"/>
              <a:gd name="T65" fmla="*/ 2147483647 h 468"/>
              <a:gd name="T66" fmla="*/ 2147483647 w 485"/>
              <a:gd name="T67" fmla="*/ 2147483647 h 468"/>
              <a:gd name="T68" fmla="*/ 2147483647 w 485"/>
              <a:gd name="T69" fmla="*/ 2147483647 h 468"/>
              <a:gd name="T70" fmla="*/ 2147483647 w 485"/>
              <a:gd name="T71" fmla="*/ 2147483647 h 468"/>
              <a:gd name="T72" fmla="*/ 2147483647 w 485"/>
              <a:gd name="T73" fmla="*/ 2147483647 h 468"/>
              <a:gd name="T74" fmla="*/ 2147483647 w 485"/>
              <a:gd name="T75" fmla="*/ 2147483647 h 468"/>
              <a:gd name="T76" fmla="*/ 2147483647 w 485"/>
              <a:gd name="T77" fmla="*/ 2147483647 h 468"/>
              <a:gd name="T78" fmla="*/ 2147483647 w 485"/>
              <a:gd name="T79" fmla="*/ 2147483647 h 468"/>
              <a:gd name="T80" fmla="*/ 2147483647 w 485"/>
              <a:gd name="T81" fmla="*/ 2147483647 h 468"/>
              <a:gd name="T82" fmla="*/ 2147483647 w 485"/>
              <a:gd name="T83" fmla="*/ 2147483647 h 468"/>
              <a:gd name="T84" fmla="*/ 2147483647 w 485"/>
              <a:gd name="T85" fmla="*/ 2147483647 h 468"/>
              <a:gd name="T86" fmla="*/ 2147483647 w 485"/>
              <a:gd name="T87" fmla="*/ 2147483647 h 468"/>
              <a:gd name="T88" fmla="*/ 2147483647 w 485"/>
              <a:gd name="T89" fmla="*/ 2147483647 h 468"/>
              <a:gd name="T90" fmla="*/ 2147483647 w 485"/>
              <a:gd name="T91" fmla="*/ 2147483647 h 468"/>
              <a:gd name="T92" fmla="*/ 2147483647 w 485"/>
              <a:gd name="T93" fmla="*/ 2147483647 h 468"/>
              <a:gd name="T94" fmla="*/ 2147483647 w 485"/>
              <a:gd name="T95" fmla="*/ 2147483647 h 468"/>
              <a:gd name="T96" fmla="*/ 2147483647 w 485"/>
              <a:gd name="T97" fmla="*/ 2147483647 h 468"/>
              <a:gd name="T98" fmla="*/ 2147483647 w 485"/>
              <a:gd name="T99" fmla="*/ 2147483647 h 468"/>
              <a:gd name="T100" fmla="*/ 2147483647 w 485"/>
              <a:gd name="T101" fmla="*/ 2147483647 h 468"/>
              <a:gd name="T102" fmla="*/ 2147483647 w 485"/>
              <a:gd name="T103" fmla="*/ 2147483647 h 468"/>
              <a:gd name="T104" fmla="*/ 2147483647 w 485"/>
              <a:gd name="T105" fmla="*/ 2147483647 h 468"/>
              <a:gd name="T106" fmla="*/ 2147483647 w 485"/>
              <a:gd name="T107" fmla="*/ 2147483647 h 468"/>
              <a:gd name="T108" fmla="*/ 2147483647 w 485"/>
              <a:gd name="T109" fmla="*/ 2147483647 h 468"/>
              <a:gd name="T110" fmla="*/ 2147483647 w 485"/>
              <a:gd name="T111" fmla="*/ 2147483647 h 468"/>
              <a:gd name="T112" fmla="*/ 2147483647 w 485"/>
              <a:gd name="T113" fmla="*/ 2147483647 h 468"/>
              <a:gd name="T114" fmla="*/ 0 w 485"/>
              <a:gd name="T115" fmla="*/ 2147483647 h 468"/>
              <a:gd name="T116" fmla="*/ 2147483647 w 485"/>
              <a:gd name="T117" fmla="*/ 2147483647 h 468"/>
              <a:gd name="T118" fmla="*/ 2147483647 w 485"/>
              <a:gd name="T119" fmla="*/ 2147483647 h 468"/>
              <a:gd name="T120" fmla="*/ 2147483647 w 485"/>
              <a:gd name="T121" fmla="*/ 2147483647 h 468"/>
              <a:gd name="T122" fmla="*/ 2147483647 w 485"/>
              <a:gd name="T123" fmla="*/ 2147483647 h 468"/>
              <a:gd name="T124" fmla="*/ 2147483647 w 485"/>
              <a:gd name="T125" fmla="*/ 2147483647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3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687888" y="1547614"/>
            <a:ext cx="107950" cy="60325"/>
          </a:xfrm>
          <a:custGeom>
            <a:avLst/>
            <a:gdLst>
              <a:gd name="T0" fmla="*/ 2147483647 w 246"/>
              <a:gd name="T1" fmla="*/ 2147483647 h 42"/>
              <a:gd name="T2" fmla="*/ 2147483647 w 246"/>
              <a:gd name="T3" fmla="*/ 2147483647 h 42"/>
              <a:gd name="T4" fmla="*/ 2147483647 w 246"/>
              <a:gd name="T5" fmla="*/ 2147483647 h 42"/>
              <a:gd name="T6" fmla="*/ 2147483647 w 246"/>
              <a:gd name="T7" fmla="*/ 2147483647 h 42"/>
              <a:gd name="T8" fmla="*/ 2147483647 w 246"/>
              <a:gd name="T9" fmla="*/ 2147483647 h 42"/>
              <a:gd name="T10" fmla="*/ 2147483647 w 246"/>
              <a:gd name="T11" fmla="*/ 2147483647 h 42"/>
              <a:gd name="T12" fmla="*/ 2147483647 w 246"/>
              <a:gd name="T13" fmla="*/ 2147483647 h 42"/>
              <a:gd name="T14" fmla="*/ 2147483647 w 246"/>
              <a:gd name="T15" fmla="*/ 2147483647 h 42"/>
              <a:gd name="T16" fmla="*/ 2147483647 w 246"/>
              <a:gd name="T17" fmla="*/ 2147483647 h 42"/>
              <a:gd name="T18" fmla="*/ 2147483647 w 246"/>
              <a:gd name="T19" fmla="*/ 2147483647 h 42"/>
              <a:gd name="T20" fmla="*/ 2147483647 w 246"/>
              <a:gd name="T21" fmla="*/ 2147483647 h 42"/>
              <a:gd name="T22" fmla="*/ 2147483647 w 246"/>
              <a:gd name="T23" fmla="*/ 2147483647 h 42"/>
              <a:gd name="T24" fmla="*/ 2147483647 w 246"/>
              <a:gd name="T25" fmla="*/ 2147483647 h 42"/>
              <a:gd name="T26" fmla="*/ 2147483647 w 246"/>
              <a:gd name="T27" fmla="*/ 2147483647 h 42"/>
              <a:gd name="T28" fmla="*/ 2147483647 w 246"/>
              <a:gd name="T29" fmla="*/ 2147483647 h 42"/>
              <a:gd name="T30" fmla="*/ 2147483647 w 246"/>
              <a:gd name="T31" fmla="*/ 2147483647 h 42"/>
              <a:gd name="T32" fmla="*/ 2147483647 w 246"/>
              <a:gd name="T33" fmla="*/ 2147483647 h 42"/>
              <a:gd name="T34" fmla="*/ 2147483647 w 246"/>
              <a:gd name="T35" fmla="*/ 2147483647 h 42"/>
              <a:gd name="T36" fmla="*/ 2147483647 w 246"/>
              <a:gd name="T37" fmla="*/ 2147483647 h 42"/>
              <a:gd name="T38" fmla="*/ 2147483647 w 246"/>
              <a:gd name="T39" fmla="*/ 2147483647 h 42"/>
              <a:gd name="T40" fmla="*/ 2147483647 w 246"/>
              <a:gd name="T41" fmla="*/ 2147483647 h 42"/>
              <a:gd name="T42" fmla="*/ 2147483647 w 246"/>
              <a:gd name="T43" fmla="*/ 2147483647 h 42"/>
              <a:gd name="T44" fmla="*/ 2147483647 w 246"/>
              <a:gd name="T45" fmla="*/ 2147483647 h 42"/>
              <a:gd name="T46" fmla="*/ 2147483647 w 246"/>
              <a:gd name="T47" fmla="*/ 2147483647 h 42"/>
              <a:gd name="T48" fmla="*/ 2147483647 w 246"/>
              <a:gd name="T49" fmla="*/ 2147483647 h 42"/>
              <a:gd name="T50" fmla="*/ 2147483647 w 246"/>
              <a:gd name="T51" fmla="*/ 2147483647 h 42"/>
              <a:gd name="T52" fmla="*/ 2147483647 w 246"/>
              <a:gd name="T53" fmla="*/ 2147483647 h 42"/>
              <a:gd name="T54" fmla="*/ 2147483647 w 246"/>
              <a:gd name="T55" fmla="*/ 2147483647 h 42"/>
              <a:gd name="T56" fmla="*/ 2147483647 w 246"/>
              <a:gd name="T57" fmla="*/ 2147483647 h 42"/>
              <a:gd name="T58" fmla="*/ 2147483647 w 246"/>
              <a:gd name="T59" fmla="*/ 2147483647 h 42"/>
              <a:gd name="T60" fmla="*/ 2147483647 w 246"/>
              <a:gd name="T61" fmla="*/ 2147483647 h 42"/>
              <a:gd name="T62" fmla="*/ 2147483647 w 246"/>
              <a:gd name="T63" fmla="*/ 2147483647 h 42"/>
              <a:gd name="T64" fmla="*/ 2147483647 w 246"/>
              <a:gd name="T65" fmla="*/ 0 h 42"/>
              <a:gd name="T66" fmla="*/ 2147483647 w 246"/>
              <a:gd name="T67" fmla="*/ 2147483647 h 42"/>
              <a:gd name="T68" fmla="*/ 2147483647 w 246"/>
              <a:gd name="T69" fmla="*/ 2147483647 h 42"/>
              <a:gd name="T70" fmla="*/ 2147483647 w 246"/>
              <a:gd name="T71" fmla="*/ 2147483647 h 42"/>
              <a:gd name="T72" fmla="*/ 2147483647 w 246"/>
              <a:gd name="T73" fmla="*/ 2147483647 h 42"/>
              <a:gd name="T74" fmla="*/ 2147483647 w 246"/>
              <a:gd name="T75" fmla="*/ 2147483647 h 42"/>
              <a:gd name="T76" fmla="*/ 2147483647 w 246"/>
              <a:gd name="T77" fmla="*/ 2147483647 h 42"/>
              <a:gd name="T78" fmla="*/ 2147483647 w 246"/>
              <a:gd name="T79" fmla="*/ 2147483647 h 42"/>
              <a:gd name="T80" fmla="*/ 2147483647 w 246"/>
              <a:gd name="T81" fmla="*/ 2147483647 h 42"/>
              <a:gd name="T82" fmla="*/ 2147483647 w 246"/>
              <a:gd name="T83" fmla="*/ 2147483647 h 42"/>
              <a:gd name="T84" fmla="*/ 2147483647 w 246"/>
              <a:gd name="T85" fmla="*/ 2147483647 h 42"/>
              <a:gd name="T86" fmla="*/ 2147483647 w 246"/>
              <a:gd name="T87" fmla="*/ 2147483647 h 42"/>
              <a:gd name="T88" fmla="*/ 2147483647 w 246"/>
              <a:gd name="T89" fmla="*/ 2147483647 h 42"/>
              <a:gd name="T90" fmla="*/ 2147483647 w 246"/>
              <a:gd name="T91" fmla="*/ 2147483647 h 42"/>
              <a:gd name="T92" fmla="*/ 0 w 246"/>
              <a:gd name="T93" fmla="*/ 2147483647 h 42"/>
              <a:gd name="T94" fmla="*/ 2147483647 w 246"/>
              <a:gd name="T95" fmla="*/ 2147483647 h 42"/>
              <a:gd name="T96" fmla="*/ 2147483647 w 246"/>
              <a:gd name="T97" fmla="*/ 2147483647 h 42"/>
              <a:gd name="T98" fmla="*/ 2147483647 w 246"/>
              <a:gd name="T99" fmla="*/ 2147483647 h 42"/>
              <a:gd name="T100" fmla="*/ 2147483647 w 246"/>
              <a:gd name="T101" fmla="*/ 2147483647 h 42"/>
              <a:gd name="T102" fmla="*/ 2147483647 w 246"/>
              <a:gd name="T103" fmla="*/ 2147483647 h 42"/>
              <a:gd name="T104" fmla="*/ 2147483647 w 246"/>
              <a:gd name="T105" fmla="*/ 214748364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4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830763" y="1530152"/>
            <a:ext cx="63500" cy="57150"/>
          </a:xfrm>
          <a:custGeom>
            <a:avLst/>
            <a:gdLst>
              <a:gd name="T0" fmla="*/ 2147483647 w 149"/>
              <a:gd name="T1" fmla="*/ 0 h 61"/>
              <a:gd name="T2" fmla="*/ 2147483647 w 149"/>
              <a:gd name="T3" fmla="*/ 2147483647 h 61"/>
              <a:gd name="T4" fmla="*/ 2147483647 w 149"/>
              <a:gd name="T5" fmla="*/ 2147483647 h 61"/>
              <a:gd name="T6" fmla="*/ 2147483647 w 149"/>
              <a:gd name="T7" fmla="*/ 2147483647 h 61"/>
              <a:gd name="T8" fmla="*/ 2147483647 w 149"/>
              <a:gd name="T9" fmla="*/ 2147483647 h 61"/>
              <a:gd name="T10" fmla="*/ 2147483647 w 149"/>
              <a:gd name="T11" fmla="*/ 2147483647 h 61"/>
              <a:gd name="T12" fmla="*/ 2147483647 w 149"/>
              <a:gd name="T13" fmla="*/ 2147483647 h 61"/>
              <a:gd name="T14" fmla="*/ 2147483647 w 149"/>
              <a:gd name="T15" fmla="*/ 2147483647 h 61"/>
              <a:gd name="T16" fmla="*/ 2147483647 w 149"/>
              <a:gd name="T17" fmla="*/ 2147483647 h 61"/>
              <a:gd name="T18" fmla="*/ 2147483647 w 149"/>
              <a:gd name="T19" fmla="*/ 2147483647 h 61"/>
              <a:gd name="T20" fmla="*/ 2147483647 w 149"/>
              <a:gd name="T21" fmla="*/ 2147483647 h 61"/>
              <a:gd name="T22" fmla="*/ 2147483647 w 149"/>
              <a:gd name="T23" fmla="*/ 2147483647 h 61"/>
              <a:gd name="T24" fmla="*/ 2147483647 w 149"/>
              <a:gd name="T25" fmla="*/ 2147483647 h 61"/>
              <a:gd name="T26" fmla="*/ 2147483647 w 149"/>
              <a:gd name="T27" fmla="*/ 2147483647 h 61"/>
              <a:gd name="T28" fmla="*/ 2147483647 w 149"/>
              <a:gd name="T29" fmla="*/ 2147483647 h 61"/>
              <a:gd name="T30" fmla="*/ 2147483647 w 149"/>
              <a:gd name="T31" fmla="*/ 2147483647 h 61"/>
              <a:gd name="T32" fmla="*/ 2147483647 w 149"/>
              <a:gd name="T33" fmla="*/ 2147483647 h 61"/>
              <a:gd name="T34" fmla="*/ 2147483647 w 149"/>
              <a:gd name="T35" fmla="*/ 2147483647 h 61"/>
              <a:gd name="T36" fmla="*/ 2147483647 w 149"/>
              <a:gd name="T37" fmla="*/ 2147483647 h 61"/>
              <a:gd name="T38" fmla="*/ 2147483647 w 149"/>
              <a:gd name="T39" fmla="*/ 2147483647 h 61"/>
              <a:gd name="T40" fmla="*/ 2147483647 w 149"/>
              <a:gd name="T41" fmla="*/ 2147483647 h 61"/>
              <a:gd name="T42" fmla="*/ 2147483647 w 149"/>
              <a:gd name="T43" fmla="*/ 2147483647 h 61"/>
              <a:gd name="T44" fmla="*/ 2147483647 w 149"/>
              <a:gd name="T45" fmla="*/ 2147483647 h 61"/>
              <a:gd name="T46" fmla="*/ 2147483647 w 149"/>
              <a:gd name="T47" fmla="*/ 2147483647 h 61"/>
              <a:gd name="T48" fmla="*/ 2147483647 w 149"/>
              <a:gd name="T49" fmla="*/ 2147483647 h 61"/>
              <a:gd name="T50" fmla="*/ 2147483647 w 149"/>
              <a:gd name="T51" fmla="*/ 2147483647 h 61"/>
              <a:gd name="T52" fmla="*/ 2147483647 w 149"/>
              <a:gd name="T53" fmla="*/ 2147483647 h 61"/>
              <a:gd name="T54" fmla="*/ 2147483647 w 149"/>
              <a:gd name="T55" fmla="*/ 2147483647 h 61"/>
              <a:gd name="T56" fmla="*/ 2147483647 w 149"/>
              <a:gd name="T57" fmla="*/ 2147483647 h 61"/>
              <a:gd name="T58" fmla="*/ 2147483647 w 149"/>
              <a:gd name="T59" fmla="*/ 2147483647 h 61"/>
              <a:gd name="T60" fmla="*/ 2147483647 w 149"/>
              <a:gd name="T61" fmla="*/ 2147483647 h 61"/>
              <a:gd name="T62" fmla="*/ 2147483647 w 149"/>
              <a:gd name="T63" fmla="*/ 2147483647 h 61"/>
              <a:gd name="T64" fmla="*/ 0 w 149"/>
              <a:gd name="T65" fmla="*/ 2147483647 h 61"/>
              <a:gd name="T66" fmla="*/ 0 w 149"/>
              <a:gd name="T67" fmla="*/ 2147483647 h 61"/>
              <a:gd name="T68" fmla="*/ 2147483647 w 149"/>
              <a:gd name="T69" fmla="*/ 2147483647 h 61"/>
              <a:gd name="T70" fmla="*/ 2147483647 w 149"/>
              <a:gd name="T71" fmla="*/ 2147483647 h 61"/>
              <a:gd name="T72" fmla="*/ 2147483647 w 149"/>
              <a:gd name="T73" fmla="*/ 2147483647 h 61"/>
              <a:gd name="T74" fmla="*/ 2147483647 w 149"/>
              <a:gd name="T75" fmla="*/ 2147483647 h 61"/>
              <a:gd name="T76" fmla="*/ 2147483647 w 149"/>
              <a:gd name="T77" fmla="*/ 2147483647 h 61"/>
              <a:gd name="T78" fmla="*/ 2147483647 w 149"/>
              <a:gd name="T79" fmla="*/ 2147483647 h 61"/>
              <a:gd name="T80" fmla="*/ 2147483647 w 149"/>
              <a:gd name="T81" fmla="*/ 2147483647 h 61"/>
              <a:gd name="T82" fmla="*/ 2147483647 w 149"/>
              <a:gd name="T83" fmla="*/ 2147483647 h 61"/>
              <a:gd name="T84" fmla="*/ 2147483647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5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867275" y="1538089"/>
            <a:ext cx="130175" cy="57150"/>
          </a:xfrm>
          <a:custGeom>
            <a:avLst/>
            <a:gdLst>
              <a:gd name="T0" fmla="*/ 2147483647 w 299"/>
              <a:gd name="T1" fmla="*/ 2147483647 h 74"/>
              <a:gd name="T2" fmla="*/ 2147483647 w 299"/>
              <a:gd name="T3" fmla="*/ 2147483647 h 74"/>
              <a:gd name="T4" fmla="*/ 2147483647 w 299"/>
              <a:gd name="T5" fmla="*/ 2147483647 h 74"/>
              <a:gd name="T6" fmla="*/ 2147483647 w 299"/>
              <a:gd name="T7" fmla="*/ 2147483647 h 74"/>
              <a:gd name="T8" fmla="*/ 2147483647 w 299"/>
              <a:gd name="T9" fmla="*/ 2147483647 h 74"/>
              <a:gd name="T10" fmla="*/ 2147483647 w 299"/>
              <a:gd name="T11" fmla="*/ 2147483647 h 74"/>
              <a:gd name="T12" fmla="*/ 2147483647 w 299"/>
              <a:gd name="T13" fmla="*/ 2147483647 h 74"/>
              <a:gd name="T14" fmla="*/ 2147483647 w 299"/>
              <a:gd name="T15" fmla="*/ 2147483647 h 74"/>
              <a:gd name="T16" fmla="*/ 2147483647 w 299"/>
              <a:gd name="T17" fmla="*/ 2147483647 h 74"/>
              <a:gd name="T18" fmla="*/ 2147483647 w 299"/>
              <a:gd name="T19" fmla="*/ 2147483647 h 74"/>
              <a:gd name="T20" fmla="*/ 2147483647 w 299"/>
              <a:gd name="T21" fmla="*/ 2147483647 h 74"/>
              <a:gd name="T22" fmla="*/ 2147483647 w 299"/>
              <a:gd name="T23" fmla="*/ 2147483647 h 74"/>
              <a:gd name="T24" fmla="*/ 2147483647 w 299"/>
              <a:gd name="T25" fmla="*/ 2147483647 h 74"/>
              <a:gd name="T26" fmla="*/ 2147483647 w 299"/>
              <a:gd name="T27" fmla="*/ 2147483647 h 74"/>
              <a:gd name="T28" fmla="*/ 2147483647 w 299"/>
              <a:gd name="T29" fmla="*/ 2147483647 h 74"/>
              <a:gd name="T30" fmla="*/ 2147483647 w 299"/>
              <a:gd name="T31" fmla="*/ 2147483647 h 74"/>
              <a:gd name="T32" fmla="*/ 2147483647 w 299"/>
              <a:gd name="T33" fmla="*/ 2147483647 h 74"/>
              <a:gd name="T34" fmla="*/ 2147483647 w 299"/>
              <a:gd name="T35" fmla="*/ 2147483647 h 74"/>
              <a:gd name="T36" fmla="*/ 2147483647 w 299"/>
              <a:gd name="T37" fmla="*/ 2147483647 h 74"/>
              <a:gd name="T38" fmla="*/ 2147483647 w 299"/>
              <a:gd name="T39" fmla="*/ 2147483647 h 74"/>
              <a:gd name="T40" fmla="*/ 2147483647 w 299"/>
              <a:gd name="T41" fmla="*/ 2147483647 h 74"/>
              <a:gd name="T42" fmla="*/ 2147483647 w 299"/>
              <a:gd name="T43" fmla="*/ 2147483647 h 74"/>
              <a:gd name="T44" fmla="*/ 2147483647 w 299"/>
              <a:gd name="T45" fmla="*/ 0 h 74"/>
              <a:gd name="T46" fmla="*/ 2147483647 w 299"/>
              <a:gd name="T47" fmla="*/ 2147483647 h 74"/>
              <a:gd name="T48" fmla="*/ 2147483647 w 299"/>
              <a:gd name="T49" fmla="*/ 2147483647 h 74"/>
              <a:gd name="T50" fmla="*/ 2147483647 w 299"/>
              <a:gd name="T51" fmla="*/ 2147483647 h 74"/>
              <a:gd name="T52" fmla="*/ 2147483647 w 299"/>
              <a:gd name="T53" fmla="*/ 2147483647 h 74"/>
              <a:gd name="T54" fmla="*/ 2147483647 w 299"/>
              <a:gd name="T55" fmla="*/ 2147483647 h 74"/>
              <a:gd name="T56" fmla="*/ 2147483647 w 299"/>
              <a:gd name="T57" fmla="*/ 2147483647 h 74"/>
              <a:gd name="T58" fmla="*/ 2147483647 w 299"/>
              <a:gd name="T59" fmla="*/ 2147483647 h 74"/>
              <a:gd name="T60" fmla="*/ 2147483647 w 299"/>
              <a:gd name="T61" fmla="*/ 2147483647 h 74"/>
              <a:gd name="T62" fmla="*/ 2147483647 w 299"/>
              <a:gd name="T63" fmla="*/ 2147483647 h 74"/>
              <a:gd name="T64" fmla="*/ 2147483647 w 299"/>
              <a:gd name="T65" fmla="*/ 2147483647 h 74"/>
              <a:gd name="T66" fmla="*/ 2147483647 w 299"/>
              <a:gd name="T67" fmla="*/ 2147483647 h 74"/>
              <a:gd name="T68" fmla="*/ 2147483647 w 299"/>
              <a:gd name="T69" fmla="*/ 2147483647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6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00675" y="1723827"/>
            <a:ext cx="41275" cy="57150"/>
          </a:xfrm>
          <a:custGeom>
            <a:avLst/>
            <a:gdLst>
              <a:gd name="T0" fmla="*/ 2147483647 w 100"/>
              <a:gd name="T1" fmla="*/ 0 h 42"/>
              <a:gd name="T2" fmla="*/ 2147483647 w 100"/>
              <a:gd name="T3" fmla="*/ 2147483647 h 42"/>
              <a:gd name="T4" fmla="*/ 2147483647 w 100"/>
              <a:gd name="T5" fmla="*/ 2147483647 h 42"/>
              <a:gd name="T6" fmla="*/ 2147483647 w 100"/>
              <a:gd name="T7" fmla="*/ 2147483647 h 42"/>
              <a:gd name="T8" fmla="*/ 2147483647 w 100"/>
              <a:gd name="T9" fmla="*/ 2147483647 h 42"/>
              <a:gd name="T10" fmla="*/ 2147483647 w 100"/>
              <a:gd name="T11" fmla="*/ 2147483647 h 42"/>
              <a:gd name="T12" fmla="*/ 2147483647 w 100"/>
              <a:gd name="T13" fmla="*/ 2147483647 h 42"/>
              <a:gd name="T14" fmla="*/ 2147483647 w 100"/>
              <a:gd name="T15" fmla="*/ 2147483647 h 42"/>
              <a:gd name="T16" fmla="*/ 2147483647 w 100"/>
              <a:gd name="T17" fmla="*/ 2147483647 h 42"/>
              <a:gd name="T18" fmla="*/ 2147483647 w 100"/>
              <a:gd name="T19" fmla="*/ 2147483647 h 42"/>
              <a:gd name="T20" fmla="*/ 2147483647 w 100"/>
              <a:gd name="T21" fmla="*/ 2147483647 h 42"/>
              <a:gd name="T22" fmla="*/ 2147483647 w 100"/>
              <a:gd name="T23" fmla="*/ 2147483647 h 42"/>
              <a:gd name="T24" fmla="*/ 2147483647 w 100"/>
              <a:gd name="T25" fmla="*/ 2147483647 h 42"/>
              <a:gd name="T26" fmla="*/ 2147483647 w 100"/>
              <a:gd name="T27" fmla="*/ 2147483647 h 42"/>
              <a:gd name="T28" fmla="*/ 0 w 100"/>
              <a:gd name="T29" fmla="*/ 2147483647 h 42"/>
              <a:gd name="T30" fmla="*/ 2147483647 w 100"/>
              <a:gd name="T31" fmla="*/ 2147483647 h 42"/>
              <a:gd name="T32" fmla="*/ 2147483647 w 100"/>
              <a:gd name="T33" fmla="*/ 2147483647 h 42"/>
              <a:gd name="T34" fmla="*/ 2147483647 w 100"/>
              <a:gd name="T35" fmla="*/ 2147483647 h 42"/>
              <a:gd name="T36" fmla="*/ 2147483647 w 100"/>
              <a:gd name="T37" fmla="*/ 2147483647 h 42"/>
              <a:gd name="T38" fmla="*/ 2147483647 w 100"/>
              <a:gd name="T39" fmla="*/ 2147483647 h 42"/>
              <a:gd name="T40" fmla="*/ 2147483647 w 100"/>
              <a:gd name="T41" fmla="*/ 2147483647 h 42"/>
              <a:gd name="T42" fmla="*/ 2147483647 w 100"/>
              <a:gd name="T43" fmla="*/ 2147483647 h 42"/>
              <a:gd name="T44" fmla="*/ 2147483647 w 100"/>
              <a:gd name="T45" fmla="*/ 2147483647 h 42"/>
              <a:gd name="T46" fmla="*/ 2147483647 w 100"/>
              <a:gd name="T47" fmla="*/ 2147483647 h 42"/>
              <a:gd name="T48" fmla="*/ 2147483647 w 100"/>
              <a:gd name="T49" fmla="*/ 2147483647 h 42"/>
              <a:gd name="T50" fmla="*/ 2147483647 w 100"/>
              <a:gd name="T51" fmla="*/ 0 h 42"/>
              <a:gd name="T52" fmla="*/ 2147483647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7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310188" y="1582539"/>
            <a:ext cx="15875" cy="58738"/>
          </a:xfrm>
          <a:custGeom>
            <a:avLst/>
            <a:gdLst>
              <a:gd name="T0" fmla="*/ 2147483647 w 40"/>
              <a:gd name="T1" fmla="*/ 2147483647 h 5"/>
              <a:gd name="T2" fmla="*/ 0 w 40"/>
              <a:gd name="T3" fmla="*/ 2147483647 h 5"/>
              <a:gd name="T4" fmla="*/ 2147483647 w 40"/>
              <a:gd name="T5" fmla="*/ 2147483647 h 5"/>
              <a:gd name="T6" fmla="*/ 2147483647 w 40"/>
              <a:gd name="T7" fmla="*/ 2147483647 h 5"/>
              <a:gd name="T8" fmla="*/ 2147483647 w 40"/>
              <a:gd name="T9" fmla="*/ 0 h 5"/>
              <a:gd name="T10" fmla="*/ 2147483647 w 40"/>
              <a:gd name="T11" fmla="*/ 0 h 5"/>
              <a:gd name="T12" fmla="*/ 2147483647 w 40"/>
              <a:gd name="T13" fmla="*/ 0 h 5"/>
              <a:gd name="T14" fmla="*/ 2147483647 w 40"/>
              <a:gd name="T15" fmla="*/ 2147483647 h 5"/>
              <a:gd name="T16" fmla="*/ 2147483647 w 40"/>
              <a:gd name="T17" fmla="*/ 2147483647 h 5"/>
              <a:gd name="T18" fmla="*/ 2147483647 w 40"/>
              <a:gd name="T19" fmla="*/ 2147483647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8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332413" y="1541264"/>
            <a:ext cx="14287" cy="60325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0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0 w 33"/>
              <a:gd name="T17" fmla="*/ 2147483647 h 31"/>
              <a:gd name="T18" fmla="*/ 0 w 33"/>
              <a:gd name="T19" fmla="*/ 2147483647 h 31"/>
              <a:gd name="T20" fmla="*/ 0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79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476875" y="1657152"/>
            <a:ext cx="17463" cy="57150"/>
          </a:xfrm>
          <a:custGeom>
            <a:avLst/>
            <a:gdLst>
              <a:gd name="T0" fmla="*/ 2147483647 w 41"/>
              <a:gd name="T1" fmla="*/ 0 h 43"/>
              <a:gd name="T2" fmla="*/ 2147483647 w 41"/>
              <a:gd name="T3" fmla="*/ 2147483647 h 43"/>
              <a:gd name="T4" fmla="*/ 2147483647 w 41"/>
              <a:gd name="T5" fmla="*/ 2147483647 h 43"/>
              <a:gd name="T6" fmla="*/ 2147483647 w 41"/>
              <a:gd name="T7" fmla="*/ 2147483647 h 43"/>
              <a:gd name="T8" fmla="*/ 2147483647 w 41"/>
              <a:gd name="T9" fmla="*/ 2147483647 h 43"/>
              <a:gd name="T10" fmla="*/ 2147483647 w 41"/>
              <a:gd name="T11" fmla="*/ 2147483647 h 43"/>
              <a:gd name="T12" fmla="*/ 2147483647 w 41"/>
              <a:gd name="T13" fmla="*/ 2147483647 h 43"/>
              <a:gd name="T14" fmla="*/ 0 w 41"/>
              <a:gd name="T15" fmla="*/ 2147483647 h 43"/>
              <a:gd name="T16" fmla="*/ 2147483647 w 41"/>
              <a:gd name="T17" fmla="*/ 2147483647 h 43"/>
              <a:gd name="T18" fmla="*/ 2147483647 w 41"/>
              <a:gd name="T19" fmla="*/ 2147483647 h 43"/>
              <a:gd name="T20" fmla="*/ 2147483647 w 41"/>
              <a:gd name="T21" fmla="*/ 2147483647 h 43"/>
              <a:gd name="T22" fmla="*/ 2147483647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80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530850" y="1541264"/>
            <a:ext cx="93663" cy="60325"/>
          </a:xfrm>
          <a:custGeom>
            <a:avLst/>
            <a:gdLst>
              <a:gd name="T0" fmla="*/ 2147483647 w 213"/>
              <a:gd name="T1" fmla="*/ 0 h 62"/>
              <a:gd name="T2" fmla="*/ 2147483647 w 213"/>
              <a:gd name="T3" fmla="*/ 0 h 62"/>
              <a:gd name="T4" fmla="*/ 2147483647 w 213"/>
              <a:gd name="T5" fmla="*/ 2147483647 h 62"/>
              <a:gd name="T6" fmla="*/ 2147483647 w 213"/>
              <a:gd name="T7" fmla="*/ 2147483647 h 62"/>
              <a:gd name="T8" fmla="*/ 2147483647 w 213"/>
              <a:gd name="T9" fmla="*/ 2147483647 h 62"/>
              <a:gd name="T10" fmla="*/ 2147483647 w 213"/>
              <a:gd name="T11" fmla="*/ 2147483647 h 62"/>
              <a:gd name="T12" fmla="*/ 2147483647 w 213"/>
              <a:gd name="T13" fmla="*/ 2147483647 h 62"/>
              <a:gd name="T14" fmla="*/ 2147483647 w 213"/>
              <a:gd name="T15" fmla="*/ 2147483647 h 62"/>
              <a:gd name="T16" fmla="*/ 2147483647 w 213"/>
              <a:gd name="T17" fmla="*/ 2147483647 h 62"/>
              <a:gd name="T18" fmla="*/ 2147483647 w 213"/>
              <a:gd name="T19" fmla="*/ 2147483647 h 62"/>
              <a:gd name="T20" fmla="*/ 2147483647 w 213"/>
              <a:gd name="T21" fmla="*/ 2147483647 h 62"/>
              <a:gd name="T22" fmla="*/ 2147483647 w 213"/>
              <a:gd name="T23" fmla="*/ 2147483647 h 62"/>
              <a:gd name="T24" fmla="*/ 2147483647 w 213"/>
              <a:gd name="T25" fmla="*/ 2147483647 h 62"/>
              <a:gd name="T26" fmla="*/ 2147483647 w 213"/>
              <a:gd name="T27" fmla="*/ 2147483647 h 62"/>
              <a:gd name="T28" fmla="*/ 2147483647 w 213"/>
              <a:gd name="T29" fmla="*/ 2147483647 h 62"/>
              <a:gd name="T30" fmla="*/ 2147483647 w 213"/>
              <a:gd name="T31" fmla="*/ 2147483647 h 62"/>
              <a:gd name="T32" fmla="*/ 2147483647 w 213"/>
              <a:gd name="T33" fmla="*/ 2147483647 h 62"/>
              <a:gd name="T34" fmla="*/ 2147483647 w 213"/>
              <a:gd name="T35" fmla="*/ 2147483647 h 62"/>
              <a:gd name="T36" fmla="*/ 2147483647 w 213"/>
              <a:gd name="T37" fmla="*/ 2147483647 h 62"/>
              <a:gd name="T38" fmla="*/ 2147483647 w 213"/>
              <a:gd name="T39" fmla="*/ 2147483647 h 62"/>
              <a:gd name="T40" fmla="*/ 2147483647 w 213"/>
              <a:gd name="T41" fmla="*/ 2147483647 h 62"/>
              <a:gd name="T42" fmla="*/ 2147483647 w 213"/>
              <a:gd name="T43" fmla="*/ 2147483647 h 62"/>
              <a:gd name="T44" fmla="*/ 2147483647 w 213"/>
              <a:gd name="T45" fmla="*/ 2147483647 h 62"/>
              <a:gd name="T46" fmla="*/ 2147483647 w 213"/>
              <a:gd name="T47" fmla="*/ 2147483647 h 62"/>
              <a:gd name="T48" fmla="*/ 2147483647 w 213"/>
              <a:gd name="T49" fmla="*/ 2147483647 h 62"/>
              <a:gd name="T50" fmla="*/ 2147483647 w 213"/>
              <a:gd name="T51" fmla="*/ 2147483647 h 62"/>
              <a:gd name="T52" fmla="*/ 0 w 213"/>
              <a:gd name="T53" fmla="*/ 2147483647 h 62"/>
              <a:gd name="T54" fmla="*/ 2147483647 w 213"/>
              <a:gd name="T55" fmla="*/ 2147483647 h 62"/>
              <a:gd name="T56" fmla="*/ 2147483647 w 213"/>
              <a:gd name="T57" fmla="*/ 2147483647 h 62"/>
              <a:gd name="T58" fmla="*/ 2147483647 w 213"/>
              <a:gd name="T59" fmla="*/ 2147483647 h 62"/>
              <a:gd name="T60" fmla="*/ 2147483647 w 213"/>
              <a:gd name="T61" fmla="*/ 2147483647 h 62"/>
              <a:gd name="T62" fmla="*/ 2147483647 w 213"/>
              <a:gd name="T63" fmla="*/ 2147483647 h 62"/>
              <a:gd name="T64" fmla="*/ 2147483647 w 213"/>
              <a:gd name="T65" fmla="*/ 2147483647 h 62"/>
              <a:gd name="T66" fmla="*/ 2147483647 w 213"/>
              <a:gd name="T67" fmla="*/ 2147483647 h 62"/>
              <a:gd name="T68" fmla="*/ 2147483647 w 213"/>
              <a:gd name="T69" fmla="*/ 2147483647 h 62"/>
              <a:gd name="T70" fmla="*/ 2147483647 w 213"/>
              <a:gd name="T71" fmla="*/ 2147483647 h 62"/>
              <a:gd name="T72" fmla="*/ 2147483647 w 213"/>
              <a:gd name="T73" fmla="*/ 2147483647 h 62"/>
              <a:gd name="T74" fmla="*/ 2147483647 w 213"/>
              <a:gd name="T75" fmla="*/ 0 h 62"/>
              <a:gd name="T76" fmla="*/ 2147483647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81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591175" y="1566664"/>
            <a:ext cx="103188" cy="60325"/>
          </a:xfrm>
          <a:custGeom>
            <a:avLst/>
            <a:gdLst>
              <a:gd name="T0" fmla="*/ 2147483647 w 239"/>
              <a:gd name="T1" fmla="*/ 0 h 56"/>
              <a:gd name="T2" fmla="*/ 2147483647 w 239"/>
              <a:gd name="T3" fmla="*/ 2147483647 h 56"/>
              <a:gd name="T4" fmla="*/ 2147483647 w 239"/>
              <a:gd name="T5" fmla="*/ 2147483647 h 56"/>
              <a:gd name="T6" fmla="*/ 2147483647 w 239"/>
              <a:gd name="T7" fmla="*/ 2147483647 h 56"/>
              <a:gd name="T8" fmla="*/ 2147483647 w 239"/>
              <a:gd name="T9" fmla="*/ 2147483647 h 56"/>
              <a:gd name="T10" fmla="*/ 2147483647 w 239"/>
              <a:gd name="T11" fmla="*/ 2147483647 h 56"/>
              <a:gd name="T12" fmla="*/ 2147483647 w 239"/>
              <a:gd name="T13" fmla="*/ 2147483647 h 56"/>
              <a:gd name="T14" fmla="*/ 2147483647 w 239"/>
              <a:gd name="T15" fmla="*/ 2147483647 h 56"/>
              <a:gd name="T16" fmla="*/ 0 w 239"/>
              <a:gd name="T17" fmla="*/ 2147483647 h 56"/>
              <a:gd name="T18" fmla="*/ 2147483647 w 239"/>
              <a:gd name="T19" fmla="*/ 2147483647 h 56"/>
              <a:gd name="T20" fmla="*/ 2147483647 w 239"/>
              <a:gd name="T21" fmla="*/ 2147483647 h 56"/>
              <a:gd name="T22" fmla="*/ 2147483647 w 239"/>
              <a:gd name="T23" fmla="*/ 2147483647 h 56"/>
              <a:gd name="T24" fmla="*/ 2147483647 w 239"/>
              <a:gd name="T25" fmla="*/ 2147483647 h 56"/>
              <a:gd name="T26" fmla="*/ 2147483647 w 239"/>
              <a:gd name="T27" fmla="*/ 2147483647 h 56"/>
              <a:gd name="T28" fmla="*/ 2147483647 w 239"/>
              <a:gd name="T29" fmla="*/ 2147483647 h 56"/>
              <a:gd name="T30" fmla="*/ 2147483647 w 239"/>
              <a:gd name="T31" fmla="*/ 2147483647 h 56"/>
              <a:gd name="T32" fmla="*/ 2147483647 w 239"/>
              <a:gd name="T33" fmla="*/ 2147483647 h 56"/>
              <a:gd name="T34" fmla="*/ 2147483647 w 239"/>
              <a:gd name="T35" fmla="*/ 2147483647 h 56"/>
              <a:gd name="T36" fmla="*/ 2147483647 w 239"/>
              <a:gd name="T37" fmla="*/ 2147483647 h 56"/>
              <a:gd name="T38" fmla="*/ 2147483647 w 239"/>
              <a:gd name="T39" fmla="*/ 2147483647 h 56"/>
              <a:gd name="T40" fmla="*/ 2147483647 w 239"/>
              <a:gd name="T41" fmla="*/ 2147483647 h 56"/>
              <a:gd name="T42" fmla="*/ 2147483647 w 239"/>
              <a:gd name="T43" fmla="*/ 2147483647 h 56"/>
              <a:gd name="T44" fmla="*/ 2147483647 w 239"/>
              <a:gd name="T45" fmla="*/ 2147483647 h 56"/>
              <a:gd name="T46" fmla="*/ 2147483647 w 239"/>
              <a:gd name="T47" fmla="*/ 2147483647 h 56"/>
              <a:gd name="T48" fmla="*/ 2147483647 w 239"/>
              <a:gd name="T49" fmla="*/ 2147483647 h 56"/>
              <a:gd name="T50" fmla="*/ 2147483647 w 239"/>
              <a:gd name="T51" fmla="*/ 2147483647 h 56"/>
              <a:gd name="T52" fmla="*/ 2147483647 w 239"/>
              <a:gd name="T53" fmla="*/ 2147483647 h 56"/>
              <a:gd name="T54" fmla="*/ 2147483647 w 239"/>
              <a:gd name="T55" fmla="*/ 2147483647 h 56"/>
              <a:gd name="T56" fmla="*/ 2147483647 w 239"/>
              <a:gd name="T57" fmla="*/ 2147483647 h 56"/>
              <a:gd name="T58" fmla="*/ 2147483647 w 239"/>
              <a:gd name="T59" fmla="*/ 2147483647 h 56"/>
              <a:gd name="T60" fmla="*/ 2147483647 w 239"/>
              <a:gd name="T61" fmla="*/ 2147483647 h 56"/>
              <a:gd name="T62" fmla="*/ 2147483647 w 239"/>
              <a:gd name="T63" fmla="*/ 2147483647 h 56"/>
              <a:gd name="T64" fmla="*/ 2147483647 w 239"/>
              <a:gd name="T65" fmla="*/ 2147483647 h 56"/>
              <a:gd name="T66" fmla="*/ 2147483647 w 239"/>
              <a:gd name="T67" fmla="*/ 2147483647 h 56"/>
              <a:gd name="T68" fmla="*/ 2147483647 w 239"/>
              <a:gd name="T69" fmla="*/ 2147483647 h 56"/>
              <a:gd name="T70" fmla="*/ 2147483647 w 239"/>
              <a:gd name="T71" fmla="*/ 2147483647 h 56"/>
              <a:gd name="T72" fmla="*/ 2147483647 w 239"/>
              <a:gd name="T73" fmla="*/ 2147483647 h 56"/>
              <a:gd name="T74" fmla="*/ 2147483647 w 239"/>
              <a:gd name="T75" fmla="*/ 2147483647 h 56"/>
              <a:gd name="T76" fmla="*/ 2147483647 w 239"/>
              <a:gd name="T77" fmla="*/ 2147483647 h 56"/>
              <a:gd name="T78" fmla="*/ 2147483647 w 239"/>
              <a:gd name="T79" fmla="*/ 2147483647 h 56"/>
              <a:gd name="T80" fmla="*/ 2147483647 w 239"/>
              <a:gd name="T81" fmla="*/ 2147483647 h 56"/>
              <a:gd name="T82" fmla="*/ 2147483647 w 239"/>
              <a:gd name="T83" fmla="*/ 2147483647 h 56"/>
              <a:gd name="T84" fmla="*/ 2147483647 w 239"/>
              <a:gd name="T85" fmla="*/ 2147483647 h 56"/>
              <a:gd name="T86" fmla="*/ 2147483647 w 239"/>
              <a:gd name="T87" fmla="*/ 0 h 56"/>
              <a:gd name="T88" fmla="*/ 2147483647 w 239"/>
              <a:gd name="T89" fmla="*/ 2147483647 h 56"/>
              <a:gd name="T90" fmla="*/ 2147483647 w 239"/>
              <a:gd name="T91" fmla="*/ 2147483647 h 56"/>
              <a:gd name="T92" fmla="*/ 2147483647 w 239"/>
              <a:gd name="T93" fmla="*/ 2147483647 h 56"/>
              <a:gd name="T94" fmla="*/ 2147483647 w 239"/>
              <a:gd name="T95" fmla="*/ 2147483647 h 56"/>
              <a:gd name="T96" fmla="*/ 2147483647 w 239"/>
              <a:gd name="T97" fmla="*/ 2147483647 h 56"/>
              <a:gd name="T98" fmla="*/ 2147483647 w 239"/>
              <a:gd name="T99" fmla="*/ 2147483647 h 56"/>
              <a:gd name="T100" fmla="*/ 2147483647 w 239"/>
              <a:gd name="T101" fmla="*/ 2147483647 h 56"/>
              <a:gd name="T102" fmla="*/ 2147483647 w 239"/>
              <a:gd name="T103" fmla="*/ 2147483647 h 56"/>
              <a:gd name="T104" fmla="*/ 2147483647 w 239"/>
              <a:gd name="T105" fmla="*/ 2147483647 h 56"/>
              <a:gd name="T106" fmla="*/ 2147483647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82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708650" y="1580952"/>
            <a:ext cx="82550" cy="57150"/>
          </a:xfrm>
          <a:custGeom>
            <a:avLst/>
            <a:gdLst>
              <a:gd name="T0" fmla="*/ 2147483647 w 187"/>
              <a:gd name="T1" fmla="*/ 2147483647 h 80"/>
              <a:gd name="T2" fmla="*/ 2147483647 w 187"/>
              <a:gd name="T3" fmla="*/ 0 h 80"/>
              <a:gd name="T4" fmla="*/ 2147483647 w 187"/>
              <a:gd name="T5" fmla="*/ 2147483647 h 80"/>
              <a:gd name="T6" fmla="*/ 2147483647 w 187"/>
              <a:gd name="T7" fmla="*/ 2147483647 h 80"/>
              <a:gd name="T8" fmla="*/ 2147483647 w 187"/>
              <a:gd name="T9" fmla="*/ 2147483647 h 80"/>
              <a:gd name="T10" fmla="*/ 2147483647 w 187"/>
              <a:gd name="T11" fmla="*/ 2147483647 h 80"/>
              <a:gd name="T12" fmla="*/ 2147483647 w 187"/>
              <a:gd name="T13" fmla="*/ 2147483647 h 80"/>
              <a:gd name="T14" fmla="*/ 2147483647 w 187"/>
              <a:gd name="T15" fmla="*/ 2147483647 h 80"/>
              <a:gd name="T16" fmla="*/ 2147483647 w 187"/>
              <a:gd name="T17" fmla="*/ 2147483647 h 80"/>
              <a:gd name="T18" fmla="*/ 2147483647 w 187"/>
              <a:gd name="T19" fmla="*/ 2147483647 h 80"/>
              <a:gd name="T20" fmla="*/ 2147483647 w 187"/>
              <a:gd name="T21" fmla="*/ 2147483647 h 80"/>
              <a:gd name="T22" fmla="*/ 2147483647 w 187"/>
              <a:gd name="T23" fmla="*/ 2147483647 h 80"/>
              <a:gd name="T24" fmla="*/ 2147483647 w 187"/>
              <a:gd name="T25" fmla="*/ 2147483647 h 80"/>
              <a:gd name="T26" fmla="*/ 2147483647 w 187"/>
              <a:gd name="T27" fmla="*/ 2147483647 h 80"/>
              <a:gd name="T28" fmla="*/ 2147483647 w 187"/>
              <a:gd name="T29" fmla="*/ 2147483647 h 80"/>
              <a:gd name="T30" fmla="*/ 2147483647 w 187"/>
              <a:gd name="T31" fmla="*/ 2147483647 h 80"/>
              <a:gd name="T32" fmla="*/ 2147483647 w 187"/>
              <a:gd name="T33" fmla="*/ 2147483647 h 80"/>
              <a:gd name="T34" fmla="*/ 2147483647 w 187"/>
              <a:gd name="T35" fmla="*/ 2147483647 h 80"/>
              <a:gd name="T36" fmla="*/ 2147483647 w 187"/>
              <a:gd name="T37" fmla="*/ 2147483647 h 80"/>
              <a:gd name="T38" fmla="*/ 2147483647 w 187"/>
              <a:gd name="T39" fmla="*/ 2147483647 h 80"/>
              <a:gd name="T40" fmla="*/ 2147483647 w 187"/>
              <a:gd name="T41" fmla="*/ 2147483647 h 80"/>
              <a:gd name="T42" fmla="*/ 2147483647 w 187"/>
              <a:gd name="T43" fmla="*/ 2147483647 h 80"/>
              <a:gd name="T44" fmla="*/ 2147483647 w 187"/>
              <a:gd name="T45" fmla="*/ 2147483647 h 80"/>
              <a:gd name="T46" fmla="*/ 2147483647 w 187"/>
              <a:gd name="T47" fmla="*/ 2147483647 h 80"/>
              <a:gd name="T48" fmla="*/ 2147483647 w 187"/>
              <a:gd name="T49" fmla="*/ 2147483647 h 80"/>
              <a:gd name="T50" fmla="*/ 2147483647 w 187"/>
              <a:gd name="T51" fmla="*/ 2147483647 h 80"/>
              <a:gd name="T52" fmla="*/ 2147483647 w 187"/>
              <a:gd name="T53" fmla="*/ 2147483647 h 80"/>
              <a:gd name="T54" fmla="*/ 2147483647 w 187"/>
              <a:gd name="T55" fmla="*/ 2147483647 h 80"/>
              <a:gd name="T56" fmla="*/ 2147483647 w 187"/>
              <a:gd name="T57" fmla="*/ 2147483647 h 80"/>
              <a:gd name="T58" fmla="*/ 2147483647 w 187"/>
              <a:gd name="T59" fmla="*/ 2147483647 h 80"/>
              <a:gd name="T60" fmla="*/ 2147483647 w 187"/>
              <a:gd name="T61" fmla="*/ 2147483647 h 80"/>
              <a:gd name="T62" fmla="*/ 2147483647 w 187"/>
              <a:gd name="T63" fmla="*/ 2147483647 h 80"/>
              <a:gd name="T64" fmla="*/ 2147483647 w 187"/>
              <a:gd name="T65" fmla="*/ 2147483647 h 80"/>
              <a:gd name="T66" fmla="*/ 0 w 187"/>
              <a:gd name="T67" fmla="*/ 2147483647 h 80"/>
              <a:gd name="T68" fmla="*/ 2147483647 w 187"/>
              <a:gd name="T69" fmla="*/ 2147483647 h 80"/>
              <a:gd name="T70" fmla="*/ 2147483647 w 187"/>
              <a:gd name="T71" fmla="*/ 2147483647 h 80"/>
              <a:gd name="T72" fmla="*/ 2147483647 w 187"/>
              <a:gd name="T73" fmla="*/ 2147483647 h 80"/>
              <a:gd name="T74" fmla="*/ 2147483647 w 187"/>
              <a:gd name="T75" fmla="*/ 2147483647 h 80"/>
              <a:gd name="T76" fmla="*/ 2147483647 w 187"/>
              <a:gd name="T77" fmla="*/ 2147483647 h 80"/>
              <a:gd name="T78" fmla="*/ 2147483647 w 187"/>
              <a:gd name="T79" fmla="*/ 2147483647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83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235700" y="1706364"/>
            <a:ext cx="79375" cy="58738"/>
          </a:xfrm>
          <a:custGeom>
            <a:avLst/>
            <a:gdLst>
              <a:gd name="T0" fmla="*/ 2147483647 w 183"/>
              <a:gd name="T1" fmla="*/ 0 h 73"/>
              <a:gd name="T2" fmla="*/ 2147483647 w 183"/>
              <a:gd name="T3" fmla="*/ 0 h 73"/>
              <a:gd name="T4" fmla="*/ 2147483647 w 183"/>
              <a:gd name="T5" fmla="*/ 2147483647 h 73"/>
              <a:gd name="T6" fmla="*/ 2147483647 w 183"/>
              <a:gd name="T7" fmla="*/ 2147483647 h 73"/>
              <a:gd name="T8" fmla="*/ 2147483647 w 183"/>
              <a:gd name="T9" fmla="*/ 2147483647 h 73"/>
              <a:gd name="T10" fmla="*/ 2147483647 w 183"/>
              <a:gd name="T11" fmla="*/ 2147483647 h 73"/>
              <a:gd name="T12" fmla="*/ 2147483647 w 183"/>
              <a:gd name="T13" fmla="*/ 2147483647 h 73"/>
              <a:gd name="T14" fmla="*/ 2147483647 w 183"/>
              <a:gd name="T15" fmla="*/ 2147483647 h 73"/>
              <a:gd name="T16" fmla="*/ 2147483647 w 183"/>
              <a:gd name="T17" fmla="*/ 2147483647 h 73"/>
              <a:gd name="T18" fmla="*/ 2147483647 w 183"/>
              <a:gd name="T19" fmla="*/ 2147483647 h 73"/>
              <a:gd name="T20" fmla="*/ 2147483647 w 183"/>
              <a:gd name="T21" fmla="*/ 2147483647 h 73"/>
              <a:gd name="T22" fmla="*/ 2147483647 w 183"/>
              <a:gd name="T23" fmla="*/ 2147483647 h 73"/>
              <a:gd name="T24" fmla="*/ 2147483647 w 183"/>
              <a:gd name="T25" fmla="*/ 2147483647 h 73"/>
              <a:gd name="T26" fmla="*/ 2147483647 w 183"/>
              <a:gd name="T27" fmla="*/ 2147483647 h 73"/>
              <a:gd name="T28" fmla="*/ 2147483647 w 183"/>
              <a:gd name="T29" fmla="*/ 2147483647 h 73"/>
              <a:gd name="T30" fmla="*/ 2147483647 w 183"/>
              <a:gd name="T31" fmla="*/ 2147483647 h 73"/>
              <a:gd name="T32" fmla="*/ 2147483647 w 183"/>
              <a:gd name="T33" fmla="*/ 2147483647 h 73"/>
              <a:gd name="T34" fmla="*/ 2147483647 w 183"/>
              <a:gd name="T35" fmla="*/ 2147483647 h 73"/>
              <a:gd name="T36" fmla="*/ 2147483647 w 183"/>
              <a:gd name="T37" fmla="*/ 2147483647 h 73"/>
              <a:gd name="T38" fmla="*/ 2147483647 w 183"/>
              <a:gd name="T39" fmla="*/ 2147483647 h 73"/>
              <a:gd name="T40" fmla="*/ 2147483647 w 183"/>
              <a:gd name="T41" fmla="*/ 2147483647 h 73"/>
              <a:gd name="T42" fmla="*/ 2147483647 w 183"/>
              <a:gd name="T43" fmla="*/ 2147483647 h 73"/>
              <a:gd name="T44" fmla="*/ 2147483647 w 183"/>
              <a:gd name="T45" fmla="*/ 2147483647 h 73"/>
              <a:gd name="T46" fmla="*/ 2147483647 w 183"/>
              <a:gd name="T47" fmla="*/ 2147483647 h 73"/>
              <a:gd name="T48" fmla="*/ 2147483647 w 183"/>
              <a:gd name="T49" fmla="*/ 2147483647 h 73"/>
              <a:gd name="T50" fmla="*/ 0 w 183"/>
              <a:gd name="T51" fmla="*/ 2147483647 h 73"/>
              <a:gd name="T52" fmla="*/ 2147483647 w 183"/>
              <a:gd name="T53" fmla="*/ 2147483647 h 73"/>
              <a:gd name="T54" fmla="*/ 2147483647 w 183"/>
              <a:gd name="T55" fmla="*/ 2147483647 h 73"/>
              <a:gd name="T56" fmla="*/ 2147483647 w 183"/>
              <a:gd name="T57" fmla="*/ 2147483647 h 73"/>
              <a:gd name="T58" fmla="*/ 2147483647 w 183"/>
              <a:gd name="T59" fmla="*/ 2147483647 h 73"/>
              <a:gd name="T60" fmla="*/ 2147483647 w 183"/>
              <a:gd name="T61" fmla="*/ 2147483647 h 73"/>
              <a:gd name="T62" fmla="*/ 2147483647 w 183"/>
              <a:gd name="T63" fmla="*/ 0 h 73"/>
              <a:gd name="T64" fmla="*/ 2147483647 w 183"/>
              <a:gd name="T65" fmla="*/ 0 h 73"/>
              <a:gd name="T66" fmla="*/ 214748364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84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302375" y="1723827"/>
            <a:ext cx="33338" cy="57150"/>
          </a:xfrm>
          <a:custGeom>
            <a:avLst/>
            <a:gdLst>
              <a:gd name="T0" fmla="*/ 0 w 79"/>
              <a:gd name="T1" fmla="*/ 2147483647 h 42"/>
              <a:gd name="T2" fmla="*/ 2147483647 w 79"/>
              <a:gd name="T3" fmla="*/ 2147483647 h 42"/>
              <a:gd name="T4" fmla="*/ 2147483647 w 79"/>
              <a:gd name="T5" fmla="*/ 2147483647 h 42"/>
              <a:gd name="T6" fmla="*/ 2147483647 w 79"/>
              <a:gd name="T7" fmla="*/ 0 h 42"/>
              <a:gd name="T8" fmla="*/ 2147483647 w 79"/>
              <a:gd name="T9" fmla="*/ 0 h 42"/>
              <a:gd name="T10" fmla="*/ 2147483647 w 79"/>
              <a:gd name="T11" fmla="*/ 2147483647 h 42"/>
              <a:gd name="T12" fmla="*/ 2147483647 w 79"/>
              <a:gd name="T13" fmla="*/ 2147483647 h 42"/>
              <a:gd name="T14" fmla="*/ 2147483647 w 79"/>
              <a:gd name="T15" fmla="*/ 2147483647 h 42"/>
              <a:gd name="T16" fmla="*/ 2147483647 w 79"/>
              <a:gd name="T17" fmla="*/ 2147483647 h 42"/>
              <a:gd name="T18" fmla="*/ 2147483647 w 79"/>
              <a:gd name="T19" fmla="*/ 2147483647 h 42"/>
              <a:gd name="T20" fmla="*/ 2147483647 w 79"/>
              <a:gd name="T21" fmla="*/ 2147483647 h 42"/>
              <a:gd name="T22" fmla="*/ 2147483647 w 79"/>
              <a:gd name="T23" fmla="*/ 2147483647 h 42"/>
              <a:gd name="T24" fmla="*/ 2147483647 w 79"/>
              <a:gd name="T25" fmla="*/ 2147483647 h 42"/>
              <a:gd name="T26" fmla="*/ 2147483647 w 79"/>
              <a:gd name="T27" fmla="*/ 2147483647 h 42"/>
              <a:gd name="T28" fmla="*/ 2147483647 w 79"/>
              <a:gd name="T29" fmla="*/ 2147483647 h 42"/>
              <a:gd name="T30" fmla="*/ 2147483647 w 79"/>
              <a:gd name="T31" fmla="*/ 2147483647 h 42"/>
              <a:gd name="T32" fmla="*/ 2147483647 w 79"/>
              <a:gd name="T33" fmla="*/ 2147483647 h 42"/>
              <a:gd name="T34" fmla="*/ 2147483647 w 79"/>
              <a:gd name="T35" fmla="*/ 2147483647 h 42"/>
              <a:gd name="T36" fmla="*/ 2147483647 w 79"/>
              <a:gd name="T37" fmla="*/ 2147483647 h 42"/>
              <a:gd name="T38" fmla="*/ 2147483647 w 79"/>
              <a:gd name="T39" fmla="*/ 2147483647 h 42"/>
              <a:gd name="T40" fmla="*/ 2147483647 w 79"/>
              <a:gd name="T41" fmla="*/ 2147483647 h 42"/>
              <a:gd name="T42" fmla="*/ 2147483647 w 79"/>
              <a:gd name="T43" fmla="*/ 2147483647 h 42"/>
              <a:gd name="T44" fmla="*/ 2147483647 w 79"/>
              <a:gd name="T45" fmla="*/ 2147483647 h 42"/>
              <a:gd name="T46" fmla="*/ 0 w 79"/>
              <a:gd name="T47" fmla="*/ 2147483647 h 42"/>
              <a:gd name="T48" fmla="*/ 0 w 79"/>
              <a:gd name="T49" fmla="*/ 2147483647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85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332538" y="1734939"/>
            <a:ext cx="52387" cy="58738"/>
          </a:xfrm>
          <a:custGeom>
            <a:avLst/>
            <a:gdLst>
              <a:gd name="T0" fmla="*/ 2147483647 w 113"/>
              <a:gd name="T1" fmla="*/ 2147483647 h 52"/>
              <a:gd name="T2" fmla="*/ 2147483647 w 113"/>
              <a:gd name="T3" fmla="*/ 2147483647 h 52"/>
              <a:gd name="T4" fmla="*/ 2147483647 w 113"/>
              <a:gd name="T5" fmla="*/ 2147483647 h 52"/>
              <a:gd name="T6" fmla="*/ 2147483647 w 113"/>
              <a:gd name="T7" fmla="*/ 2147483647 h 52"/>
              <a:gd name="T8" fmla="*/ 2147483647 w 113"/>
              <a:gd name="T9" fmla="*/ 2147483647 h 52"/>
              <a:gd name="T10" fmla="*/ 2147483647 w 113"/>
              <a:gd name="T11" fmla="*/ 2147483647 h 52"/>
              <a:gd name="T12" fmla="*/ 2147483647 w 113"/>
              <a:gd name="T13" fmla="*/ 2147483647 h 52"/>
              <a:gd name="T14" fmla="*/ 2147483647 w 113"/>
              <a:gd name="T15" fmla="*/ 2147483647 h 52"/>
              <a:gd name="T16" fmla="*/ 2147483647 w 113"/>
              <a:gd name="T17" fmla="*/ 2147483647 h 52"/>
              <a:gd name="T18" fmla="*/ 2147483647 w 113"/>
              <a:gd name="T19" fmla="*/ 2147483647 h 52"/>
              <a:gd name="T20" fmla="*/ 2147483647 w 113"/>
              <a:gd name="T21" fmla="*/ 2147483647 h 52"/>
              <a:gd name="T22" fmla="*/ 2147483647 w 113"/>
              <a:gd name="T23" fmla="*/ 2147483647 h 52"/>
              <a:gd name="T24" fmla="*/ 2147483647 w 113"/>
              <a:gd name="T25" fmla="*/ 2147483647 h 52"/>
              <a:gd name="T26" fmla="*/ 2147483647 w 113"/>
              <a:gd name="T27" fmla="*/ 2147483647 h 52"/>
              <a:gd name="T28" fmla="*/ 2147483647 w 113"/>
              <a:gd name="T29" fmla="*/ 2147483647 h 52"/>
              <a:gd name="T30" fmla="*/ 2147483647 w 113"/>
              <a:gd name="T31" fmla="*/ 2147483647 h 52"/>
              <a:gd name="T32" fmla="*/ 2147483647 w 113"/>
              <a:gd name="T33" fmla="*/ 2147483647 h 52"/>
              <a:gd name="T34" fmla="*/ 2147483647 w 113"/>
              <a:gd name="T35" fmla="*/ 2147483647 h 52"/>
              <a:gd name="T36" fmla="*/ 0 w 113"/>
              <a:gd name="T37" fmla="*/ 2147483647 h 52"/>
              <a:gd name="T38" fmla="*/ 2147483647 w 113"/>
              <a:gd name="T39" fmla="*/ 2147483647 h 52"/>
              <a:gd name="T40" fmla="*/ 2147483647 w 113"/>
              <a:gd name="T41" fmla="*/ 2147483647 h 52"/>
              <a:gd name="T42" fmla="*/ 2147483647 w 113"/>
              <a:gd name="T43" fmla="*/ 2147483647 h 52"/>
              <a:gd name="T44" fmla="*/ 2147483647 w 113"/>
              <a:gd name="T45" fmla="*/ 2147483647 h 52"/>
              <a:gd name="T46" fmla="*/ 2147483647 w 113"/>
              <a:gd name="T47" fmla="*/ 2147483647 h 52"/>
              <a:gd name="T48" fmla="*/ 2147483647 w 113"/>
              <a:gd name="T49" fmla="*/ 2147483647 h 52"/>
              <a:gd name="T50" fmla="*/ 2147483647 w 113"/>
              <a:gd name="T51" fmla="*/ 2147483647 h 52"/>
              <a:gd name="T52" fmla="*/ 2147483647 w 113"/>
              <a:gd name="T53" fmla="*/ 0 h 52"/>
              <a:gd name="T54" fmla="*/ 2147483647 w 113"/>
              <a:gd name="T55" fmla="*/ 0 h 52"/>
              <a:gd name="T56" fmla="*/ 2147483647 w 113"/>
              <a:gd name="T57" fmla="*/ 2147483647 h 52"/>
              <a:gd name="T58" fmla="*/ 2147483647 w 113"/>
              <a:gd name="T59" fmla="*/ 2147483647 h 52"/>
              <a:gd name="T60" fmla="*/ 2147483647 w 113"/>
              <a:gd name="T61" fmla="*/ 2147483647 h 52"/>
              <a:gd name="T62" fmla="*/ 2147483647 w 113"/>
              <a:gd name="T63" fmla="*/ 2147483647 h 52"/>
              <a:gd name="T64" fmla="*/ 2147483647 w 113"/>
              <a:gd name="T65" fmla="*/ 2147483647 h 52"/>
              <a:gd name="T66" fmla="*/ 2147483647 w 113"/>
              <a:gd name="T67" fmla="*/ 2147483647 h 52"/>
              <a:gd name="T68" fmla="*/ 2147483647 w 113"/>
              <a:gd name="T69" fmla="*/ 2147483647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86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103938" y="1707952"/>
            <a:ext cx="61912" cy="58737"/>
          </a:xfrm>
          <a:custGeom>
            <a:avLst/>
            <a:gdLst>
              <a:gd name="T0" fmla="*/ 0 w 139"/>
              <a:gd name="T1" fmla="*/ 2147483647 h 40"/>
              <a:gd name="T2" fmla="*/ 2147483647 w 139"/>
              <a:gd name="T3" fmla="*/ 2147483647 h 40"/>
              <a:gd name="T4" fmla="*/ 2147483647 w 139"/>
              <a:gd name="T5" fmla="*/ 2147483647 h 40"/>
              <a:gd name="T6" fmla="*/ 2147483647 w 139"/>
              <a:gd name="T7" fmla="*/ 2147483647 h 40"/>
              <a:gd name="T8" fmla="*/ 2147483647 w 139"/>
              <a:gd name="T9" fmla="*/ 2147483647 h 40"/>
              <a:gd name="T10" fmla="*/ 2147483647 w 139"/>
              <a:gd name="T11" fmla="*/ 2147483647 h 40"/>
              <a:gd name="T12" fmla="*/ 2147483647 w 139"/>
              <a:gd name="T13" fmla="*/ 2147483647 h 40"/>
              <a:gd name="T14" fmla="*/ 2147483647 w 139"/>
              <a:gd name="T15" fmla="*/ 0 h 40"/>
              <a:gd name="T16" fmla="*/ 2147483647 w 139"/>
              <a:gd name="T17" fmla="*/ 2147483647 h 40"/>
              <a:gd name="T18" fmla="*/ 2147483647 w 139"/>
              <a:gd name="T19" fmla="*/ 2147483647 h 40"/>
              <a:gd name="T20" fmla="*/ 2147483647 w 139"/>
              <a:gd name="T21" fmla="*/ 2147483647 h 40"/>
              <a:gd name="T22" fmla="*/ 2147483647 w 139"/>
              <a:gd name="T23" fmla="*/ 2147483647 h 40"/>
              <a:gd name="T24" fmla="*/ 2147483647 w 139"/>
              <a:gd name="T25" fmla="*/ 2147483647 h 40"/>
              <a:gd name="T26" fmla="*/ 2147483647 w 139"/>
              <a:gd name="T27" fmla="*/ 2147483647 h 40"/>
              <a:gd name="T28" fmla="*/ 2147483647 w 139"/>
              <a:gd name="T29" fmla="*/ 2147483647 h 40"/>
              <a:gd name="T30" fmla="*/ 2147483647 w 139"/>
              <a:gd name="T31" fmla="*/ 2147483647 h 40"/>
              <a:gd name="T32" fmla="*/ 2147483647 w 139"/>
              <a:gd name="T33" fmla="*/ 2147483647 h 40"/>
              <a:gd name="T34" fmla="*/ 2147483647 w 139"/>
              <a:gd name="T35" fmla="*/ 2147483647 h 40"/>
              <a:gd name="T36" fmla="*/ 2147483647 w 139"/>
              <a:gd name="T37" fmla="*/ 2147483647 h 40"/>
              <a:gd name="T38" fmla="*/ 2147483647 w 139"/>
              <a:gd name="T39" fmla="*/ 2147483647 h 40"/>
              <a:gd name="T40" fmla="*/ 2147483647 w 139"/>
              <a:gd name="T41" fmla="*/ 2147483647 h 40"/>
              <a:gd name="T42" fmla="*/ 0 w 139"/>
              <a:gd name="T43" fmla="*/ 21474836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87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403975" y="1649214"/>
            <a:ext cx="139700" cy="57150"/>
          </a:xfrm>
          <a:custGeom>
            <a:avLst/>
            <a:gdLst>
              <a:gd name="T0" fmla="*/ 2147483647 w 325"/>
              <a:gd name="T1" fmla="*/ 2147483647 h 71"/>
              <a:gd name="T2" fmla="*/ 2147483647 w 325"/>
              <a:gd name="T3" fmla="*/ 2147483647 h 71"/>
              <a:gd name="T4" fmla="*/ 2147483647 w 325"/>
              <a:gd name="T5" fmla="*/ 0 h 71"/>
              <a:gd name="T6" fmla="*/ 2147483647 w 325"/>
              <a:gd name="T7" fmla="*/ 2147483647 h 71"/>
              <a:gd name="T8" fmla="*/ 2147483647 w 325"/>
              <a:gd name="T9" fmla="*/ 2147483647 h 71"/>
              <a:gd name="T10" fmla="*/ 2147483647 w 325"/>
              <a:gd name="T11" fmla="*/ 2147483647 h 71"/>
              <a:gd name="T12" fmla="*/ 2147483647 w 325"/>
              <a:gd name="T13" fmla="*/ 2147483647 h 71"/>
              <a:gd name="T14" fmla="*/ 2147483647 w 325"/>
              <a:gd name="T15" fmla="*/ 2147483647 h 71"/>
              <a:gd name="T16" fmla="*/ 2147483647 w 325"/>
              <a:gd name="T17" fmla="*/ 2147483647 h 71"/>
              <a:gd name="T18" fmla="*/ 2147483647 w 325"/>
              <a:gd name="T19" fmla="*/ 2147483647 h 71"/>
              <a:gd name="T20" fmla="*/ 2147483647 w 325"/>
              <a:gd name="T21" fmla="*/ 2147483647 h 71"/>
              <a:gd name="T22" fmla="*/ 2147483647 w 325"/>
              <a:gd name="T23" fmla="*/ 2147483647 h 71"/>
              <a:gd name="T24" fmla="*/ 2147483647 w 325"/>
              <a:gd name="T25" fmla="*/ 2147483647 h 71"/>
              <a:gd name="T26" fmla="*/ 2147483647 w 325"/>
              <a:gd name="T27" fmla="*/ 2147483647 h 71"/>
              <a:gd name="T28" fmla="*/ 2147483647 w 325"/>
              <a:gd name="T29" fmla="*/ 2147483647 h 71"/>
              <a:gd name="T30" fmla="*/ 2147483647 w 325"/>
              <a:gd name="T31" fmla="*/ 2147483647 h 71"/>
              <a:gd name="T32" fmla="*/ 2147483647 w 325"/>
              <a:gd name="T33" fmla="*/ 2147483647 h 71"/>
              <a:gd name="T34" fmla="*/ 2147483647 w 325"/>
              <a:gd name="T35" fmla="*/ 2147483647 h 71"/>
              <a:gd name="T36" fmla="*/ 2147483647 w 325"/>
              <a:gd name="T37" fmla="*/ 2147483647 h 71"/>
              <a:gd name="T38" fmla="*/ 2147483647 w 325"/>
              <a:gd name="T39" fmla="*/ 2147483647 h 71"/>
              <a:gd name="T40" fmla="*/ 2147483647 w 325"/>
              <a:gd name="T41" fmla="*/ 2147483647 h 71"/>
              <a:gd name="T42" fmla="*/ 2147483647 w 325"/>
              <a:gd name="T43" fmla="*/ 2147483647 h 71"/>
              <a:gd name="T44" fmla="*/ 2147483647 w 325"/>
              <a:gd name="T45" fmla="*/ 2147483647 h 71"/>
              <a:gd name="T46" fmla="*/ 2147483647 w 325"/>
              <a:gd name="T47" fmla="*/ 2147483647 h 71"/>
              <a:gd name="T48" fmla="*/ 2147483647 w 325"/>
              <a:gd name="T49" fmla="*/ 2147483647 h 71"/>
              <a:gd name="T50" fmla="*/ 2147483647 w 325"/>
              <a:gd name="T51" fmla="*/ 2147483647 h 71"/>
              <a:gd name="T52" fmla="*/ 2147483647 w 325"/>
              <a:gd name="T53" fmla="*/ 2147483647 h 71"/>
              <a:gd name="T54" fmla="*/ 2147483647 w 325"/>
              <a:gd name="T55" fmla="*/ 2147483647 h 71"/>
              <a:gd name="T56" fmla="*/ 2147483647 w 325"/>
              <a:gd name="T57" fmla="*/ 2147483647 h 71"/>
              <a:gd name="T58" fmla="*/ 2147483647 w 325"/>
              <a:gd name="T59" fmla="*/ 2147483647 h 71"/>
              <a:gd name="T60" fmla="*/ 2147483647 w 325"/>
              <a:gd name="T61" fmla="*/ 2147483647 h 71"/>
              <a:gd name="T62" fmla="*/ 0 w 325"/>
              <a:gd name="T63" fmla="*/ 2147483647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88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564313" y="1657152"/>
            <a:ext cx="95250" cy="57150"/>
          </a:xfrm>
          <a:custGeom>
            <a:avLst/>
            <a:gdLst>
              <a:gd name="T0" fmla="*/ 2147483647 w 220"/>
              <a:gd name="T1" fmla="*/ 2147483647 h 72"/>
              <a:gd name="T2" fmla="*/ 2147483647 w 220"/>
              <a:gd name="T3" fmla="*/ 2147483647 h 72"/>
              <a:gd name="T4" fmla="*/ 2147483647 w 220"/>
              <a:gd name="T5" fmla="*/ 2147483647 h 72"/>
              <a:gd name="T6" fmla="*/ 2147483647 w 220"/>
              <a:gd name="T7" fmla="*/ 2147483647 h 72"/>
              <a:gd name="T8" fmla="*/ 2147483647 w 220"/>
              <a:gd name="T9" fmla="*/ 2147483647 h 72"/>
              <a:gd name="T10" fmla="*/ 2147483647 w 220"/>
              <a:gd name="T11" fmla="*/ 2147483647 h 72"/>
              <a:gd name="T12" fmla="*/ 2147483647 w 220"/>
              <a:gd name="T13" fmla="*/ 2147483647 h 72"/>
              <a:gd name="T14" fmla="*/ 2147483647 w 220"/>
              <a:gd name="T15" fmla="*/ 2147483647 h 72"/>
              <a:gd name="T16" fmla="*/ 2147483647 w 220"/>
              <a:gd name="T17" fmla="*/ 2147483647 h 72"/>
              <a:gd name="T18" fmla="*/ 2147483647 w 220"/>
              <a:gd name="T19" fmla="*/ 2147483647 h 72"/>
              <a:gd name="T20" fmla="*/ 2147483647 w 220"/>
              <a:gd name="T21" fmla="*/ 2147483647 h 72"/>
              <a:gd name="T22" fmla="*/ 2147483647 w 220"/>
              <a:gd name="T23" fmla="*/ 2147483647 h 72"/>
              <a:gd name="T24" fmla="*/ 2147483647 w 220"/>
              <a:gd name="T25" fmla="*/ 2147483647 h 72"/>
              <a:gd name="T26" fmla="*/ 2147483647 w 220"/>
              <a:gd name="T27" fmla="*/ 2147483647 h 72"/>
              <a:gd name="T28" fmla="*/ 2147483647 w 220"/>
              <a:gd name="T29" fmla="*/ 0 h 72"/>
              <a:gd name="T30" fmla="*/ 2147483647 w 220"/>
              <a:gd name="T31" fmla="*/ 2147483647 h 72"/>
              <a:gd name="T32" fmla="*/ 2147483647 w 220"/>
              <a:gd name="T33" fmla="*/ 2147483647 h 72"/>
              <a:gd name="T34" fmla="*/ 2147483647 w 220"/>
              <a:gd name="T35" fmla="*/ 2147483647 h 72"/>
              <a:gd name="T36" fmla="*/ 2147483647 w 220"/>
              <a:gd name="T37" fmla="*/ 2147483647 h 72"/>
              <a:gd name="T38" fmla="*/ 2147483647 w 220"/>
              <a:gd name="T39" fmla="*/ 2147483647 h 72"/>
              <a:gd name="T40" fmla="*/ 2147483647 w 220"/>
              <a:gd name="T41" fmla="*/ 2147483647 h 72"/>
              <a:gd name="T42" fmla="*/ 2147483647 w 220"/>
              <a:gd name="T43" fmla="*/ 2147483647 h 72"/>
              <a:gd name="T44" fmla="*/ 2147483647 w 220"/>
              <a:gd name="T45" fmla="*/ 2147483647 h 72"/>
              <a:gd name="T46" fmla="*/ 2147483647 w 220"/>
              <a:gd name="T47" fmla="*/ 2147483647 h 72"/>
              <a:gd name="T48" fmla="*/ 2147483647 w 220"/>
              <a:gd name="T49" fmla="*/ 2147483647 h 72"/>
              <a:gd name="T50" fmla="*/ 2147483647 w 220"/>
              <a:gd name="T51" fmla="*/ 2147483647 h 72"/>
              <a:gd name="T52" fmla="*/ 2147483647 w 220"/>
              <a:gd name="T53" fmla="*/ 2147483647 h 72"/>
              <a:gd name="T54" fmla="*/ 2147483647 w 220"/>
              <a:gd name="T55" fmla="*/ 2147483647 h 72"/>
              <a:gd name="T56" fmla="*/ 2147483647 w 220"/>
              <a:gd name="T57" fmla="*/ 2147483647 h 72"/>
              <a:gd name="T58" fmla="*/ 2147483647 w 220"/>
              <a:gd name="T59" fmla="*/ 2147483647 h 72"/>
              <a:gd name="T60" fmla="*/ 2147483647 w 220"/>
              <a:gd name="T61" fmla="*/ 2147483647 h 72"/>
              <a:gd name="T62" fmla="*/ 2147483647 w 220"/>
              <a:gd name="T63" fmla="*/ 2147483647 h 72"/>
              <a:gd name="T64" fmla="*/ 2147483647 w 220"/>
              <a:gd name="T65" fmla="*/ 2147483647 h 72"/>
              <a:gd name="T66" fmla="*/ 2147483647 w 220"/>
              <a:gd name="T67" fmla="*/ 2147483647 h 72"/>
              <a:gd name="T68" fmla="*/ 2147483647 w 220"/>
              <a:gd name="T69" fmla="*/ 2147483647 h 72"/>
              <a:gd name="T70" fmla="*/ 2147483647 w 220"/>
              <a:gd name="T71" fmla="*/ 2147483647 h 72"/>
              <a:gd name="T72" fmla="*/ 2147483647 w 220"/>
              <a:gd name="T73" fmla="*/ 2147483647 h 72"/>
              <a:gd name="T74" fmla="*/ 2147483647 w 220"/>
              <a:gd name="T75" fmla="*/ 2147483647 h 72"/>
              <a:gd name="T76" fmla="*/ 2147483647 w 220"/>
              <a:gd name="T77" fmla="*/ 2147483647 h 72"/>
              <a:gd name="T78" fmla="*/ 2147483647 w 220"/>
              <a:gd name="T79" fmla="*/ 2147483647 h 72"/>
              <a:gd name="T80" fmla="*/ 2147483647 w 220"/>
              <a:gd name="T81" fmla="*/ 2147483647 h 72"/>
              <a:gd name="T82" fmla="*/ 2147483647 w 220"/>
              <a:gd name="T83" fmla="*/ 2147483647 h 72"/>
              <a:gd name="T84" fmla="*/ 2147483647 w 220"/>
              <a:gd name="T85" fmla="*/ 2147483647 h 72"/>
              <a:gd name="T86" fmla="*/ 2147483647 w 220"/>
              <a:gd name="T87" fmla="*/ 2147483647 h 72"/>
              <a:gd name="T88" fmla="*/ 2147483647 w 220"/>
              <a:gd name="T89" fmla="*/ 2147483647 h 72"/>
              <a:gd name="T90" fmla="*/ 2147483647 w 220"/>
              <a:gd name="T91" fmla="*/ 2147483647 h 72"/>
              <a:gd name="T92" fmla="*/ 2147483647 w 220"/>
              <a:gd name="T93" fmla="*/ 2147483647 h 72"/>
              <a:gd name="T94" fmla="*/ 2147483647 w 220"/>
              <a:gd name="T95" fmla="*/ 2147483647 h 72"/>
              <a:gd name="T96" fmla="*/ 2147483647 w 220"/>
              <a:gd name="T97" fmla="*/ 2147483647 h 72"/>
              <a:gd name="T98" fmla="*/ 2147483647 w 220"/>
              <a:gd name="T99" fmla="*/ 2147483647 h 72"/>
              <a:gd name="T100" fmla="*/ 2147483647 w 220"/>
              <a:gd name="T101" fmla="*/ 2147483647 h 72"/>
              <a:gd name="T102" fmla="*/ 2147483647 w 220"/>
              <a:gd name="T103" fmla="*/ 2147483647 h 72"/>
              <a:gd name="T104" fmla="*/ 0 w 220"/>
              <a:gd name="T105" fmla="*/ 2147483647 h 72"/>
              <a:gd name="T106" fmla="*/ 2147483647 w 220"/>
              <a:gd name="T107" fmla="*/ 2147483647 h 72"/>
              <a:gd name="T108" fmla="*/ 2147483647 w 220"/>
              <a:gd name="T109" fmla="*/ 2147483647 h 72"/>
              <a:gd name="T110" fmla="*/ 2147483647 w 220"/>
              <a:gd name="T111" fmla="*/ 2147483647 h 72"/>
              <a:gd name="T112" fmla="*/ 2147483647 w 220"/>
              <a:gd name="T113" fmla="*/ 2147483647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89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524625" y="1704777"/>
            <a:ext cx="63500" cy="58737"/>
          </a:xfrm>
          <a:custGeom>
            <a:avLst/>
            <a:gdLst>
              <a:gd name="T0" fmla="*/ 2147483647 w 146"/>
              <a:gd name="T1" fmla="*/ 2147483647 h 30"/>
              <a:gd name="T2" fmla="*/ 2147483647 w 146"/>
              <a:gd name="T3" fmla="*/ 2147483647 h 30"/>
              <a:gd name="T4" fmla="*/ 2147483647 w 146"/>
              <a:gd name="T5" fmla="*/ 2147483647 h 30"/>
              <a:gd name="T6" fmla="*/ 2147483647 w 146"/>
              <a:gd name="T7" fmla="*/ 2147483647 h 30"/>
              <a:gd name="T8" fmla="*/ 2147483647 w 146"/>
              <a:gd name="T9" fmla="*/ 2147483647 h 30"/>
              <a:gd name="T10" fmla="*/ 2147483647 w 146"/>
              <a:gd name="T11" fmla="*/ 2147483647 h 30"/>
              <a:gd name="T12" fmla="*/ 2147483647 w 146"/>
              <a:gd name="T13" fmla="*/ 2147483647 h 30"/>
              <a:gd name="T14" fmla="*/ 2147483647 w 146"/>
              <a:gd name="T15" fmla="*/ 2147483647 h 30"/>
              <a:gd name="T16" fmla="*/ 2147483647 w 146"/>
              <a:gd name="T17" fmla="*/ 2147483647 h 30"/>
              <a:gd name="T18" fmla="*/ 2147483647 w 146"/>
              <a:gd name="T19" fmla="*/ 2147483647 h 30"/>
              <a:gd name="T20" fmla="*/ 2147483647 w 146"/>
              <a:gd name="T21" fmla="*/ 2147483647 h 30"/>
              <a:gd name="T22" fmla="*/ 2147483647 w 146"/>
              <a:gd name="T23" fmla="*/ 2147483647 h 30"/>
              <a:gd name="T24" fmla="*/ 2147483647 w 146"/>
              <a:gd name="T25" fmla="*/ 2147483647 h 30"/>
              <a:gd name="T26" fmla="*/ 2147483647 w 146"/>
              <a:gd name="T27" fmla="*/ 2147483647 h 30"/>
              <a:gd name="T28" fmla="*/ 2147483647 w 146"/>
              <a:gd name="T29" fmla="*/ 2147483647 h 30"/>
              <a:gd name="T30" fmla="*/ 2147483647 w 146"/>
              <a:gd name="T31" fmla="*/ 2147483647 h 30"/>
              <a:gd name="T32" fmla="*/ 2147483647 w 146"/>
              <a:gd name="T33" fmla="*/ 2147483647 h 30"/>
              <a:gd name="T34" fmla="*/ 2147483647 w 146"/>
              <a:gd name="T35" fmla="*/ 0 h 30"/>
              <a:gd name="T36" fmla="*/ 2147483647 w 146"/>
              <a:gd name="T37" fmla="*/ 2147483647 h 30"/>
              <a:gd name="T38" fmla="*/ 2147483647 w 146"/>
              <a:gd name="T39" fmla="*/ 2147483647 h 30"/>
              <a:gd name="T40" fmla="*/ 2147483647 w 146"/>
              <a:gd name="T41" fmla="*/ 2147483647 h 30"/>
              <a:gd name="T42" fmla="*/ 0 w 146"/>
              <a:gd name="T43" fmla="*/ 2147483647 h 30"/>
              <a:gd name="T44" fmla="*/ 2147483647 w 146"/>
              <a:gd name="T45" fmla="*/ 2147483647 h 30"/>
              <a:gd name="T46" fmla="*/ 2147483647 w 146"/>
              <a:gd name="T47" fmla="*/ 2147483647 h 30"/>
              <a:gd name="T48" fmla="*/ 2147483647 w 146"/>
              <a:gd name="T49" fmla="*/ 2147483647 h 30"/>
              <a:gd name="T50" fmla="*/ 2147483647 w 146"/>
              <a:gd name="T51" fmla="*/ 2147483647 h 30"/>
              <a:gd name="T52" fmla="*/ 2147483647 w 146"/>
              <a:gd name="T53" fmla="*/ 2147483647 h 30"/>
              <a:gd name="T54" fmla="*/ 2147483647 w 146"/>
              <a:gd name="T55" fmla="*/ 2147483647 h 30"/>
              <a:gd name="T56" fmla="*/ 2147483647 w 146"/>
              <a:gd name="T57" fmla="*/ 2147483647 h 30"/>
              <a:gd name="T58" fmla="*/ 2147483647 w 146"/>
              <a:gd name="T59" fmla="*/ 2147483647 h 30"/>
              <a:gd name="T60" fmla="*/ 2147483647 w 146"/>
              <a:gd name="T61" fmla="*/ 2147483647 h 30"/>
              <a:gd name="T62" fmla="*/ 2147483647 w 146"/>
              <a:gd name="T63" fmla="*/ 2147483647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90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503988" y="1701602"/>
            <a:ext cx="20637" cy="58737"/>
          </a:xfrm>
          <a:custGeom>
            <a:avLst/>
            <a:gdLst>
              <a:gd name="T0" fmla="*/ 0 w 53"/>
              <a:gd name="T1" fmla="*/ 2147483647 h 9"/>
              <a:gd name="T2" fmla="*/ 2147483647 w 53"/>
              <a:gd name="T3" fmla="*/ 2147483647 h 9"/>
              <a:gd name="T4" fmla="*/ 2147483647 w 53"/>
              <a:gd name="T5" fmla="*/ 2147483647 h 9"/>
              <a:gd name="T6" fmla="*/ 2147483647 w 53"/>
              <a:gd name="T7" fmla="*/ 2147483647 h 9"/>
              <a:gd name="T8" fmla="*/ 2147483647 w 53"/>
              <a:gd name="T9" fmla="*/ 2147483647 h 9"/>
              <a:gd name="T10" fmla="*/ 2147483647 w 53"/>
              <a:gd name="T11" fmla="*/ 2147483647 h 9"/>
              <a:gd name="T12" fmla="*/ 2147483647 w 53"/>
              <a:gd name="T13" fmla="*/ 2147483647 h 9"/>
              <a:gd name="T14" fmla="*/ 2147483647 w 53"/>
              <a:gd name="T15" fmla="*/ 2147483647 h 9"/>
              <a:gd name="T16" fmla="*/ 2147483647 w 53"/>
              <a:gd name="T17" fmla="*/ 0 h 9"/>
              <a:gd name="T18" fmla="*/ 2147483647 w 53"/>
              <a:gd name="T19" fmla="*/ 0 h 9"/>
              <a:gd name="T20" fmla="*/ 2147483647 w 53"/>
              <a:gd name="T21" fmla="*/ 0 h 9"/>
              <a:gd name="T22" fmla="*/ 2147483647 w 53"/>
              <a:gd name="T23" fmla="*/ 2147483647 h 9"/>
              <a:gd name="T24" fmla="*/ 2147483647 w 53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91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505575" y="1700014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92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675313" y="1628577"/>
            <a:ext cx="11112" cy="55562"/>
          </a:xfrm>
          <a:custGeom>
            <a:avLst/>
            <a:gdLst>
              <a:gd name="T0" fmla="*/ 0 w 26"/>
              <a:gd name="T1" fmla="*/ 2147483647 h 25"/>
              <a:gd name="T2" fmla="*/ 2147483647 w 26"/>
              <a:gd name="T3" fmla="*/ 2147483647 h 25"/>
              <a:gd name="T4" fmla="*/ 2147483647 w 26"/>
              <a:gd name="T5" fmla="*/ 2147483647 h 25"/>
              <a:gd name="T6" fmla="*/ 2147483647 w 26"/>
              <a:gd name="T7" fmla="*/ 2147483647 h 25"/>
              <a:gd name="T8" fmla="*/ 2147483647 w 26"/>
              <a:gd name="T9" fmla="*/ 2147483647 h 25"/>
              <a:gd name="T10" fmla="*/ 2147483647 w 26"/>
              <a:gd name="T11" fmla="*/ 2147483647 h 25"/>
              <a:gd name="T12" fmla="*/ 2147483647 w 26"/>
              <a:gd name="T13" fmla="*/ 0 h 25"/>
              <a:gd name="T14" fmla="*/ 2147483647 w 26"/>
              <a:gd name="T15" fmla="*/ 2147483647 h 25"/>
              <a:gd name="T16" fmla="*/ 2147483647 w 26"/>
              <a:gd name="T17" fmla="*/ 2147483647 h 25"/>
              <a:gd name="T18" fmla="*/ 2147483647 w 26"/>
              <a:gd name="T19" fmla="*/ 2147483647 h 25"/>
              <a:gd name="T20" fmla="*/ 0 w 26"/>
              <a:gd name="T21" fmla="*/ 2147483647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93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424613" y="1700014"/>
            <a:ext cx="9525" cy="57150"/>
          </a:xfrm>
          <a:custGeom>
            <a:avLst/>
            <a:gdLst>
              <a:gd name="T0" fmla="*/ 2147483647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0 h 25"/>
              <a:gd name="T6" fmla="*/ 0 w 33"/>
              <a:gd name="T7" fmla="*/ 0 h 25"/>
              <a:gd name="T8" fmla="*/ 2147483647 w 33"/>
              <a:gd name="T9" fmla="*/ 2147483647 h 25"/>
              <a:gd name="T10" fmla="*/ 2147483647 w 33"/>
              <a:gd name="T11" fmla="*/ 2147483647 h 25"/>
              <a:gd name="T12" fmla="*/ 2147483647 w 33"/>
              <a:gd name="T13" fmla="*/ 2147483647 h 25"/>
              <a:gd name="T14" fmla="*/ 2147483647 w 33"/>
              <a:gd name="T15" fmla="*/ 2147483647 h 25"/>
              <a:gd name="T16" fmla="*/ 2147483647 w 33"/>
              <a:gd name="T17" fmla="*/ 2147483647 h 25"/>
              <a:gd name="T18" fmla="*/ 2147483647 w 33"/>
              <a:gd name="T19" fmla="*/ 2147483647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94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378575" y="1663502"/>
            <a:ext cx="9525" cy="57150"/>
          </a:xfrm>
          <a:custGeom>
            <a:avLst/>
            <a:gdLst>
              <a:gd name="T0" fmla="*/ 0 w 20"/>
              <a:gd name="T1" fmla="*/ 0 h 18"/>
              <a:gd name="T2" fmla="*/ 2147483647 w 20"/>
              <a:gd name="T3" fmla="*/ 2147483647 h 18"/>
              <a:gd name="T4" fmla="*/ 2147483647 w 20"/>
              <a:gd name="T5" fmla="*/ 2147483647 h 18"/>
              <a:gd name="T6" fmla="*/ 2147483647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95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878638" y="2233414"/>
            <a:ext cx="12700" cy="58738"/>
          </a:xfrm>
          <a:custGeom>
            <a:avLst/>
            <a:gdLst>
              <a:gd name="T0" fmla="*/ 0 w 33"/>
              <a:gd name="T1" fmla="*/ 2147483647 h 31"/>
              <a:gd name="T2" fmla="*/ 0 w 33"/>
              <a:gd name="T3" fmla="*/ 0 h 31"/>
              <a:gd name="T4" fmla="*/ 2147483647 w 33"/>
              <a:gd name="T5" fmla="*/ 0 h 31"/>
              <a:gd name="T6" fmla="*/ 2147483647 w 33"/>
              <a:gd name="T7" fmla="*/ 0 h 31"/>
              <a:gd name="T8" fmla="*/ 2147483647 w 33"/>
              <a:gd name="T9" fmla="*/ 0 h 31"/>
              <a:gd name="T10" fmla="*/ 2147483647 w 33"/>
              <a:gd name="T11" fmla="*/ 0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2147483647 w 33"/>
              <a:gd name="T19" fmla="*/ 2147483647 h 31"/>
              <a:gd name="T20" fmla="*/ 2147483647 w 33"/>
              <a:gd name="T21" fmla="*/ 2147483647 h 31"/>
              <a:gd name="T22" fmla="*/ 2147483647 w 33"/>
              <a:gd name="T23" fmla="*/ 2147483647 h 31"/>
              <a:gd name="T24" fmla="*/ 2147483647 w 33"/>
              <a:gd name="T25" fmla="*/ 2147483647 h 31"/>
              <a:gd name="T26" fmla="*/ 2147483647 w 33"/>
              <a:gd name="T27" fmla="*/ 2147483647 h 31"/>
              <a:gd name="T28" fmla="*/ 0 w 33"/>
              <a:gd name="T29" fmla="*/ 2147483647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96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172325" y="1755577"/>
            <a:ext cx="55563" cy="58737"/>
          </a:xfrm>
          <a:custGeom>
            <a:avLst/>
            <a:gdLst>
              <a:gd name="T0" fmla="*/ 2147483647 w 129"/>
              <a:gd name="T1" fmla="*/ 2147483647 h 56"/>
              <a:gd name="T2" fmla="*/ 2147483647 w 129"/>
              <a:gd name="T3" fmla="*/ 2147483647 h 56"/>
              <a:gd name="T4" fmla="*/ 2147483647 w 129"/>
              <a:gd name="T5" fmla="*/ 2147483647 h 56"/>
              <a:gd name="T6" fmla="*/ 0 w 129"/>
              <a:gd name="T7" fmla="*/ 2147483647 h 56"/>
              <a:gd name="T8" fmla="*/ 2147483647 w 129"/>
              <a:gd name="T9" fmla="*/ 2147483647 h 56"/>
              <a:gd name="T10" fmla="*/ 2147483647 w 129"/>
              <a:gd name="T11" fmla="*/ 2147483647 h 56"/>
              <a:gd name="T12" fmla="*/ 2147483647 w 129"/>
              <a:gd name="T13" fmla="*/ 2147483647 h 56"/>
              <a:gd name="T14" fmla="*/ 2147483647 w 129"/>
              <a:gd name="T15" fmla="*/ 2147483647 h 56"/>
              <a:gd name="T16" fmla="*/ 2147483647 w 129"/>
              <a:gd name="T17" fmla="*/ 2147483647 h 56"/>
              <a:gd name="T18" fmla="*/ 2147483647 w 129"/>
              <a:gd name="T19" fmla="*/ 2147483647 h 56"/>
              <a:gd name="T20" fmla="*/ 2147483647 w 129"/>
              <a:gd name="T21" fmla="*/ 2147483647 h 56"/>
              <a:gd name="T22" fmla="*/ 2147483647 w 129"/>
              <a:gd name="T23" fmla="*/ 2147483647 h 56"/>
              <a:gd name="T24" fmla="*/ 2147483647 w 129"/>
              <a:gd name="T25" fmla="*/ 0 h 56"/>
              <a:gd name="T26" fmla="*/ 2147483647 w 129"/>
              <a:gd name="T27" fmla="*/ 2147483647 h 56"/>
              <a:gd name="T28" fmla="*/ 2147483647 w 129"/>
              <a:gd name="T29" fmla="*/ 2147483647 h 56"/>
              <a:gd name="T30" fmla="*/ 2147483647 w 129"/>
              <a:gd name="T31" fmla="*/ 2147483647 h 56"/>
              <a:gd name="T32" fmla="*/ 2147483647 w 129"/>
              <a:gd name="T33" fmla="*/ 2147483647 h 56"/>
              <a:gd name="T34" fmla="*/ 2147483647 w 129"/>
              <a:gd name="T35" fmla="*/ 2147483647 h 56"/>
              <a:gd name="T36" fmla="*/ 2147483647 w 129"/>
              <a:gd name="T37" fmla="*/ 2147483647 h 56"/>
              <a:gd name="T38" fmla="*/ 2147483647 w 129"/>
              <a:gd name="T39" fmla="*/ 2147483647 h 56"/>
              <a:gd name="T40" fmla="*/ 2147483647 w 129"/>
              <a:gd name="T41" fmla="*/ 2147483647 h 56"/>
              <a:gd name="T42" fmla="*/ 2147483647 w 129"/>
              <a:gd name="T43" fmla="*/ 2147483647 h 56"/>
              <a:gd name="T44" fmla="*/ 2147483647 w 129"/>
              <a:gd name="T45" fmla="*/ 2147483647 h 56"/>
              <a:gd name="T46" fmla="*/ 2147483647 w 129"/>
              <a:gd name="T47" fmla="*/ 2147483647 h 56"/>
              <a:gd name="T48" fmla="*/ 2147483647 w 129"/>
              <a:gd name="T49" fmla="*/ 2147483647 h 56"/>
              <a:gd name="T50" fmla="*/ 2147483647 w 129"/>
              <a:gd name="T51" fmla="*/ 2147483647 h 56"/>
              <a:gd name="T52" fmla="*/ 2147483647 w 129"/>
              <a:gd name="T53" fmla="*/ 2147483647 h 56"/>
              <a:gd name="T54" fmla="*/ 2147483647 w 129"/>
              <a:gd name="T55" fmla="*/ 2147483647 h 56"/>
              <a:gd name="T56" fmla="*/ 2147483647 w 129"/>
              <a:gd name="T57" fmla="*/ 2147483647 h 56"/>
              <a:gd name="T58" fmla="*/ 2147483647 w 129"/>
              <a:gd name="T59" fmla="*/ 2147483647 h 56"/>
              <a:gd name="T60" fmla="*/ 2147483647 w 129"/>
              <a:gd name="T61" fmla="*/ 2147483647 h 56"/>
              <a:gd name="T62" fmla="*/ 2147483647 w 129"/>
              <a:gd name="T63" fmla="*/ 2147483647 h 56"/>
              <a:gd name="T64" fmla="*/ 2147483647 w 129"/>
              <a:gd name="T65" fmla="*/ 2147483647 h 56"/>
              <a:gd name="T66" fmla="*/ 2147483647 w 129"/>
              <a:gd name="T67" fmla="*/ 2147483647 h 56"/>
              <a:gd name="T68" fmla="*/ 2147483647 w 129"/>
              <a:gd name="T69" fmla="*/ 2147483647 h 56"/>
              <a:gd name="T70" fmla="*/ 2147483647 w 129"/>
              <a:gd name="T71" fmla="*/ 2147483647 h 56"/>
              <a:gd name="T72" fmla="*/ 2147483647 w 129"/>
              <a:gd name="T73" fmla="*/ 2147483647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97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308850" y="2108002"/>
            <a:ext cx="14288" cy="57150"/>
          </a:xfrm>
          <a:custGeom>
            <a:avLst/>
            <a:gdLst>
              <a:gd name="T0" fmla="*/ 2147483647 w 41"/>
              <a:gd name="T1" fmla="*/ 2147483647 h 42"/>
              <a:gd name="T2" fmla="*/ 0 w 41"/>
              <a:gd name="T3" fmla="*/ 2147483647 h 42"/>
              <a:gd name="T4" fmla="*/ 0 w 41"/>
              <a:gd name="T5" fmla="*/ 2147483647 h 42"/>
              <a:gd name="T6" fmla="*/ 2147483647 w 41"/>
              <a:gd name="T7" fmla="*/ 2147483647 h 42"/>
              <a:gd name="T8" fmla="*/ 2147483647 w 41"/>
              <a:gd name="T9" fmla="*/ 2147483647 h 42"/>
              <a:gd name="T10" fmla="*/ 2147483647 w 41"/>
              <a:gd name="T11" fmla="*/ 2147483647 h 42"/>
              <a:gd name="T12" fmla="*/ 2147483647 w 41"/>
              <a:gd name="T13" fmla="*/ 0 h 42"/>
              <a:gd name="T14" fmla="*/ 2147483647 w 41"/>
              <a:gd name="T15" fmla="*/ 2147483647 h 42"/>
              <a:gd name="T16" fmla="*/ 2147483647 w 41"/>
              <a:gd name="T17" fmla="*/ 2147483647 h 42"/>
              <a:gd name="T18" fmla="*/ 2147483647 w 41"/>
              <a:gd name="T19" fmla="*/ 2147483647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98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458075" y="2220714"/>
            <a:ext cx="42863" cy="60325"/>
          </a:xfrm>
          <a:custGeom>
            <a:avLst/>
            <a:gdLst>
              <a:gd name="T0" fmla="*/ 2147483647 w 93"/>
              <a:gd name="T1" fmla="*/ 2147483647 h 39"/>
              <a:gd name="T2" fmla="*/ 2147483647 w 93"/>
              <a:gd name="T3" fmla="*/ 2147483647 h 39"/>
              <a:gd name="T4" fmla="*/ 2147483647 w 93"/>
              <a:gd name="T5" fmla="*/ 2147483647 h 39"/>
              <a:gd name="T6" fmla="*/ 2147483647 w 93"/>
              <a:gd name="T7" fmla="*/ 2147483647 h 39"/>
              <a:gd name="T8" fmla="*/ 2147483647 w 93"/>
              <a:gd name="T9" fmla="*/ 2147483647 h 39"/>
              <a:gd name="T10" fmla="*/ 2147483647 w 93"/>
              <a:gd name="T11" fmla="*/ 2147483647 h 39"/>
              <a:gd name="T12" fmla="*/ 2147483647 w 93"/>
              <a:gd name="T13" fmla="*/ 2147483647 h 39"/>
              <a:gd name="T14" fmla="*/ 2147483647 w 93"/>
              <a:gd name="T15" fmla="*/ 2147483647 h 39"/>
              <a:gd name="T16" fmla="*/ 2147483647 w 93"/>
              <a:gd name="T17" fmla="*/ 2147483647 h 39"/>
              <a:gd name="T18" fmla="*/ 2147483647 w 93"/>
              <a:gd name="T19" fmla="*/ 2147483647 h 39"/>
              <a:gd name="T20" fmla="*/ 2147483647 w 93"/>
              <a:gd name="T21" fmla="*/ 2147483647 h 39"/>
              <a:gd name="T22" fmla="*/ 2147483647 w 93"/>
              <a:gd name="T23" fmla="*/ 2147483647 h 39"/>
              <a:gd name="T24" fmla="*/ 2147483647 w 93"/>
              <a:gd name="T25" fmla="*/ 2147483647 h 39"/>
              <a:gd name="T26" fmla="*/ 2147483647 w 93"/>
              <a:gd name="T27" fmla="*/ 2147483647 h 39"/>
              <a:gd name="T28" fmla="*/ 2147483647 w 93"/>
              <a:gd name="T29" fmla="*/ 2147483647 h 39"/>
              <a:gd name="T30" fmla="*/ 0 w 93"/>
              <a:gd name="T31" fmla="*/ 2147483647 h 39"/>
              <a:gd name="T32" fmla="*/ 2147483647 w 93"/>
              <a:gd name="T33" fmla="*/ 2147483647 h 39"/>
              <a:gd name="T34" fmla="*/ 2147483647 w 93"/>
              <a:gd name="T35" fmla="*/ 0 h 39"/>
              <a:gd name="T36" fmla="*/ 2147483647 w 93"/>
              <a:gd name="T37" fmla="*/ 0 h 39"/>
              <a:gd name="T38" fmla="*/ 2147483647 w 93"/>
              <a:gd name="T39" fmla="*/ 2147483647 h 39"/>
              <a:gd name="T40" fmla="*/ 2147483647 w 93"/>
              <a:gd name="T41" fmla="*/ 2147483647 h 39"/>
              <a:gd name="T42" fmla="*/ 2147483647 w 93"/>
              <a:gd name="T43" fmla="*/ 2147483647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99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508875" y="2236589"/>
            <a:ext cx="19050" cy="58738"/>
          </a:xfrm>
          <a:custGeom>
            <a:avLst/>
            <a:gdLst>
              <a:gd name="T0" fmla="*/ 2147483647 w 39"/>
              <a:gd name="T1" fmla="*/ 2147483647 h 19"/>
              <a:gd name="T2" fmla="*/ 2147483647 w 39"/>
              <a:gd name="T3" fmla="*/ 2147483647 h 19"/>
              <a:gd name="T4" fmla="*/ 2147483647 w 39"/>
              <a:gd name="T5" fmla="*/ 2147483647 h 19"/>
              <a:gd name="T6" fmla="*/ 2147483647 w 39"/>
              <a:gd name="T7" fmla="*/ 2147483647 h 19"/>
              <a:gd name="T8" fmla="*/ 2147483647 w 39"/>
              <a:gd name="T9" fmla="*/ 2147483647 h 19"/>
              <a:gd name="T10" fmla="*/ 2147483647 w 39"/>
              <a:gd name="T11" fmla="*/ 2147483647 h 19"/>
              <a:gd name="T12" fmla="*/ 0 w 39"/>
              <a:gd name="T13" fmla="*/ 2147483647 h 19"/>
              <a:gd name="T14" fmla="*/ 0 w 39"/>
              <a:gd name="T15" fmla="*/ 0 h 19"/>
              <a:gd name="T16" fmla="*/ 2147483647 w 39"/>
              <a:gd name="T17" fmla="*/ 2147483647 h 19"/>
              <a:gd name="T18" fmla="*/ 2147483647 w 39"/>
              <a:gd name="T19" fmla="*/ 2147483647 h 19"/>
              <a:gd name="T20" fmla="*/ 2147483647 w 39"/>
              <a:gd name="T21" fmla="*/ 2147483647 h 19"/>
              <a:gd name="T22" fmla="*/ 2147483647 w 39"/>
              <a:gd name="T23" fmla="*/ 2147483647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0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373938" y="2363589"/>
            <a:ext cx="14287" cy="57150"/>
          </a:xfrm>
          <a:custGeom>
            <a:avLst/>
            <a:gdLst>
              <a:gd name="T0" fmla="*/ 0 w 26"/>
              <a:gd name="T1" fmla="*/ 2147483647 h 36"/>
              <a:gd name="T2" fmla="*/ 2147483647 w 26"/>
              <a:gd name="T3" fmla="*/ 2147483647 h 36"/>
              <a:gd name="T4" fmla="*/ 2147483647 w 26"/>
              <a:gd name="T5" fmla="*/ 2147483647 h 36"/>
              <a:gd name="T6" fmla="*/ 2147483647 w 26"/>
              <a:gd name="T7" fmla="*/ 2147483647 h 36"/>
              <a:gd name="T8" fmla="*/ 2147483647 w 26"/>
              <a:gd name="T9" fmla="*/ 0 h 36"/>
              <a:gd name="T10" fmla="*/ 2147483647 w 26"/>
              <a:gd name="T11" fmla="*/ 2147483647 h 36"/>
              <a:gd name="T12" fmla="*/ 2147483647 w 26"/>
              <a:gd name="T13" fmla="*/ 2147483647 h 36"/>
              <a:gd name="T14" fmla="*/ 2147483647 w 26"/>
              <a:gd name="T15" fmla="*/ 2147483647 h 36"/>
              <a:gd name="T16" fmla="*/ 2147483647 w 26"/>
              <a:gd name="T17" fmla="*/ 2147483647 h 36"/>
              <a:gd name="T18" fmla="*/ 2147483647 w 26"/>
              <a:gd name="T19" fmla="*/ 2147483647 h 36"/>
              <a:gd name="T20" fmla="*/ 2147483647 w 26"/>
              <a:gd name="T21" fmla="*/ 2147483647 h 36"/>
              <a:gd name="T22" fmla="*/ 2147483647 w 26"/>
              <a:gd name="T23" fmla="*/ 2147483647 h 36"/>
              <a:gd name="T24" fmla="*/ 2147483647 w 26"/>
              <a:gd name="T25" fmla="*/ 2147483647 h 36"/>
              <a:gd name="T26" fmla="*/ 2147483647 w 26"/>
              <a:gd name="T27" fmla="*/ 2147483647 h 36"/>
              <a:gd name="T28" fmla="*/ 0 w 26"/>
              <a:gd name="T29" fmla="*/ 2147483647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1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385050" y="2392164"/>
            <a:ext cx="3175" cy="60325"/>
          </a:xfrm>
          <a:custGeom>
            <a:avLst/>
            <a:gdLst>
              <a:gd name="T0" fmla="*/ 0 w 6"/>
              <a:gd name="T1" fmla="*/ 2147483647 h 37"/>
              <a:gd name="T2" fmla="*/ 0 w 6"/>
              <a:gd name="T3" fmla="*/ 0 h 37"/>
              <a:gd name="T4" fmla="*/ 2147483647 w 6"/>
              <a:gd name="T5" fmla="*/ 0 h 37"/>
              <a:gd name="T6" fmla="*/ 2147483647 w 6"/>
              <a:gd name="T7" fmla="*/ 2147483647 h 37"/>
              <a:gd name="T8" fmla="*/ 0 w 6"/>
              <a:gd name="T9" fmla="*/ 2147483647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2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372350" y="2474714"/>
            <a:ext cx="9525" cy="55563"/>
          </a:xfrm>
          <a:custGeom>
            <a:avLst/>
            <a:gdLst>
              <a:gd name="T0" fmla="*/ 0 w 20"/>
              <a:gd name="T1" fmla="*/ 2147483647 h 43"/>
              <a:gd name="T2" fmla="*/ 0 w 20"/>
              <a:gd name="T3" fmla="*/ 2147483647 h 43"/>
              <a:gd name="T4" fmla="*/ 0 w 20"/>
              <a:gd name="T5" fmla="*/ 2147483647 h 43"/>
              <a:gd name="T6" fmla="*/ 2147483647 w 20"/>
              <a:gd name="T7" fmla="*/ 2147483647 h 43"/>
              <a:gd name="T8" fmla="*/ 2147483647 w 20"/>
              <a:gd name="T9" fmla="*/ 0 h 43"/>
              <a:gd name="T10" fmla="*/ 2147483647 w 20"/>
              <a:gd name="T11" fmla="*/ 2147483647 h 43"/>
              <a:gd name="T12" fmla="*/ 2147483647 w 20"/>
              <a:gd name="T13" fmla="*/ 2147483647 h 43"/>
              <a:gd name="T14" fmla="*/ 2147483647 w 20"/>
              <a:gd name="T15" fmla="*/ 2147483647 h 43"/>
              <a:gd name="T16" fmla="*/ 2147483647 w 20"/>
              <a:gd name="T17" fmla="*/ 2147483647 h 43"/>
              <a:gd name="T18" fmla="*/ 2147483647 w 20"/>
              <a:gd name="T19" fmla="*/ 2147483647 h 43"/>
              <a:gd name="T20" fmla="*/ 2147483647 w 20"/>
              <a:gd name="T21" fmla="*/ 2147483647 h 43"/>
              <a:gd name="T22" fmla="*/ 2147483647 w 20"/>
              <a:gd name="T23" fmla="*/ 2147483647 h 43"/>
              <a:gd name="T24" fmla="*/ 2147483647 w 20"/>
              <a:gd name="T25" fmla="*/ 2147483647 h 43"/>
              <a:gd name="T26" fmla="*/ 2147483647 w 20"/>
              <a:gd name="T27" fmla="*/ 2147483647 h 43"/>
              <a:gd name="T28" fmla="*/ 2147483647 w 20"/>
              <a:gd name="T29" fmla="*/ 2147483647 h 43"/>
              <a:gd name="T30" fmla="*/ 2147483647 w 20"/>
              <a:gd name="T31" fmla="*/ 2147483647 h 43"/>
              <a:gd name="T32" fmla="*/ 2147483647 w 20"/>
              <a:gd name="T33" fmla="*/ 2147483647 h 43"/>
              <a:gd name="T34" fmla="*/ 2147483647 w 20"/>
              <a:gd name="T35" fmla="*/ 2147483647 h 43"/>
              <a:gd name="T36" fmla="*/ 0 w 20"/>
              <a:gd name="T37" fmla="*/ 2147483647 h 43"/>
              <a:gd name="T38" fmla="*/ 0 w 20"/>
              <a:gd name="T39" fmla="*/ 214748364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3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350125" y="2509639"/>
            <a:ext cx="0" cy="58738"/>
          </a:xfrm>
          <a:custGeom>
            <a:avLst/>
            <a:gdLst>
              <a:gd name="T0" fmla="*/ 2147483647 h 30"/>
              <a:gd name="T1" fmla="*/ 2147483647 h 30"/>
              <a:gd name="T2" fmla="*/ 2147483647 h 30"/>
              <a:gd name="T3" fmla="*/ 2147483647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4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350125" y="2509639"/>
            <a:ext cx="7938" cy="58738"/>
          </a:xfrm>
          <a:custGeom>
            <a:avLst/>
            <a:gdLst>
              <a:gd name="T0" fmla="*/ 0 w 20"/>
              <a:gd name="T1" fmla="*/ 0 h 24"/>
              <a:gd name="T2" fmla="*/ 2147483647 w 20"/>
              <a:gd name="T3" fmla="*/ 0 h 24"/>
              <a:gd name="T4" fmla="*/ 0 w 20"/>
              <a:gd name="T5" fmla="*/ 2147483647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5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104063" y="2096889"/>
            <a:ext cx="17462" cy="60325"/>
          </a:xfrm>
          <a:custGeom>
            <a:avLst/>
            <a:gdLst>
              <a:gd name="T0" fmla="*/ 0 w 46"/>
              <a:gd name="T1" fmla="*/ 0 h 19"/>
              <a:gd name="T2" fmla="*/ 2147483647 w 46"/>
              <a:gd name="T3" fmla="*/ 2147483647 h 19"/>
              <a:gd name="T4" fmla="*/ 2147483647 w 46"/>
              <a:gd name="T5" fmla="*/ 2147483647 h 19"/>
              <a:gd name="T6" fmla="*/ 2147483647 w 46"/>
              <a:gd name="T7" fmla="*/ 2147483647 h 19"/>
              <a:gd name="T8" fmla="*/ 2147483647 w 46"/>
              <a:gd name="T9" fmla="*/ 2147483647 h 19"/>
              <a:gd name="T10" fmla="*/ 2147483647 w 46"/>
              <a:gd name="T11" fmla="*/ 2147483647 h 19"/>
              <a:gd name="T12" fmla="*/ 2147483647 w 46"/>
              <a:gd name="T13" fmla="*/ 2147483647 h 19"/>
              <a:gd name="T14" fmla="*/ 2147483647 w 46"/>
              <a:gd name="T15" fmla="*/ 2147483647 h 19"/>
              <a:gd name="T16" fmla="*/ 2147483647 w 46"/>
              <a:gd name="T17" fmla="*/ 2147483647 h 19"/>
              <a:gd name="T18" fmla="*/ 2147483647 w 46"/>
              <a:gd name="T19" fmla="*/ 2147483647 h 19"/>
              <a:gd name="T20" fmla="*/ 2147483647 w 46"/>
              <a:gd name="T21" fmla="*/ 2147483647 h 19"/>
              <a:gd name="T22" fmla="*/ 2147483647 w 46"/>
              <a:gd name="T23" fmla="*/ 2147483647 h 19"/>
              <a:gd name="T24" fmla="*/ 2147483647 w 46"/>
              <a:gd name="T25" fmla="*/ 2147483647 h 19"/>
              <a:gd name="T26" fmla="*/ 2147483647 w 46"/>
              <a:gd name="T27" fmla="*/ 2147483647 h 19"/>
              <a:gd name="T28" fmla="*/ 2147483647 w 46"/>
              <a:gd name="T29" fmla="*/ 2147483647 h 19"/>
              <a:gd name="T30" fmla="*/ 2147483647 w 46"/>
              <a:gd name="T31" fmla="*/ 2147483647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6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419600" y="2236589"/>
            <a:ext cx="47625" cy="58738"/>
          </a:xfrm>
          <a:custGeom>
            <a:avLst/>
            <a:gdLst>
              <a:gd name="T0" fmla="*/ 2147483647 w 100"/>
              <a:gd name="T1" fmla="*/ 0 h 55"/>
              <a:gd name="T2" fmla="*/ 2147483647 w 100"/>
              <a:gd name="T3" fmla="*/ 2147483647 h 55"/>
              <a:gd name="T4" fmla="*/ 2147483647 w 100"/>
              <a:gd name="T5" fmla="*/ 2147483647 h 55"/>
              <a:gd name="T6" fmla="*/ 2147483647 w 100"/>
              <a:gd name="T7" fmla="*/ 2147483647 h 55"/>
              <a:gd name="T8" fmla="*/ 0 w 100"/>
              <a:gd name="T9" fmla="*/ 2147483647 h 55"/>
              <a:gd name="T10" fmla="*/ 2147483647 w 100"/>
              <a:gd name="T11" fmla="*/ 2147483647 h 55"/>
              <a:gd name="T12" fmla="*/ 2147483647 w 100"/>
              <a:gd name="T13" fmla="*/ 2147483647 h 55"/>
              <a:gd name="T14" fmla="*/ 2147483647 w 100"/>
              <a:gd name="T15" fmla="*/ 2147483647 h 55"/>
              <a:gd name="T16" fmla="*/ 2147483647 w 100"/>
              <a:gd name="T17" fmla="*/ 2147483647 h 55"/>
              <a:gd name="T18" fmla="*/ 2147483647 w 100"/>
              <a:gd name="T19" fmla="*/ 2147483647 h 55"/>
              <a:gd name="T20" fmla="*/ 2147483647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7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868863" y="1828602"/>
            <a:ext cx="42862" cy="58737"/>
          </a:xfrm>
          <a:custGeom>
            <a:avLst/>
            <a:gdLst>
              <a:gd name="T0" fmla="*/ 2147483647 w 99"/>
              <a:gd name="T1" fmla="*/ 2147483647 h 51"/>
              <a:gd name="T2" fmla="*/ 2147483647 w 99"/>
              <a:gd name="T3" fmla="*/ 2147483647 h 51"/>
              <a:gd name="T4" fmla="*/ 2147483647 w 99"/>
              <a:gd name="T5" fmla="*/ 0 h 51"/>
              <a:gd name="T6" fmla="*/ 2147483647 w 99"/>
              <a:gd name="T7" fmla="*/ 0 h 51"/>
              <a:gd name="T8" fmla="*/ 2147483647 w 99"/>
              <a:gd name="T9" fmla="*/ 2147483647 h 51"/>
              <a:gd name="T10" fmla="*/ 2147483647 w 99"/>
              <a:gd name="T11" fmla="*/ 2147483647 h 51"/>
              <a:gd name="T12" fmla="*/ 2147483647 w 99"/>
              <a:gd name="T13" fmla="*/ 2147483647 h 51"/>
              <a:gd name="T14" fmla="*/ 2147483647 w 99"/>
              <a:gd name="T15" fmla="*/ 2147483647 h 51"/>
              <a:gd name="T16" fmla="*/ 2147483647 w 99"/>
              <a:gd name="T17" fmla="*/ 2147483647 h 51"/>
              <a:gd name="T18" fmla="*/ 2147483647 w 99"/>
              <a:gd name="T19" fmla="*/ 2147483647 h 51"/>
              <a:gd name="T20" fmla="*/ 2147483647 w 99"/>
              <a:gd name="T21" fmla="*/ 2147483647 h 51"/>
              <a:gd name="T22" fmla="*/ 2147483647 w 99"/>
              <a:gd name="T23" fmla="*/ 2147483647 h 51"/>
              <a:gd name="T24" fmla="*/ 2147483647 w 99"/>
              <a:gd name="T25" fmla="*/ 2147483647 h 51"/>
              <a:gd name="T26" fmla="*/ 2147483647 w 99"/>
              <a:gd name="T27" fmla="*/ 2147483647 h 51"/>
              <a:gd name="T28" fmla="*/ 2147483647 w 99"/>
              <a:gd name="T29" fmla="*/ 2147483647 h 51"/>
              <a:gd name="T30" fmla="*/ 2147483647 w 99"/>
              <a:gd name="T31" fmla="*/ 2147483647 h 51"/>
              <a:gd name="T32" fmla="*/ 2147483647 w 99"/>
              <a:gd name="T33" fmla="*/ 2147483647 h 51"/>
              <a:gd name="T34" fmla="*/ 2147483647 w 99"/>
              <a:gd name="T35" fmla="*/ 2147483647 h 51"/>
              <a:gd name="T36" fmla="*/ 2147483647 w 99"/>
              <a:gd name="T37" fmla="*/ 2147483647 h 51"/>
              <a:gd name="T38" fmla="*/ 2147483647 w 99"/>
              <a:gd name="T39" fmla="*/ 2147483647 h 51"/>
              <a:gd name="T40" fmla="*/ 2147483647 w 99"/>
              <a:gd name="T41" fmla="*/ 2147483647 h 51"/>
              <a:gd name="T42" fmla="*/ 2147483647 w 99"/>
              <a:gd name="T43" fmla="*/ 2147483647 h 51"/>
              <a:gd name="T44" fmla="*/ 2147483647 w 99"/>
              <a:gd name="T45" fmla="*/ 2147483647 h 51"/>
              <a:gd name="T46" fmla="*/ 2147483647 w 99"/>
              <a:gd name="T47" fmla="*/ 2147483647 h 51"/>
              <a:gd name="T48" fmla="*/ 2147483647 w 99"/>
              <a:gd name="T49" fmla="*/ 2147483647 h 51"/>
              <a:gd name="T50" fmla="*/ 2147483647 w 99"/>
              <a:gd name="T51" fmla="*/ 2147483647 h 51"/>
              <a:gd name="T52" fmla="*/ 2147483647 w 99"/>
              <a:gd name="T53" fmla="*/ 2147483647 h 51"/>
              <a:gd name="T54" fmla="*/ 0 w 99"/>
              <a:gd name="T55" fmla="*/ 2147483647 h 51"/>
              <a:gd name="T56" fmla="*/ 2147483647 w 99"/>
              <a:gd name="T57" fmla="*/ 2147483647 h 51"/>
              <a:gd name="T58" fmla="*/ 2147483647 w 99"/>
              <a:gd name="T59" fmla="*/ 2147483647 h 51"/>
              <a:gd name="T60" fmla="*/ 2147483647 w 99"/>
              <a:gd name="T61" fmla="*/ 2147483647 h 51"/>
              <a:gd name="T62" fmla="*/ 2147483647 w 99"/>
              <a:gd name="T63" fmla="*/ 2147483647 h 51"/>
              <a:gd name="T64" fmla="*/ 2147483647 w 99"/>
              <a:gd name="T65" fmla="*/ 2147483647 h 51"/>
              <a:gd name="T66" fmla="*/ 2147483647 w 99"/>
              <a:gd name="T67" fmla="*/ 2147483647 h 51"/>
              <a:gd name="T68" fmla="*/ 2147483647 w 99"/>
              <a:gd name="T69" fmla="*/ 2147483647 h 51"/>
              <a:gd name="T70" fmla="*/ 2147483647 w 99"/>
              <a:gd name="T71" fmla="*/ 2147483647 h 51"/>
              <a:gd name="T72" fmla="*/ 2147483647 w 99"/>
              <a:gd name="T73" fmla="*/ 2147483647 h 51"/>
              <a:gd name="T74" fmla="*/ 2147483647 w 99"/>
              <a:gd name="T75" fmla="*/ 2147483647 h 51"/>
              <a:gd name="T76" fmla="*/ 2147483647 w 99"/>
              <a:gd name="T77" fmla="*/ 2147483647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8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903788" y="1641277"/>
            <a:ext cx="228600" cy="163512"/>
          </a:xfrm>
          <a:custGeom>
            <a:avLst/>
            <a:gdLst>
              <a:gd name="T0" fmla="*/ 2147483647 w 525"/>
              <a:gd name="T1" fmla="*/ 2147483647 h 311"/>
              <a:gd name="T2" fmla="*/ 2147483647 w 525"/>
              <a:gd name="T3" fmla="*/ 2147483647 h 311"/>
              <a:gd name="T4" fmla="*/ 2147483647 w 525"/>
              <a:gd name="T5" fmla="*/ 2147483647 h 311"/>
              <a:gd name="T6" fmla="*/ 2147483647 w 525"/>
              <a:gd name="T7" fmla="*/ 2147483647 h 311"/>
              <a:gd name="T8" fmla="*/ 2147483647 w 525"/>
              <a:gd name="T9" fmla="*/ 2147483647 h 311"/>
              <a:gd name="T10" fmla="*/ 2147483647 w 525"/>
              <a:gd name="T11" fmla="*/ 2147483647 h 311"/>
              <a:gd name="T12" fmla="*/ 2147483647 w 525"/>
              <a:gd name="T13" fmla="*/ 2147483647 h 311"/>
              <a:gd name="T14" fmla="*/ 2147483647 w 525"/>
              <a:gd name="T15" fmla="*/ 2147483647 h 311"/>
              <a:gd name="T16" fmla="*/ 2147483647 w 525"/>
              <a:gd name="T17" fmla="*/ 2147483647 h 311"/>
              <a:gd name="T18" fmla="*/ 2147483647 w 525"/>
              <a:gd name="T19" fmla="*/ 2147483647 h 311"/>
              <a:gd name="T20" fmla="*/ 2147483647 w 525"/>
              <a:gd name="T21" fmla="*/ 2147483647 h 311"/>
              <a:gd name="T22" fmla="*/ 2147483647 w 525"/>
              <a:gd name="T23" fmla="*/ 2147483647 h 311"/>
              <a:gd name="T24" fmla="*/ 2147483647 w 525"/>
              <a:gd name="T25" fmla="*/ 2147483647 h 311"/>
              <a:gd name="T26" fmla="*/ 2147483647 w 525"/>
              <a:gd name="T27" fmla="*/ 2147483647 h 311"/>
              <a:gd name="T28" fmla="*/ 2147483647 w 525"/>
              <a:gd name="T29" fmla="*/ 2147483647 h 311"/>
              <a:gd name="T30" fmla="*/ 2147483647 w 525"/>
              <a:gd name="T31" fmla="*/ 2147483647 h 311"/>
              <a:gd name="T32" fmla="*/ 2147483647 w 525"/>
              <a:gd name="T33" fmla="*/ 2147483647 h 311"/>
              <a:gd name="T34" fmla="*/ 2147483647 w 525"/>
              <a:gd name="T35" fmla="*/ 2147483647 h 311"/>
              <a:gd name="T36" fmla="*/ 2147483647 w 525"/>
              <a:gd name="T37" fmla="*/ 2147483647 h 311"/>
              <a:gd name="T38" fmla="*/ 2147483647 w 525"/>
              <a:gd name="T39" fmla="*/ 2147483647 h 311"/>
              <a:gd name="T40" fmla="*/ 2147483647 w 525"/>
              <a:gd name="T41" fmla="*/ 2147483647 h 311"/>
              <a:gd name="T42" fmla="*/ 2147483647 w 525"/>
              <a:gd name="T43" fmla="*/ 2147483647 h 311"/>
              <a:gd name="T44" fmla="*/ 2147483647 w 525"/>
              <a:gd name="T45" fmla="*/ 2147483647 h 311"/>
              <a:gd name="T46" fmla="*/ 2147483647 w 525"/>
              <a:gd name="T47" fmla="*/ 2147483647 h 311"/>
              <a:gd name="T48" fmla="*/ 2147483647 w 525"/>
              <a:gd name="T49" fmla="*/ 2147483647 h 311"/>
              <a:gd name="T50" fmla="*/ 2147483647 w 525"/>
              <a:gd name="T51" fmla="*/ 2147483647 h 311"/>
              <a:gd name="T52" fmla="*/ 2147483647 w 525"/>
              <a:gd name="T53" fmla="*/ 2147483647 h 311"/>
              <a:gd name="T54" fmla="*/ 2147483647 w 525"/>
              <a:gd name="T55" fmla="*/ 2147483647 h 311"/>
              <a:gd name="T56" fmla="*/ 2147483647 w 525"/>
              <a:gd name="T57" fmla="*/ 2147483647 h 311"/>
              <a:gd name="T58" fmla="*/ 2147483647 w 525"/>
              <a:gd name="T59" fmla="*/ 2147483647 h 311"/>
              <a:gd name="T60" fmla="*/ 2147483647 w 525"/>
              <a:gd name="T61" fmla="*/ 2147483647 h 311"/>
              <a:gd name="T62" fmla="*/ 2147483647 w 525"/>
              <a:gd name="T63" fmla="*/ 2147483647 h 311"/>
              <a:gd name="T64" fmla="*/ 2147483647 w 525"/>
              <a:gd name="T65" fmla="*/ 2147483647 h 311"/>
              <a:gd name="T66" fmla="*/ 2147483647 w 525"/>
              <a:gd name="T67" fmla="*/ 2147483647 h 311"/>
              <a:gd name="T68" fmla="*/ 2147483647 w 525"/>
              <a:gd name="T69" fmla="*/ 2147483647 h 311"/>
              <a:gd name="T70" fmla="*/ 2147483647 w 525"/>
              <a:gd name="T71" fmla="*/ 2147483647 h 311"/>
              <a:gd name="T72" fmla="*/ 2147483647 w 525"/>
              <a:gd name="T73" fmla="*/ 2147483647 h 311"/>
              <a:gd name="T74" fmla="*/ 2147483647 w 525"/>
              <a:gd name="T75" fmla="*/ 2147483647 h 311"/>
              <a:gd name="T76" fmla="*/ 0 w 525"/>
              <a:gd name="T77" fmla="*/ 2147483647 h 311"/>
              <a:gd name="T78" fmla="*/ 2147483647 w 525"/>
              <a:gd name="T79" fmla="*/ 2147483647 h 311"/>
              <a:gd name="T80" fmla="*/ 2147483647 w 525"/>
              <a:gd name="T81" fmla="*/ 2147483647 h 311"/>
              <a:gd name="T82" fmla="*/ 2147483647 w 525"/>
              <a:gd name="T83" fmla="*/ 2147483647 h 311"/>
              <a:gd name="T84" fmla="*/ 2147483647 w 525"/>
              <a:gd name="T85" fmla="*/ 2147483647 h 311"/>
              <a:gd name="T86" fmla="*/ 2147483647 w 525"/>
              <a:gd name="T87" fmla="*/ 2147483647 h 311"/>
              <a:gd name="T88" fmla="*/ 2147483647 w 525"/>
              <a:gd name="T89" fmla="*/ 2147483647 h 311"/>
              <a:gd name="T90" fmla="*/ 2147483647 w 525"/>
              <a:gd name="T91" fmla="*/ 2147483647 h 311"/>
              <a:gd name="T92" fmla="*/ 2147483647 w 525"/>
              <a:gd name="T93" fmla="*/ 2147483647 h 311"/>
              <a:gd name="T94" fmla="*/ 2147483647 w 525"/>
              <a:gd name="T95" fmla="*/ 2147483647 h 311"/>
              <a:gd name="T96" fmla="*/ 2147483647 w 525"/>
              <a:gd name="T97" fmla="*/ 2147483647 h 311"/>
              <a:gd name="T98" fmla="*/ 2147483647 w 525"/>
              <a:gd name="T99" fmla="*/ 2147483647 h 311"/>
              <a:gd name="T100" fmla="*/ 2147483647 w 525"/>
              <a:gd name="T101" fmla="*/ 2147483647 h 311"/>
              <a:gd name="T102" fmla="*/ 2147483647 w 525"/>
              <a:gd name="T103" fmla="*/ 2147483647 h 311"/>
              <a:gd name="T104" fmla="*/ 2147483647 w 525"/>
              <a:gd name="T105" fmla="*/ 2147483647 h 311"/>
              <a:gd name="T106" fmla="*/ 2147483647 w 525"/>
              <a:gd name="T107" fmla="*/ 2147483647 h 311"/>
              <a:gd name="T108" fmla="*/ 2147483647 w 525"/>
              <a:gd name="T109" fmla="*/ 2147483647 h 311"/>
              <a:gd name="T110" fmla="*/ 2147483647 w 525"/>
              <a:gd name="T111" fmla="*/ 2147483647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09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695825" y="1952427"/>
            <a:ext cx="31750" cy="55562"/>
          </a:xfrm>
          <a:custGeom>
            <a:avLst/>
            <a:gdLst>
              <a:gd name="T0" fmla="*/ 2147483647 w 79"/>
              <a:gd name="T1" fmla="*/ 0 h 38"/>
              <a:gd name="T2" fmla="*/ 2147483647 w 79"/>
              <a:gd name="T3" fmla="*/ 2147483647 h 38"/>
              <a:gd name="T4" fmla="*/ 2147483647 w 79"/>
              <a:gd name="T5" fmla="*/ 2147483647 h 38"/>
              <a:gd name="T6" fmla="*/ 2147483647 w 79"/>
              <a:gd name="T7" fmla="*/ 2147483647 h 38"/>
              <a:gd name="T8" fmla="*/ 2147483647 w 79"/>
              <a:gd name="T9" fmla="*/ 2147483647 h 38"/>
              <a:gd name="T10" fmla="*/ 2147483647 w 79"/>
              <a:gd name="T11" fmla="*/ 2147483647 h 38"/>
              <a:gd name="T12" fmla="*/ 2147483647 w 79"/>
              <a:gd name="T13" fmla="*/ 2147483647 h 38"/>
              <a:gd name="T14" fmla="*/ 2147483647 w 79"/>
              <a:gd name="T15" fmla="*/ 2147483647 h 38"/>
              <a:gd name="T16" fmla="*/ 2147483647 w 79"/>
              <a:gd name="T17" fmla="*/ 2147483647 h 38"/>
              <a:gd name="T18" fmla="*/ 2147483647 w 79"/>
              <a:gd name="T19" fmla="*/ 2147483647 h 38"/>
              <a:gd name="T20" fmla="*/ 2147483647 w 79"/>
              <a:gd name="T21" fmla="*/ 2147483647 h 38"/>
              <a:gd name="T22" fmla="*/ 2147483647 w 79"/>
              <a:gd name="T23" fmla="*/ 2147483647 h 38"/>
              <a:gd name="T24" fmla="*/ 2147483647 w 79"/>
              <a:gd name="T25" fmla="*/ 2147483647 h 38"/>
              <a:gd name="T26" fmla="*/ 2147483647 w 79"/>
              <a:gd name="T27" fmla="*/ 2147483647 h 38"/>
              <a:gd name="T28" fmla="*/ 2147483647 w 79"/>
              <a:gd name="T29" fmla="*/ 2147483647 h 38"/>
              <a:gd name="T30" fmla="*/ 2147483647 w 79"/>
              <a:gd name="T31" fmla="*/ 2147483647 h 38"/>
              <a:gd name="T32" fmla="*/ 2147483647 w 79"/>
              <a:gd name="T33" fmla="*/ 2147483647 h 38"/>
              <a:gd name="T34" fmla="*/ 2147483647 w 79"/>
              <a:gd name="T35" fmla="*/ 2147483647 h 38"/>
              <a:gd name="T36" fmla="*/ 2147483647 w 79"/>
              <a:gd name="T37" fmla="*/ 2147483647 h 38"/>
              <a:gd name="T38" fmla="*/ 2147483647 w 79"/>
              <a:gd name="T39" fmla="*/ 2147483647 h 38"/>
              <a:gd name="T40" fmla="*/ 2147483647 w 79"/>
              <a:gd name="T41" fmla="*/ 2147483647 h 38"/>
              <a:gd name="T42" fmla="*/ 2147483647 w 79"/>
              <a:gd name="T43" fmla="*/ 2147483647 h 38"/>
              <a:gd name="T44" fmla="*/ 2147483647 w 79"/>
              <a:gd name="T45" fmla="*/ 2147483647 h 38"/>
              <a:gd name="T46" fmla="*/ 0 w 79"/>
              <a:gd name="T47" fmla="*/ 2147483647 h 38"/>
              <a:gd name="T48" fmla="*/ 0 w 79"/>
              <a:gd name="T49" fmla="*/ 2147483647 h 38"/>
              <a:gd name="T50" fmla="*/ 2147483647 w 79"/>
              <a:gd name="T51" fmla="*/ 2147483647 h 38"/>
              <a:gd name="T52" fmla="*/ 2147483647 w 79"/>
              <a:gd name="T53" fmla="*/ 2147483647 h 38"/>
              <a:gd name="T54" fmla="*/ 2147483647 w 79"/>
              <a:gd name="T55" fmla="*/ 2147483647 h 38"/>
              <a:gd name="T56" fmla="*/ 2147483647 w 79"/>
              <a:gd name="T57" fmla="*/ 2147483647 h 38"/>
              <a:gd name="T58" fmla="*/ 2147483647 w 79"/>
              <a:gd name="T59" fmla="*/ 2147483647 h 38"/>
              <a:gd name="T60" fmla="*/ 214748364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10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000875" y="2249289"/>
            <a:ext cx="196850" cy="268288"/>
          </a:xfrm>
          <a:custGeom>
            <a:avLst/>
            <a:gdLst>
              <a:gd name="T0" fmla="*/ 2147483647 w 459"/>
              <a:gd name="T1" fmla="*/ 2147483647 h 511"/>
              <a:gd name="T2" fmla="*/ 2147483647 w 459"/>
              <a:gd name="T3" fmla="*/ 2147483647 h 511"/>
              <a:gd name="T4" fmla="*/ 0 w 459"/>
              <a:gd name="T5" fmla="*/ 0 h 511"/>
              <a:gd name="T6" fmla="*/ 2147483647 w 459"/>
              <a:gd name="T7" fmla="*/ 2147483647 h 511"/>
              <a:gd name="T8" fmla="*/ 2147483647 w 459"/>
              <a:gd name="T9" fmla="*/ 2147483647 h 511"/>
              <a:gd name="T10" fmla="*/ 2147483647 w 459"/>
              <a:gd name="T11" fmla="*/ 2147483647 h 511"/>
              <a:gd name="T12" fmla="*/ 2147483647 w 459"/>
              <a:gd name="T13" fmla="*/ 2147483647 h 511"/>
              <a:gd name="T14" fmla="*/ 2147483647 w 459"/>
              <a:gd name="T15" fmla="*/ 2147483647 h 511"/>
              <a:gd name="T16" fmla="*/ 2147483647 w 459"/>
              <a:gd name="T17" fmla="*/ 2147483647 h 511"/>
              <a:gd name="T18" fmla="*/ 2147483647 w 459"/>
              <a:gd name="T19" fmla="*/ 2147483647 h 511"/>
              <a:gd name="T20" fmla="*/ 2147483647 w 459"/>
              <a:gd name="T21" fmla="*/ 2147483647 h 511"/>
              <a:gd name="T22" fmla="*/ 2147483647 w 459"/>
              <a:gd name="T23" fmla="*/ 2147483647 h 511"/>
              <a:gd name="T24" fmla="*/ 2147483647 w 459"/>
              <a:gd name="T25" fmla="*/ 2147483647 h 511"/>
              <a:gd name="T26" fmla="*/ 2147483647 w 459"/>
              <a:gd name="T27" fmla="*/ 2147483647 h 511"/>
              <a:gd name="T28" fmla="*/ 2147483647 w 459"/>
              <a:gd name="T29" fmla="*/ 2147483647 h 511"/>
              <a:gd name="T30" fmla="*/ 2147483647 w 459"/>
              <a:gd name="T31" fmla="*/ 2147483647 h 511"/>
              <a:gd name="T32" fmla="*/ 2147483647 w 459"/>
              <a:gd name="T33" fmla="*/ 2147483647 h 511"/>
              <a:gd name="T34" fmla="*/ 2147483647 w 459"/>
              <a:gd name="T35" fmla="*/ 2147483647 h 511"/>
              <a:gd name="T36" fmla="*/ 2147483647 w 459"/>
              <a:gd name="T37" fmla="*/ 2147483647 h 511"/>
              <a:gd name="T38" fmla="*/ 2147483647 w 459"/>
              <a:gd name="T39" fmla="*/ 2147483647 h 511"/>
              <a:gd name="T40" fmla="*/ 2147483647 w 459"/>
              <a:gd name="T41" fmla="*/ 2147483647 h 511"/>
              <a:gd name="T42" fmla="*/ 2147483647 w 459"/>
              <a:gd name="T43" fmla="*/ 2147483647 h 511"/>
              <a:gd name="T44" fmla="*/ 2147483647 w 459"/>
              <a:gd name="T45" fmla="*/ 2147483647 h 511"/>
              <a:gd name="T46" fmla="*/ 2147483647 w 459"/>
              <a:gd name="T47" fmla="*/ 2147483647 h 511"/>
              <a:gd name="T48" fmla="*/ 2147483647 w 459"/>
              <a:gd name="T49" fmla="*/ 2147483647 h 511"/>
              <a:gd name="T50" fmla="*/ 2147483647 w 459"/>
              <a:gd name="T51" fmla="*/ 2147483647 h 511"/>
              <a:gd name="T52" fmla="*/ 2147483647 w 459"/>
              <a:gd name="T53" fmla="*/ 2147483647 h 511"/>
              <a:gd name="T54" fmla="*/ 2147483647 w 459"/>
              <a:gd name="T55" fmla="*/ 2147483647 h 511"/>
              <a:gd name="T56" fmla="*/ 2147483647 w 459"/>
              <a:gd name="T57" fmla="*/ 2147483647 h 511"/>
              <a:gd name="T58" fmla="*/ 2147483647 w 459"/>
              <a:gd name="T59" fmla="*/ 2147483647 h 511"/>
              <a:gd name="T60" fmla="*/ 2147483647 w 459"/>
              <a:gd name="T61" fmla="*/ 2147483647 h 511"/>
              <a:gd name="T62" fmla="*/ 2147483647 w 459"/>
              <a:gd name="T63" fmla="*/ 2147483647 h 511"/>
              <a:gd name="T64" fmla="*/ 2147483647 w 459"/>
              <a:gd name="T65" fmla="*/ 2147483647 h 511"/>
              <a:gd name="T66" fmla="*/ 2147483647 w 459"/>
              <a:gd name="T67" fmla="*/ 2147483647 h 511"/>
              <a:gd name="T68" fmla="*/ 2147483647 w 459"/>
              <a:gd name="T69" fmla="*/ 2147483647 h 511"/>
              <a:gd name="T70" fmla="*/ 2147483647 w 459"/>
              <a:gd name="T71" fmla="*/ 2147483647 h 511"/>
              <a:gd name="T72" fmla="*/ 2147483647 w 459"/>
              <a:gd name="T73" fmla="*/ 2147483647 h 511"/>
              <a:gd name="T74" fmla="*/ 2147483647 w 459"/>
              <a:gd name="T75" fmla="*/ 2147483647 h 511"/>
              <a:gd name="T76" fmla="*/ 2147483647 w 459"/>
              <a:gd name="T77" fmla="*/ 2147483647 h 511"/>
              <a:gd name="T78" fmla="*/ 2147483647 w 459"/>
              <a:gd name="T79" fmla="*/ 2147483647 h 511"/>
              <a:gd name="T80" fmla="*/ 2147483647 w 459"/>
              <a:gd name="T81" fmla="*/ 2147483647 h 511"/>
              <a:gd name="T82" fmla="*/ 2147483647 w 459"/>
              <a:gd name="T83" fmla="*/ 2147483647 h 511"/>
              <a:gd name="T84" fmla="*/ 2147483647 w 459"/>
              <a:gd name="T85" fmla="*/ 2147483647 h 511"/>
              <a:gd name="T86" fmla="*/ 2147483647 w 459"/>
              <a:gd name="T87" fmla="*/ 2147483647 h 511"/>
              <a:gd name="T88" fmla="*/ 2147483647 w 459"/>
              <a:gd name="T89" fmla="*/ 2147483647 h 511"/>
              <a:gd name="T90" fmla="*/ 2147483647 w 459"/>
              <a:gd name="T91" fmla="*/ 2147483647 h 511"/>
              <a:gd name="T92" fmla="*/ 2147483647 w 459"/>
              <a:gd name="T93" fmla="*/ 214748364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11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791200" y="2204839"/>
            <a:ext cx="671513" cy="384175"/>
            <a:chOff x="4115" y="1551"/>
            <a:chExt cx="504" cy="244"/>
          </a:xfrm>
        </p:grpSpPr>
        <p:sp>
          <p:nvSpPr>
            <p:cNvPr id="2444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0 w 240"/>
                <a:gd name="T1" fmla="*/ 3 h 259"/>
                <a:gd name="T2" fmla="*/ 1 w 240"/>
                <a:gd name="T3" fmla="*/ 3 h 259"/>
                <a:gd name="T4" fmla="*/ 1 w 240"/>
                <a:gd name="T5" fmla="*/ 3 h 259"/>
                <a:gd name="T6" fmla="*/ 2 w 240"/>
                <a:gd name="T7" fmla="*/ 3 h 259"/>
                <a:gd name="T8" fmla="*/ 2 w 240"/>
                <a:gd name="T9" fmla="*/ 2 h 259"/>
                <a:gd name="T10" fmla="*/ 3 w 240"/>
                <a:gd name="T11" fmla="*/ 1 h 259"/>
                <a:gd name="T12" fmla="*/ 3 w 240"/>
                <a:gd name="T13" fmla="*/ 0 h 259"/>
                <a:gd name="T14" fmla="*/ 3 w 240"/>
                <a:gd name="T15" fmla="*/ 0 h 259"/>
                <a:gd name="T16" fmla="*/ 2 w 240"/>
                <a:gd name="T17" fmla="*/ 0 h 259"/>
                <a:gd name="T18" fmla="*/ 2 w 240"/>
                <a:gd name="T19" fmla="*/ 1 h 259"/>
                <a:gd name="T20" fmla="*/ 2 w 240"/>
                <a:gd name="T21" fmla="*/ 1 h 259"/>
                <a:gd name="T22" fmla="*/ 2 w 240"/>
                <a:gd name="T23" fmla="*/ 2 h 259"/>
                <a:gd name="T24" fmla="*/ 1 w 240"/>
                <a:gd name="T25" fmla="*/ 2 h 259"/>
                <a:gd name="T26" fmla="*/ 1 w 240"/>
                <a:gd name="T27" fmla="*/ 3 h 259"/>
                <a:gd name="T28" fmla="*/ 0 w 240"/>
                <a:gd name="T29" fmla="*/ 3 h 259"/>
                <a:gd name="T30" fmla="*/ 0 w 240"/>
                <a:gd name="T31" fmla="*/ 3 h 259"/>
                <a:gd name="T32" fmla="*/ 0 w 240"/>
                <a:gd name="T33" fmla="*/ 3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45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0 w 259"/>
                <a:gd name="T1" fmla="*/ 1 h 104"/>
                <a:gd name="T2" fmla="*/ 0 w 259"/>
                <a:gd name="T3" fmla="*/ 1 h 104"/>
                <a:gd name="T4" fmla="*/ 1 w 259"/>
                <a:gd name="T5" fmla="*/ 1 h 104"/>
                <a:gd name="T6" fmla="*/ 1 w 259"/>
                <a:gd name="T7" fmla="*/ 1 h 104"/>
                <a:gd name="T8" fmla="*/ 1 w 259"/>
                <a:gd name="T9" fmla="*/ 1 h 104"/>
                <a:gd name="T10" fmla="*/ 2 w 259"/>
                <a:gd name="T11" fmla="*/ 1 h 104"/>
                <a:gd name="T12" fmla="*/ 3 w 259"/>
                <a:gd name="T13" fmla="*/ 0 h 104"/>
                <a:gd name="T14" fmla="*/ 3 w 259"/>
                <a:gd name="T15" fmla="*/ 0 h 104"/>
                <a:gd name="T16" fmla="*/ 3 w 259"/>
                <a:gd name="T17" fmla="*/ 0 h 104"/>
                <a:gd name="T18" fmla="*/ 2 w 259"/>
                <a:gd name="T19" fmla="*/ 0 h 104"/>
                <a:gd name="T20" fmla="*/ 2 w 259"/>
                <a:gd name="T21" fmla="*/ 0 h 104"/>
                <a:gd name="T22" fmla="*/ 1 w 259"/>
                <a:gd name="T23" fmla="*/ 0 h 104"/>
                <a:gd name="T24" fmla="*/ 1 w 259"/>
                <a:gd name="T25" fmla="*/ 0 h 104"/>
                <a:gd name="T26" fmla="*/ 0 w 259"/>
                <a:gd name="T27" fmla="*/ 1 h 104"/>
                <a:gd name="T28" fmla="*/ 0 w 259"/>
                <a:gd name="T29" fmla="*/ 1 h 104"/>
                <a:gd name="T30" fmla="*/ 0 w 259"/>
                <a:gd name="T31" fmla="*/ 1 h 104"/>
                <a:gd name="T32" fmla="*/ 0 w 259"/>
                <a:gd name="T33" fmla="*/ 1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412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848225" y="2954139"/>
            <a:ext cx="530225" cy="511175"/>
          </a:xfrm>
          <a:custGeom>
            <a:avLst/>
            <a:gdLst>
              <a:gd name="T0" fmla="*/ 2147483647 w 1227"/>
              <a:gd name="T1" fmla="*/ 2147483647 h 979"/>
              <a:gd name="T2" fmla="*/ 2147483647 w 1227"/>
              <a:gd name="T3" fmla="*/ 2147483647 h 979"/>
              <a:gd name="T4" fmla="*/ 2147483647 w 1227"/>
              <a:gd name="T5" fmla="*/ 2147483647 h 979"/>
              <a:gd name="T6" fmla="*/ 2147483647 w 1227"/>
              <a:gd name="T7" fmla="*/ 2147483647 h 979"/>
              <a:gd name="T8" fmla="*/ 2147483647 w 1227"/>
              <a:gd name="T9" fmla="*/ 2147483647 h 979"/>
              <a:gd name="T10" fmla="*/ 2147483647 w 1227"/>
              <a:gd name="T11" fmla="*/ 2147483647 h 979"/>
              <a:gd name="T12" fmla="*/ 2147483647 w 1227"/>
              <a:gd name="T13" fmla="*/ 2147483647 h 979"/>
              <a:gd name="T14" fmla="*/ 2147483647 w 1227"/>
              <a:gd name="T15" fmla="*/ 2147483647 h 979"/>
              <a:gd name="T16" fmla="*/ 2147483647 w 1227"/>
              <a:gd name="T17" fmla="*/ 2147483647 h 979"/>
              <a:gd name="T18" fmla="*/ 2147483647 w 1227"/>
              <a:gd name="T19" fmla="*/ 2147483647 h 979"/>
              <a:gd name="T20" fmla="*/ 2147483647 w 1227"/>
              <a:gd name="T21" fmla="*/ 2147483647 h 979"/>
              <a:gd name="T22" fmla="*/ 2147483647 w 1227"/>
              <a:gd name="T23" fmla="*/ 2147483647 h 979"/>
              <a:gd name="T24" fmla="*/ 2147483647 w 1227"/>
              <a:gd name="T25" fmla="*/ 2147483647 h 979"/>
              <a:gd name="T26" fmla="*/ 2147483647 w 1227"/>
              <a:gd name="T27" fmla="*/ 2147483647 h 979"/>
              <a:gd name="T28" fmla="*/ 2147483647 w 1227"/>
              <a:gd name="T29" fmla="*/ 2147483647 h 979"/>
              <a:gd name="T30" fmla="*/ 2147483647 w 1227"/>
              <a:gd name="T31" fmla="*/ 2147483647 h 979"/>
              <a:gd name="T32" fmla="*/ 2147483647 w 1227"/>
              <a:gd name="T33" fmla="*/ 2147483647 h 979"/>
              <a:gd name="T34" fmla="*/ 2147483647 w 1227"/>
              <a:gd name="T35" fmla="*/ 2147483647 h 979"/>
              <a:gd name="T36" fmla="*/ 2147483647 w 1227"/>
              <a:gd name="T37" fmla="*/ 2147483647 h 979"/>
              <a:gd name="T38" fmla="*/ 2147483647 w 1227"/>
              <a:gd name="T39" fmla="*/ 2147483647 h 979"/>
              <a:gd name="T40" fmla="*/ 2147483647 w 1227"/>
              <a:gd name="T41" fmla="*/ 2147483647 h 979"/>
              <a:gd name="T42" fmla="*/ 2147483647 w 1227"/>
              <a:gd name="T43" fmla="*/ 2147483647 h 979"/>
              <a:gd name="T44" fmla="*/ 2147483647 w 1227"/>
              <a:gd name="T45" fmla="*/ 2147483647 h 979"/>
              <a:gd name="T46" fmla="*/ 2147483647 w 1227"/>
              <a:gd name="T47" fmla="*/ 2147483647 h 979"/>
              <a:gd name="T48" fmla="*/ 2147483647 w 1227"/>
              <a:gd name="T49" fmla="*/ 2147483647 h 979"/>
              <a:gd name="T50" fmla="*/ 2147483647 w 1227"/>
              <a:gd name="T51" fmla="*/ 2147483647 h 979"/>
              <a:gd name="T52" fmla="*/ 2147483647 w 1227"/>
              <a:gd name="T53" fmla="*/ 2147483647 h 979"/>
              <a:gd name="T54" fmla="*/ 2147483647 w 1227"/>
              <a:gd name="T55" fmla="*/ 2147483647 h 979"/>
              <a:gd name="T56" fmla="*/ 2147483647 w 1227"/>
              <a:gd name="T57" fmla="*/ 2147483647 h 979"/>
              <a:gd name="T58" fmla="*/ 0 w 1227"/>
              <a:gd name="T59" fmla="*/ 2147483647 h 979"/>
              <a:gd name="T60" fmla="*/ 2147483647 w 1227"/>
              <a:gd name="T61" fmla="*/ 2147483647 h 979"/>
              <a:gd name="T62" fmla="*/ 2147483647 w 1227"/>
              <a:gd name="T63" fmla="*/ 2147483647 h 979"/>
              <a:gd name="T64" fmla="*/ 2147483647 w 1227"/>
              <a:gd name="T65" fmla="*/ 2147483647 h 979"/>
              <a:gd name="T66" fmla="*/ 2147483647 w 1227"/>
              <a:gd name="T67" fmla="*/ 2147483647 h 979"/>
              <a:gd name="T68" fmla="*/ 2147483647 w 1227"/>
              <a:gd name="T69" fmla="*/ 2147483647 h 979"/>
              <a:gd name="T70" fmla="*/ 2147483647 w 1227"/>
              <a:gd name="T71" fmla="*/ 2147483647 h 979"/>
              <a:gd name="T72" fmla="*/ 2147483647 w 1227"/>
              <a:gd name="T73" fmla="*/ 2147483647 h 979"/>
              <a:gd name="T74" fmla="*/ 2147483647 w 1227"/>
              <a:gd name="T75" fmla="*/ 2147483647 h 979"/>
              <a:gd name="T76" fmla="*/ 2147483647 w 1227"/>
              <a:gd name="T77" fmla="*/ 2147483647 h 979"/>
              <a:gd name="T78" fmla="*/ 2147483647 w 1227"/>
              <a:gd name="T79" fmla="*/ 2147483647 h 979"/>
              <a:gd name="T80" fmla="*/ 2147483647 w 1227"/>
              <a:gd name="T81" fmla="*/ 2147483647 h 979"/>
              <a:gd name="T82" fmla="*/ 2147483647 w 1227"/>
              <a:gd name="T83" fmla="*/ 2147483647 h 979"/>
              <a:gd name="T84" fmla="*/ 2147483647 w 1227"/>
              <a:gd name="T85" fmla="*/ 2147483647 h 979"/>
              <a:gd name="T86" fmla="*/ 2147483647 w 1227"/>
              <a:gd name="T87" fmla="*/ 2147483647 h 979"/>
              <a:gd name="T88" fmla="*/ 2147483647 w 1227"/>
              <a:gd name="T89" fmla="*/ 2147483647 h 979"/>
              <a:gd name="T90" fmla="*/ 2147483647 w 1227"/>
              <a:gd name="T91" fmla="*/ 2147483647 h 979"/>
              <a:gd name="T92" fmla="*/ 2147483647 w 1227"/>
              <a:gd name="T93" fmla="*/ 2147483647 h 979"/>
              <a:gd name="T94" fmla="*/ 2147483647 w 1227"/>
              <a:gd name="T95" fmla="*/ 2147483647 h 979"/>
              <a:gd name="T96" fmla="*/ 2147483647 w 1227"/>
              <a:gd name="T97" fmla="*/ 2147483647 h 979"/>
              <a:gd name="T98" fmla="*/ 2147483647 w 1227"/>
              <a:gd name="T99" fmla="*/ 2147483647 h 979"/>
              <a:gd name="T100" fmla="*/ 2147483647 w 1227"/>
              <a:gd name="T101" fmla="*/ 2147483647 h 979"/>
              <a:gd name="T102" fmla="*/ 2147483647 w 1227"/>
              <a:gd name="T103" fmla="*/ 2147483647 h 979"/>
              <a:gd name="T104" fmla="*/ 2147483647 w 1227"/>
              <a:gd name="T105" fmla="*/ 2147483647 h 979"/>
              <a:gd name="T106" fmla="*/ 2147483647 w 1227"/>
              <a:gd name="T107" fmla="*/ 2147483647 h 979"/>
              <a:gd name="T108" fmla="*/ 2147483647 w 1227"/>
              <a:gd name="T109" fmla="*/ 2147483647 h 979"/>
              <a:gd name="T110" fmla="*/ 2147483647 w 1227"/>
              <a:gd name="T111" fmla="*/ 2147483647 h 979"/>
              <a:gd name="T112" fmla="*/ 2147483647 w 1227"/>
              <a:gd name="T113" fmla="*/ 2147483647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13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322763" y="2498527"/>
            <a:ext cx="57150" cy="57150"/>
          </a:xfrm>
          <a:custGeom>
            <a:avLst/>
            <a:gdLst>
              <a:gd name="T0" fmla="*/ 22370702 w 146"/>
              <a:gd name="T1" fmla="*/ 8960556 h 81"/>
              <a:gd name="T2" fmla="*/ 21144717 w 146"/>
              <a:gd name="T3" fmla="*/ 11947172 h 81"/>
              <a:gd name="T4" fmla="*/ 19919124 w 146"/>
              <a:gd name="T5" fmla="*/ 14436372 h 81"/>
              <a:gd name="T6" fmla="*/ 18846583 w 146"/>
              <a:gd name="T7" fmla="*/ 17422989 h 81"/>
              <a:gd name="T8" fmla="*/ 18080538 w 146"/>
              <a:gd name="T9" fmla="*/ 20410311 h 81"/>
              <a:gd name="T10" fmla="*/ 16548057 w 146"/>
              <a:gd name="T11" fmla="*/ 26383544 h 81"/>
              <a:gd name="T12" fmla="*/ 15015967 w 146"/>
              <a:gd name="T13" fmla="*/ 31860067 h 81"/>
              <a:gd name="T14" fmla="*/ 14249922 w 146"/>
              <a:gd name="T15" fmla="*/ 34348561 h 81"/>
              <a:gd name="T16" fmla="*/ 13023937 w 146"/>
              <a:gd name="T17" fmla="*/ 36340344 h 81"/>
              <a:gd name="T18" fmla="*/ 11644900 w 146"/>
              <a:gd name="T19" fmla="*/ 38331422 h 81"/>
              <a:gd name="T20" fmla="*/ 10112810 w 146"/>
              <a:gd name="T21" fmla="*/ 39824378 h 81"/>
              <a:gd name="T22" fmla="*/ 8120780 w 146"/>
              <a:gd name="T23" fmla="*/ 40322500 h 81"/>
              <a:gd name="T24" fmla="*/ 5975698 w 146"/>
              <a:gd name="T25" fmla="*/ 39824378 h 81"/>
              <a:gd name="T26" fmla="*/ 3217623 w 146"/>
              <a:gd name="T27" fmla="*/ 38331422 h 81"/>
              <a:gd name="T28" fmla="*/ 0 w 146"/>
              <a:gd name="T29" fmla="*/ 36837761 h 81"/>
              <a:gd name="T30" fmla="*/ 0 w 146"/>
              <a:gd name="T31" fmla="*/ 30863822 h 81"/>
              <a:gd name="T32" fmla="*/ 0 w 146"/>
              <a:gd name="T33" fmla="*/ 24392467 h 81"/>
              <a:gd name="T34" fmla="*/ 0 w 146"/>
              <a:gd name="T35" fmla="*/ 16925572 h 81"/>
              <a:gd name="T36" fmla="*/ 0 w 146"/>
              <a:gd name="T37" fmla="*/ 8960556 h 81"/>
              <a:gd name="T38" fmla="*/ 2145082 w 146"/>
              <a:gd name="T39" fmla="*/ 8960556 h 81"/>
              <a:gd name="T40" fmla="*/ 3371067 w 146"/>
              <a:gd name="T41" fmla="*/ 8960556 h 81"/>
              <a:gd name="T42" fmla="*/ 4750104 w 146"/>
              <a:gd name="T43" fmla="*/ 8960556 h 81"/>
              <a:gd name="T44" fmla="*/ 6129142 w 146"/>
              <a:gd name="T45" fmla="*/ 8960556 h 81"/>
              <a:gd name="T46" fmla="*/ 7967728 w 146"/>
              <a:gd name="T47" fmla="*/ 8960556 h 81"/>
              <a:gd name="T48" fmla="*/ 9653261 w 146"/>
              <a:gd name="T49" fmla="*/ 7965017 h 81"/>
              <a:gd name="T50" fmla="*/ 11185351 w 146"/>
              <a:gd name="T51" fmla="*/ 6969478 h 81"/>
              <a:gd name="T52" fmla="*/ 12717441 w 146"/>
              <a:gd name="T53" fmla="*/ 5475817 h 81"/>
              <a:gd name="T54" fmla="*/ 15475515 w 146"/>
              <a:gd name="T55" fmla="*/ 2489200 h 81"/>
              <a:gd name="T56" fmla="*/ 18387034 w 146"/>
              <a:gd name="T57" fmla="*/ 0 h 81"/>
              <a:gd name="T58" fmla="*/ 19766071 w 146"/>
              <a:gd name="T59" fmla="*/ 1991078 h 81"/>
              <a:gd name="T60" fmla="*/ 20685168 w 146"/>
              <a:gd name="T61" fmla="*/ 4480278 h 81"/>
              <a:gd name="T62" fmla="*/ 21604657 w 146"/>
              <a:gd name="T63" fmla="*/ 6969478 h 81"/>
              <a:gd name="T64" fmla="*/ 22370702 w 146"/>
              <a:gd name="T65" fmla="*/ 8960556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14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062413" y="2711252"/>
            <a:ext cx="15875" cy="57150"/>
          </a:xfrm>
          <a:custGeom>
            <a:avLst/>
            <a:gdLst>
              <a:gd name="T0" fmla="*/ 2147483647 w 34"/>
              <a:gd name="T1" fmla="*/ 2147483647 h 49"/>
              <a:gd name="T2" fmla="*/ 2147483647 w 34"/>
              <a:gd name="T3" fmla="*/ 2147483647 h 49"/>
              <a:gd name="T4" fmla="*/ 2147483647 w 34"/>
              <a:gd name="T5" fmla="*/ 2147483647 h 49"/>
              <a:gd name="T6" fmla="*/ 2147483647 w 34"/>
              <a:gd name="T7" fmla="*/ 2147483647 h 49"/>
              <a:gd name="T8" fmla="*/ 2147483647 w 34"/>
              <a:gd name="T9" fmla="*/ 2147483647 h 49"/>
              <a:gd name="T10" fmla="*/ 2147483647 w 34"/>
              <a:gd name="T11" fmla="*/ 2147483647 h 49"/>
              <a:gd name="T12" fmla="*/ 2147483647 w 34"/>
              <a:gd name="T13" fmla="*/ 2147483647 h 49"/>
              <a:gd name="T14" fmla="*/ 2147483647 w 34"/>
              <a:gd name="T15" fmla="*/ 2147483647 h 49"/>
              <a:gd name="T16" fmla="*/ 2147483647 w 34"/>
              <a:gd name="T17" fmla="*/ 0 h 49"/>
              <a:gd name="T18" fmla="*/ 2147483647 w 34"/>
              <a:gd name="T19" fmla="*/ 0 h 49"/>
              <a:gd name="T20" fmla="*/ 0 w 34"/>
              <a:gd name="T21" fmla="*/ 0 h 49"/>
              <a:gd name="T22" fmla="*/ 2147483647 w 34"/>
              <a:gd name="T23" fmla="*/ 2147483647 h 49"/>
              <a:gd name="T24" fmla="*/ 2147483647 w 34"/>
              <a:gd name="T25" fmla="*/ 2147483647 h 49"/>
              <a:gd name="T26" fmla="*/ 2147483647 w 34"/>
              <a:gd name="T27" fmla="*/ 2147483647 h 49"/>
              <a:gd name="T28" fmla="*/ 2147483647 w 34"/>
              <a:gd name="T29" fmla="*/ 2147483647 h 49"/>
              <a:gd name="T30" fmla="*/ 2147483647 w 34"/>
              <a:gd name="T31" fmla="*/ 2147483647 h 49"/>
              <a:gd name="T32" fmla="*/ 2147483647 w 34"/>
              <a:gd name="T33" fmla="*/ 2147483647 h 49"/>
              <a:gd name="T34" fmla="*/ 2147483647 w 34"/>
              <a:gd name="T35" fmla="*/ 2147483647 h 49"/>
              <a:gd name="T36" fmla="*/ 2147483647 w 34"/>
              <a:gd name="T37" fmla="*/ 2147483647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15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654425" y="3057327"/>
            <a:ext cx="28575" cy="57150"/>
          </a:xfrm>
          <a:custGeom>
            <a:avLst/>
            <a:gdLst>
              <a:gd name="T0" fmla="*/ 2147483647 w 60"/>
              <a:gd name="T1" fmla="*/ 0 h 74"/>
              <a:gd name="T2" fmla="*/ 2147483647 w 60"/>
              <a:gd name="T3" fmla="*/ 2147483647 h 74"/>
              <a:gd name="T4" fmla="*/ 2147483647 w 60"/>
              <a:gd name="T5" fmla="*/ 2147483647 h 74"/>
              <a:gd name="T6" fmla="*/ 2147483647 w 60"/>
              <a:gd name="T7" fmla="*/ 2147483647 h 74"/>
              <a:gd name="T8" fmla="*/ 2147483647 w 60"/>
              <a:gd name="T9" fmla="*/ 2147483647 h 74"/>
              <a:gd name="T10" fmla="*/ 2147483647 w 60"/>
              <a:gd name="T11" fmla="*/ 2147483647 h 74"/>
              <a:gd name="T12" fmla="*/ 2147483647 w 60"/>
              <a:gd name="T13" fmla="*/ 2147483647 h 74"/>
              <a:gd name="T14" fmla="*/ 2147483647 w 60"/>
              <a:gd name="T15" fmla="*/ 2147483647 h 74"/>
              <a:gd name="T16" fmla="*/ 2147483647 w 60"/>
              <a:gd name="T17" fmla="*/ 2147483647 h 74"/>
              <a:gd name="T18" fmla="*/ 2147483647 w 60"/>
              <a:gd name="T19" fmla="*/ 2147483647 h 74"/>
              <a:gd name="T20" fmla="*/ 2147483647 w 60"/>
              <a:gd name="T21" fmla="*/ 2147483647 h 74"/>
              <a:gd name="T22" fmla="*/ 2147483647 w 60"/>
              <a:gd name="T23" fmla="*/ 2147483647 h 74"/>
              <a:gd name="T24" fmla="*/ 2147483647 w 60"/>
              <a:gd name="T25" fmla="*/ 2147483647 h 74"/>
              <a:gd name="T26" fmla="*/ 2147483647 w 60"/>
              <a:gd name="T27" fmla="*/ 2147483647 h 74"/>
              <a:gd name="T28" fmla="*/ 0 w 60"/>
              <a:gd name="T29" fmla="*/ 2147483647 h 74"/>
              <a:gd name="T30" fmla="*/ 2147483647 w 60"/>
              <a:gd name="T31" fmla="*/ 2147483647 h 74"/>
              <a:gd name="T32" fmla="*/ 2147483647 w 60"/>
              <a:gd name="T33" fmla="*/ 2147483647 h 74"/>
              <a:gd name="T34" fmla="*/ 2147483647 w 60"/>
              <a:gd name="T35" fmla="*/ 2147483647 h 74"/>
              <a:gd name="T36" fmla="*/ 2147483647 w 60"/>
              <a:gd name="T37" fmla="*/ 2147483647 h 74"/>
              <a:gd name="T38" fmla="*/ 2147483647 w 60"/>
              <a:gd name="T39" fmla="*/ 2147483647 h 74"/>
              <a:gd name="T40" fmla="*/ 2147483647 w 60"/>
              <a:gd name="T41" fmla="*/ 2147483647 h 74"/>
              <a:gd name="T42" fmla="*/ 2147483647 w 60"/>
              <a:gd name="T43" fmla="*/ 2147483647 h 74"/>
              <a:gd name="T44" fmla="*/ 2147483647 w 60"/>
              <a:gd name="T45" fmla="*/ 2147483647 h 74"/>
              <a:gd name="T46" fmla="*/ 2147483647 w 60"/>
              <a:gd name="T47" fmla="*/ 0 h 74"/>
              <a:gd name="T48" fmla="*/ 2147483647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16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595688" y="3073202"/>
            <a:ext cx="23812" cy="60325"/>
          </a:xfrm>
          <a:custGeom>
            <a:avLst/>
            <a:gdLst>
              <a:gd name="T0" fmla="*/ 2147483647 w 47"/>
              <a:gd name="T1" fmla="*/ 2147483647 h 45"/>
              <a:gd name="T2" fmla="*/ 2147483647 w 47"/>
              <a:gd name="T3" fmla="*/ 2147483647 h 45"/>
              <a:gd name="T4" fmla="*/ 2147483647 w 47"/>
              <a:gd name="T5" fmla="*/ 2147483647 h 45"/>
              <a:gd name="T6" fmla="*/ 2147483647 w 47"/>
              <a:gd name="T7" fmla="*/ 2147483647 h 45"/>
              <a:gd name="T8" fmla="*/ 2147483647 w 47"/>
              <a:gd name="T9" fmla="*/ 2147483647 h 45"/>
              <a:gd name="T10" fmla="*/ 2147483647 w 47"/>
              <a:gd name="T11" fmla="*/ 2147483647 h 45"/>
              <a:gd name="T12" fmla="*/ 2147483647 w 47"/>
              <a:gd name="T13" fmla="*/ 0 h 45"/>
              <a:gd name="T14" fmla="*/ 2147483647 w 47"/>
              <a:gd name="T15" fmla="*/ 2147483647 h 45"/>
              <a:gd name="T16" fmla="*/ 2147483647 w 47"/>
              <a:gd name="T17" fmla="*/ 2147483647 h 45"/>
              <a:gd name="T18" fmla="*/ 2147483647 w 47"/>
              <a:gd name="T19" fmla="*/ 2147483647 h 45"/>
              <a:gd name="T20" fmla="*/ 2147483647 w 47"/>
              <a:gd name="T21" fmla="*/ 2147483647 h 45"/>
              <a:gd name="T22" fmla="*/ 2147483647 w 47"/>
              <a:gd name="T23" fmla="*/ 2147483647 h 45"/>
              <a:gd name="T24" fmla="*/ 2147483647 w 47"/>
              <a:gd name="T25" fmla="*/ 2147483647 h 45"/>
              <a:gd name="T26" fmla="*/ 2147483647 w 47"/>
              <a:gd name="T27" fmla="*/ 2147483647 h 45"/>
              <a:gd name="T28" fmla="*/ 2147483647 w 47"/>
              <a:gd name="T29" fmla="*/ 2147483647 h 45"/>
              <a:gd name="T30" fmla="*/ 2147483647 w 47"/>
              <a:gd name="T31" fmla="*/ 2147483647 h 45"/>
              <a:gd name="T32" fmla="*/ 2147483647 w 47"/>
              <a:gd name="T33" fmla="*/ 2147483647 h 45"/>
              <a:gd name="T34" fmla="*/ 2147483647 w 47"/>
              <a:gd name="T35" fmla="*/ 2147483647 h 45"/>
              <a:gd name="T36" fmla="*/ 0 w 47"/>
              <a:gd name="T37" fmla="*/ 2147483647 h 45"/>
              <a:gd name="T38" fmla="*/ 2147483647 w 47"/>
              <a:gd name="T39" fmla="*/ 2147483647 h 45"/>
              <a:gd name="T40" fmla="*/ 2147483647 w 47"/>
              <a:gd name="T41" fmla="*/ 2147483647 h 45"/>
              <a:gd name="T42" fmla="*/ 2147483647 w 47"/>
              <a:gd name="T43" fmla="*/ 2147483647 h 45"/>
              <a:gd name="T44" fmla="*/ 2147483647 w 47"/>
              <a:gd name="T45" fmla="*/ 2147483647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17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570288" y="3066852"/>
            <a:ext cx="6350" cy="57150"/>
          </a:xfrm>
          <a:custGeom>
            <a:avLst/>
            <a:gdLst>
              <a:gd name="T0" fmla="*/ 2147483647 w 26"/>
              <a:gd name="T1" fmla="*/ 2147483647 h 36"/>
              <a:gd name="T2" fmla="*/ 2147483647 w 26"/>
              <a:gd name="T3" fmla="*/ 2147483647 h 36"/>
              <a:gd name="T4" fmla="*/ 2147483647 w 26"/>
              <a:gd name="T5" fmla="*/ 2147483647 h 36"/>
              <a:gd name="T6" fmla="*/ 2147483647 w 26"/>
              <a:gd name="T7" fmla="*/ 2147483647 h 36"/>
              <a:gd name="T8" fmla="*/ 0 w 26"/>
              <a:gd name="T9" fmla="*/ 0 h 36"/>
              <a:gd name="T10" fmla="*/ 2147483647 w 26"/>
              <a:gd name="T11" fmla="*/ 0 h 36"/>
              <a:gd name="T12" fmla="*/ 2147483647 w 26"/>
              <a:gd name="T13" fmla="*/ 2147483647 h 36"/>
              <a:gd name="T14" fmla="*/ 2147483647 w 26"/>
              <a:gd name="T15" fmla="*/ 2147483647 h 36"/>
              <a:gd name="T16" fmla="*/ 2147483647 w 26"/>
              <a:gd name="T17" fmla="*/ 2147483647 h 36"/>
              <a:gd name="T18" fmla="*/ 2147483647 w 26"/>
              <a:gd name="T19" fmla="*/ 2147483647 h 36"/>
              <a:gd name="T20" fmla="*/ 2147483647 w 26"/>
              <a:gd name="T21" fmla="*/ 2147483647 h 36"/>
              <a:gd name="T22" fmla="*/ 2147483647 w 26"/>
              <a:gd name="T23" fmla="*/ 2147483647 h 36"/>
              <a:gd name="T24" fmla="*/ 2147483647 w 26"/>
              <a:gd name="T25" fmla="*/ 2147483647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18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841875" y="2795389"/>
            <a:ext cx="174625" cy="158750"/>
          </a:xfrm>
          <a:custGeom>
            <a:avLst/>
            <a:gdLst>
              <a:gd name="T0" fmla="*/ 4833448 w 405"/>
              <a:gd name="T1" fmla="*/ 44763820 h 302"/>
              <a:gd name="T2" fmla="*/ 5205550 w 405"/>
              <a:gd name="T3" fmla="*/ 43105882 h 302"/>
              <a:gd name="T4" fmla="*/ 5577221 w 405"/>
              <a:gd name="T5" fmla="*/ 42553411 h 302"/>
              <a:gd name="T6" fmla="*/ 5205550 w 405"/>
              <a:gd name="T7" fmla="*/ 41724441 h 302"/>
              <a:gd name="T8" fmla="*/ 3346332 w 405"/>
              <a:gd name="T9" fmla="*/ 39514031 h 302"/>
              <a:gd name="T10" fmla="*/ 1115444 w 405"/>
              <a:gd name="T11" fmla="*/ 35092686 h 302"/>
              <a:gd name="T12" fmla="*/ 371671 w 405"/>
              <a:gd name="T13" fmla="*/ 32053307 h 302"/>
              <a:gd name="T14" fmla="*/ 929609 w 405"/>
              <a:gd name="T15" fmla="*/ 30947839 h 302"/>
              <a:gd name="T16" fmla="*/ 1115444 w 405"/>
              <a:gd name="T17" fmla="*/ 28737430 h 302"/>
              <a:gd name="T18" fmla="*/ 3160497 w 405"/>
              <a:gd name="T19" fmla="*/ 26802993 h 302"/>
              <a:gd name="T20" fmla="*/ 6320994 w 405"/>
              <a:gd name="T21" fmla="*/ 25698050 h 302"/>
              <a:gd name="T22" fmla="*/ 8737718 w 405"/>
              <a:gd name="T23" fmla="*/ 24316084 h 302"/>
              <a:gd name="T24" fmla="*/ 10596935 w 405"/>
              <a:gd name="T25" fmla="*/ 22658146 h 302"/>
              <a:gd name="T26" fmla="*/ 12456152 w 405"/>
              <a:gd name="T27" fmla="*/ 19342268 h 302"/>
              <a:gd name="T28" fmla="*/ 13943267 w 405"/>
              <a:gd name="T29" fmla="*/ 14368452 h 302"/>
              <a:gd name="T30" fmla="*/ 15616649 w 405"/>
              <a:gd name="T31" fmla="*/ 12987012 h 302"/>
              <a:gd name="T32" fmla="*/ 17661271 w 405"/>
              <a:gd name="T33" fmla="*/ 14368452 h 302"/>
              <a:gd name="T34" fmla="*/ 21751376 w 405"/>
              <a:gd name="T35" fmla="*/ 14921449 h 302"/>
              <a:gd name="T36" fmla="*/ 31418702 w 405"/>
              <a:gd name="T37" fmla="*/ 12710513 h 302"/>
              <a:gd name="T38" fmla="*/ 39413078 w 405"/>
              <a:gd name="T39" fmla="*/ 11881544 h 302"/>
              <a:gd name="T40" fmla="*/ 43502752 w 405"/>
              <a:gd name="T41" fmla="*/ 11329073 h 302"/>
              <a:gd name="T42" fmla="*/ 49080404 w 405"/>
              <a:gd name="T43" fmla="*/ 9671134 h 302"/>
              <a:gd name="T44" fmla="*/ 59119402 w 405"/>
              <a:gd name="T45" fmla="*/ 4697318 h 302"/>
              <a:gd name="T46" fmla="*/ 66741675 w 405"/>
              <a:gd name="T47" fmla="*/ 1105468 h 302"/>
              <a:gd name="T48" fmla="*/ 69158399 w 405"/>
              <a:gd name="T49" fmla="*/ 828969 h 302"/>
              <a:gd name="T50" fmla="*/ 71575554 w 405"/>
              <a:gd name="T51" fmla="*/ 828969 h 302"/>
              <a:gd name="T52" fmla="*/ 73992277 w 405"/>
              <a:gd name="T53" fmla="*/ 276498 h 302"/>
              <a:gd name="T54" fmla="*/ 73434340 w 405"/>
              <a:gd name="T55" fmla="*/ 2210410 h 302"/>
              <a:gd name="T56" fmla="*/ 66927510 w 405"/>
              <a:gd name="T57" fmla="*/ 11329073 h 302"/>
              <a:gd name="T58" fmla="*/ 63952849 w 405"/>
              <a:gd name="T59" fmla="*/ 15750418 h 302"/>
              <a:gd name="T60" fmla="*/ 63023672 w 405"/>
              <a:gd name="T61" fmla="*/ 17684329 h 302"/>
              <a:gd name="T62" fmla="*/ 63023672 w 405"/>
              <a:gd name="T63" fmla="*/ 26527020 h 302"/>
              <a:gd name="T64" fmla="*/ 62651569 w 405"/>
              <a:gd name="T65" fmla="*/ 41171970 h 302"/>
              <a:gd name="T66" fmla="*/ 62279898 w 405"/>
              <a:gd name="T67" fmla="*/ 49737637 h 302"/>
              <a:gd name="T68" fmla="*/ 60606517 w 405"/>
              <a:gd name="T69" fmla="*/ 54711453 h 302"/>
              <a:gd name="T70" fmla="*/ 56702678 w 405"/>
              <a:gd name="T71" fmla="*/ 58027330 h 302"/>
              <a:gd name="T72" fmla="*/ 49266240 w 405"/>
              <a:gd name="T73" fmla="*/ 62724648 h 302"/>
              <a:gd name="T74" fmla="*/ 19706323 w 405"/>
              <a:gd name="T75" fmla="*/ 83448882 h 302"/>
              <a:gd name="T76" fmla="*/ 10596935 w 405"/>
              <a:gd name="T77" fmla="*/ 71843311 h 302"/>
              <a:gd name="T78" fmla="*/ 13013659 w 405"/>
              <a:gd name="T79" fmla="*/ 63001147 h 302"/>
              <a:gd name="T80" fmla="*/ 15058711 w 405"/>
              <a:gd name="T81" fmla="*/ 57750832 h 302"/>
              <a:gd name="T82" fmla="*/ 15988320 w 405"/>
              <a:gd name="T83" fmla="*/ 47527227 h 302"/>
              <a:gd name="T84" fmla="*/ 13199494 w 405"/>
              <a:gd name="T85" fmla="*/ 47803725 h 302"/>
              <a:gd name="T86" fmla="*/ 10596935 w 405"/>
              <a:gd name="T87" fmla="*/ 46698257 h 302"/>
              <a:gd name="T88" fmla="*/ 7622273 w 405"/>
              <a:gd name="T89" fmla="*/ 45592790 h 302"/>
              <a:gd name="T90" fmla="*/ 4833448 w 405"/>
              <a:gd name="T91" fmla="*/ 45869288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s-ES">
              <a:solidFill>
                <a:schemeClr val="lt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19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935788" y="3176389"/>
            <a:ext cx="42862" cy="79375"/>
          </a:xfrm>
          <a:custGeom>
            <a:avLst/>
            <a:gdLst>
              <a:gd name="T0" fmla="*/ 2147483647 w 100"/>
              <a:gd name="T1" fmla="*/ 2147483647 h 155"/>
              <a:gd name="T2" fmla="*/ 2147483647 w 100"/>
              <a:gd name="T3" fmla="*/ 2147483647 h 155"/>
              <a:gd name="T4" fmla="*/ 2147483647 w 100"/>
              <a:gd name="T5" fmla="*/ 2147483647 h 155"/>
              <a:gd name="T6" fmla="*/ 2147483647 w 100"/>
              <a:gd name="T7" fmla="*/ 2147483647 h 155"/>
              <a:gd name="T8" fmla="*/ 2147483647 w 100"/>
              <a:gd name="T9" fmla="*/ 2147483647 h 155"/>
              <a:gd name="T10" fmla="*/ 2147483647 w 100"/>
              <a:gd name="T11" fmla="*/ 2147483647 h 155"/>
              <a:gd name="T12" fmla="*/ 2147483647 w 100"/>
              <a:gd name="T13" fmla="*/ 2147483647 h 155"/>
              <a:gd name="T14" fmla="*/ 2147483647 w 100"/>
              <a:gd name="T15" fmla="*/ 2147483647 h 155"/>
              <a:gd name="T16" fmla="*/ 2147483647 w 100"/>
              <a:gd name="T17" fmla="*/ 2147483647 h 155"/>
              <a:gd name="T18" fmla="*/ 2147483647 w 100"/>
              <a:gd name="T19" fmla="*/ 2147483647 h 155"/>
              <a:gd name="T20" fmla="*/ 2147483647 w 100"/>
              <a:gd name="T21" fmla="*/ 2147483647 h 155"/>
              <a:gd name="T22" fmla="*/ 2147483647 w 100"/>
              <a:gd name="T23" fmla="*/ 2147483647 h 155"/>
              <a:gd name="T24" fmla="*/ 2147483647 w 100"/>
              <a:gd name="T25" fmla="*/ 2147483647 h 155"/>
              <a:gd name="T26" fmla="*/ 2147483647 w 100"/>
              <a:gd name="T27" fmla="*/ 2147483647 h 155"/>
              <a:gd name="T28" fmla="*/ 2147483647 w 100"/>
              <a:gd name="T29" fmla="*/ 2147483647 h 155"/>
              <a:gd name="T30" fmla="*/ 2147483647 w 100"/>
              <a:gd name="T31" fmla="*/ 2147483647 h 155"/>
              <a:gd name="T32" fmla="*/ 2147483647 w 100"/>
              <a:gd name="T33" fmla="*/ 2147483647 h 155"/>
              <a:gd name="T34" fmla="*/ 2147483647 w 100"/>
              <a:gd name="T35" fmla="*/ 2147483647 h 155"/>
              <a:gd name="T36" fmla="*/ 2147483647 w 100"/>
              <a:gd name="T37" fmla="*/ 2147483647 h 155"/>
              <a:gd name="T38" fmla="*/ 2147483647 w 100"/>
              <a:gd name="T39" fmla="*/ 2147483647 h 155"/>
              <a:gd name="T40" fmla="*/ 2147483647 w 100"/>
              <a:gd name="T41" fmla="*/ 2147483647 h 155"/>
              <a:gd name="T42" fmla="*/ 2147483647 w 100"/>
              <a:gd name="T43" fmla="*/ 2147483647 h 155"/>
              <a:gd name="T44" fmla="*/ 2147483647 w 100"/>
              <a:gd name="T45" fmla="*/ 2147483647 h 155"/>
              <a:gd name="T46" fmla="*/ 0 w 100"/>
              <a:gd name="T47" fmla="*/ 2147483647 h 155"/>
              <a:gd name="T48" fmla="*/ 0 w 100"/>
              <a:gd name="T49" fmla="*/ 2147483647 h 155"/>
              <a:gd name="T50" fmla="*/ 0 w 100"/>
              <a:gd name="T51" fmla="*/ 2147483647 h 155"/>
              <a:gd name="T52" fmla="*/ 0 w 100"/>
              <a:gd name="T53" fmla="*/ 2147483647 h 155"/>
              <a:gd name="T54" fmla="*/ 0 w 100"/>
              <a:gd name="T55" fmla="*/ 2147483647 h 155"/>
              <a:gd name="T56" fmla="*/ 0 w 100"/>
              <a:gd name="T57" fmla="*/ 2147483647 h 155"/>
              <a:gd name="T58" fmla="*/ 2147483647 w 100"/>
              <a:gd name="T59" fmla="*/ 2147483647 h 155"/>
              <a:gd name="T60" fmla="*/ 2147483647 w 100"/>
              <a:gd name="T61" fmla="*/ 2147483647 h 155"/>
              <a:gd name="T62" fmla="*/ 2147483647 w 100"/>
              <a:gd name="T63" fmla="*/ 2147483647 h 155"/>
              <a:gd name="T64" fmla="*/ 2147483647 w 100"/>
              <a:gd name="T65" fmla="*/ 2147483647 h 155"/>
              <a:gd name="T66" fmla="*/ 2147483647 w 100"/>
              <a:gd name="T67" fmla="*/ 2147483647 h 155"/>
              <a:gd name="T68" fmla="*/ 2147483647 w 100"/>
              <a:gd name="T69" fmla="*/ 2147483647 h 155"/>
              <a:gd name="T70" fmla="*/ 2147483647 w 100"/>
              <a:gd name="T71" fmla="*/ 2147483647 h 155"/>
              <a:gd name="T72" fmla="*/ 2147483647 w 100"/>
              <a:gd name="T73" fmla="*/ 2147483647 h 155"/>
              <a:gd name="T74" fmla="*/ 2147483647 w 100"/>
              <a:gd name="T75" fmla="*/ 2147483647 h 155"/>
              <a:gd name="T76" fmla="*/ 2147483647 w 100"/>
              <a:gd name="T77" fmla="*/ 2147483647 h 155"/>
              <a:gd name="T78" fmla="*/ 2147483647 w 100"/>
              <a:gd name="T79" fmla="*/ 0 h 155"/>
              <a:gd name="T80" fmla="*/ 2147483647 w 100"/>
              <a:gd name="T81" fmla="*/ 0 h 155"/>
              <a:gd name="T82" fmla="*/ 2147483647 w 100"/>
              <a:gd name="T83" fmla="*/ 0 h 155"/>
              <a:gd name="T84" fmla="*/ 2147483647 w 100"/>
              <a:gd name="T85" fmla="*/ 2147483647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20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583113" y="2644577"/>
            <a:ext cx="482600" cy="201612"/>
            <a:chOff x="3289" y="1830"/>
            <a:chExt cx="363" cy="128"/>
          </a:xfrm>
          <a:solidFill>
            <a:schemeClr val="accent5">
              <a:lumMod val="50000"/>
            </a:schemeClr>
          </a:solidFill>
        </p:grpSpPr>
        <p:sp>
          <p:nvSpPr>
            <p:cNvPr id="2431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1 w 13"/>
                <a:gd name="T1" fmla="*/ 0 h 7"/>
                <a:gd name="T2" fmla="*/ 1 w 13"/>
                <a:gd name="T3" fmla="*/ 0 h 7"/>
                <a:gd name="T4" fmla="*/ 1 w 13"/>
                <a:gd name="T5" fmla="*/ 0 h 7"/>
                <a:gd name="T6" fmla="*/ 0 w 13"/>
                <a:gd name="T7" fmla="*/ 1 h 7"/>
                <a:gd name="T8" fmla="*/ 0 w 13"/>
                <a:gd name="T9" fmla="*/ 1 h 7"/>
                <a:gd name="T10" fmla="*/ 1 w 13"/>
                <a:gd name="T11" fmla="*/ 0 h 7"/>
                <a:gd name="T12" fmla="*/ 1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solidFill>
                <a:schemeClr val="accent5">
                  <a:lumMod val="25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32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1 h 8"/>
                <a:gd name="T2" fmla="*/ 1 w 34"/>
                <a:gd name="T3" fmla="*/ 1 h 8"/>
                <a:gd name="T4" fmla="*/ 1 w 34"/>
                <a:gd name="T5" fmla="*/ 0 h 8"/>
                <a:gd name="T6" fmla="*/ 2 w 34"/>
                <a:gd name="T7" fmla="*/ 0 h 8"/>
                <a:gd name="T8" fmla="*/ 3 w 34"/>
                <a:gd name="T9" fmla="*/ 0 h 8"/>
                <a:gd name="T10" fmla="*/ 3 w 34"/>
                <a:gd name="T11" fmla="*/ 0 h 8"/>
                <a:gd name="T12" fmla="*/ 2 w 34"/>
                <a:gd name="T13" fmla="*/ 1 h 8"/>
                <a:gd name="T14" fmla="*/ 2 w 34"/>
                <a:gd name="T15" fmla="*/ 1 h 8"/>
                <a:gd name="T16" fmla="*/ 1 w 34"/>
                <a:gd name="T17" fmla="*/ 1 h 8"/>
                <a:gd name="T18" fmla="*/ 1 w 34"/>
                <a:gd name="T19" fmla="*/ 1 h 8"/>
                <a:gd name="T20" fmla="*/ 1 w 34"/>
                <a:gd name="T21" fmla="*/ 1 h 8"/>
                <a:gd name="T22" fmla="*/ 0 w 34"/>
                <a:gd name="T23" fmla="*/ 1 h 8"/>
                <a:gd name="T24" fmla="*/ 0 w 34"/>
                <a:gd name="T25" fmla="*/ 1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solidFill>
                <a:schemeClr val="accent5">
                  <a:lumMod val="25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33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3 h 24"/>
                <a:gd name="T2" fmla="*/ 0 w 13"/>
                <a:gd name="T3" fmla="*/ 0 h 24"/>
                <a:gd name="T4" fmla="*/ 1 w 13"/>
                <a:gd name="T5" fmla="*/ 1 h 24"/>
                <a:gd name="T6" fmla="*/ 0 w 13"/>
                <a:gd name="T7" fmla="*/ 3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solidFill>
                <a:schemeClr val="accent5">
                  <a:lumMod val="25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34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1 h 69"/>
                <a:gd name="T2" fmla="*/ 0 w 107"/>
                <a:gd name="T3" fmla="*/ 3 h 69"/>
                <a:gd name="T4" fmla="*/ 0 w 107"/>
                <a:gd name="T5" fmla="*/ 5 h 69"/>
                <a:gd name="T6" fmla="*/ 0 w 107"/>
                <a:gd name="T7" fmla="*/ 7 h 69"/>
                <a:gd name="T8" fmla="*/ 0 w 107"/>
                <a:gd name="T9" fmla="*/ 8 h 69"/>
                <a:gd name="T10" fmla="*/ 2 w 107"/>
                <a:gd name="T11" fmla="*/ 7 h 69"/>
                <a:gd name="T12" fmla="*/ 5 w 107"/>
                <a:gd name="T13" fmla="*/ 6 h 69"/>
                <a:gd name="T14" fmla="*/ 9 w 107"/>
                <a:gd name="T15" fmla="*/ 6 h 69"/>
                <a:gd name="T16" fmla="*/ 11 w 107"/>
                <a:gd name="T17" fmla="*/ 5 h 69"/>
                <a:gd name="T18" fmla="*/ 10 w 107"/>
                <a:gd name="T19" fmla="*/ 4 h 69"/>
                <a:gd name="T20" fmla="*/ 10 w 107"/>
                <a:gd name="T21" fmla="*/ 4 h 69"/>
                <a:gd name="T22" fmla="*/ 9 w 107"/>
                <a:gd name="T23" fmla="*/ 3 h 69"/>
                <a:gd name="T24" fmla="*/ 8 w 107"/>
                <a:gd name="T25" fmla="*/ 3 h 69"/>
                <a:gd name="T26" fmla="*/ 7 w 107"/>
                <a:gd name="T27" fmla="*/ 3 h 69"/>
                <a:gd name="T28" fmla="*/ 7 w 107"/>
                <a:gd name="T29" fmla="*/ 2 h 69"/>
                <a:gd name="T30" fmla="*/ 6 w 107"/>
                <a:gd name="T31" fmla="*/ 2 h 69"/>
                <a:gd name="T32" fmla="*/ 6 w 107"/>
                <a:gd name="T33" fmla="*/ 1 h 69"/>
                <a:gd name="T34" fmla="*/ 6 w 107"/>
                <a:gd name="T35" fmla="*/ 1 h 69"/>
                <a:gd name="T36" fmla="*/ 6 w 107"/>
                <a:gd name="T37" fmla="*/ 0 h 69"/>
                <a:gd name="T38" fmla="*/ 5 w 107"/>
                <a:gd name="T39" fmla="*/ 0 h 69"/>
                <a:gd name="T40" fmla="*/ 4 w 107"/>
                <a:gd name="T41" fmla="*/ 0 h 69"/>
                <a:gd name="T42" fmla="*/ 2 w 107"/>
                <a:gd name="T43" fmla="*/ 1 h 69"/>
                <a:gd name="T44" fmla="*/ 0 w 107"/>
                <a:gd name="T45" fmla="*/ 1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solidFill>
                <a:schemeClr val="accent5">
                  <a:lumMod val="25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35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106 w 1070"/>
                <a:gd name="T1" fmla="*/ 14 h 382"/>
                <a:gd name="T2" fmla="*/ 104 w 1070"/>
                <a:gd name="T3" fmla="*/ 12 h 382"/>
                <a:gd name="T4" fmla="*/ 103 w 1070"/>
                <a:gd name="T5" fmla="*/ 6 h 382"/>
                <a:gd name="T6" fmla="*/ 100 w 1070"/>
                <a:gd name="T7" fmla="*/ 4 h 382"/>
                <a:gd name="T8" fmla="*/ 87 w 1070"/>
                <a:gd name="T9" fmla="*/ 2 h 382"/>
                <a:gd name="T10" fmla="*/ 78 w 1070"/>
                <a:gd name="T11" fmla="*/ 6 h 382"/>
                <a:gd name="T12" fmla="*/ 73 w 1070"/>
                <a:gd name="T13" fmla="*/ 7 h 382"/>
                <a:gd name="T14" fmla="*/ 68 w 1070"/>
                <a:gd name="T15" fmla="*/ 7 h 382"/>
                <a:gd name="T16" fmla="*/ 65 w 1070"/>
                <a:gd name="T17" fmla="*/ 5 h 382"/>
                <a:gd name="T18" fmla="*/ 60 w 1070"/>
                <a:gd name="T19" fmla="*/ 4 h 382"/>
                <a:gd name="T20" fmla="*/ 56 w 1070"/>
                <a:gd name="T21" fmla="*/ 2 h 382"/>
                <a:gd name="T22" fmla="*/ 52 w 1070"/>
                <a:gd name="T23" fmla="*/ 2 h 382"/>
                <a:gd name="T24" fmla="*/ 50 w 1070"/>
                <a:gd name="T25" fmla="*/ 0 h 382"/>
                <a:gd name="T26" fmla="*/ 42 w 1070"/>
                <a:gd name="T27" fmla="*/ 2 h 382"/>
                <a:gd name="T28" fmla="*/ 32 w 1070"/>
                <a:gd name="T29" fmla="*/ 3 h 382"/>
                <a:gd name="T30" fmla="*/ 27 w 1070"/>
                <a:gd name="T31" fmla="*/ 5 h 382"/>
                <a:gd name="T32" fmla="*/ 15 w 1070"/>
                <a:gd name="T33" fmla="*/ 7 h 382"/>
                <a:gd name="T34" fmla="*/ 19 w 1070"/>
                <a:gd name="T35" fmla="*/ 8 h 382"/>
                <a:gd name="T36" fmla="*/ 18 w 1070"/>
                <a:gd name="T37" fmla="*/ 10 h 382"/>
                <a:gd name="T38" fmla="*/ 12 w 1070"/>
                <a:gd name="T39" fmla="*/ 10 h 382"/>
                <a:gd name="T40" fmla="*/ 5 w 1070"/>
                <a:gd name="T41" fmla="*/ 10 h 382"/>
                <a:gd name="T42" fmla="*/ 1 w 1070"/>
                <a:gd name="T43" fmla="*/ 12 h 382"/>
                <a:gd name="T44" fmla="*/ 0 w 1070"/>
                <a:gd name="T45" fmla="*/ 16 h 382"/>
                <a:gd name="T46" fmla="*/ 2 w 1070"/>
                <a:gd name="T47" fmla="*/ 19 h 382"/>
                <a:gd name="T48" fmla="*/ 2 w 1070"/>
                <a:gd name="T49" fmla="*/ 22 h 382"/>
                <a:gd name="T50" fmla="*/ 2 w 1070"/>
                <a:gd name="T51" fmla="*/ 23 h 382"/>
                <a:gd name="T52" fmla="*/ 5 w 1070"/>
                <a:gd name="T53" fmla="*/ 26 h 382"/>
                <a:gd name="T54" fmla="*/ 6 w 1070"/>
                <a:gd name="T55" fmla="*/ 29 h 382"/>
                <a:gd name="T56" fmla="*/ 8 w 1070"/>
                <a:gd name="T57" fmla="*/ 30 h 382"/>
                <a:gd name="T58" fmla="*/ 10 w 1070"/>
                <a:gd name="T59" fmla="*/ 33 h 382"/>
                <a:gd name="T60" fmla="*/ 22 w 1070"/>
                <a:gd name="T61" fmla="*/ 40 h 382"/>
                <a:gd name="T62" fmla="*/ 27 w 1070"/>
                <a:gd name="T63" fmla="*/ 42 h 382"/>
                <a:gd name="T64" fmla="*/ 28 w 1070"/>
                <a:gd name="T65" fmla="*/ 40 h 382"/>
                <a:gd name="T66" fmla="*/ 30 w 1070"/>
                <a:gd name="T67" fmla="*/ 38 h 382"/>
                <a:gd name="T68" fmla="*/ 32 w 1070"/>
                <a:gd name="T69" fmla="*/ 36 h 382"/>
                <a:gd name="T70" fmla="*/ 36 w 1070"/>
                <a:gd name="T71" fmla="*/ 36 h 382"/>
                <a:gd name="T72" fmla="*/ 39 w 1070"/>
                <a:gd name="T73" fmla="*/ 40 h 382"/>
                <a:gd name="T74" fmla="*/ 43 w 1070"/>
                <a:gd name="T75" fmla="*/ 42 h 382"/>
                <a:gd name="T76" fmla="*/ 48 w 1070"/>
                <a:gd name="T77" fmla="*/ 40 h 382"/>
                <a:gd name="T78" fmla="*/ 53 w 1070"/>
                <a:gd name="T79" fmla="*/ 38 h 382"/>
                <a:gd name="T80" fmla="*/ 56 w 1070"/>
                <a:gd name="T81" fmla="*/ 37 h 382"/>
                <a:gd name="T82" fmla="*/ 60 w 1070"/>
                <a:gd name="T83" fmla="*/ 37 h 382"/>
                <a:gd name="T84" fmla="*/ 61 w 1070"/>
                <a:gd name="T85" fmla="*/ 41 h 382"/>
                <a:gd name="T86" fmla="*/ 63 w 1070"/>
                <a:gd name="T87" fmla="*/ 42 h 382"/>
                <a:gd name="T88" fmla="*/ 66 w 1070"/>
                <a:gd name="T89" fmla="*/ 41 h 382"/>
                <a:gd name="T90" fmla="*/ 69 w 1070"/>
                <a:gd name="T91" fmla="*/ 38 h 382"/>
                <a:gd name="T92" fmla="*/ 80 w 1070"/>
                <a:gd name="T93" fmla="*/ 37 h 382"/>
                <a:gd name="T94" fmla="*/ 89 w 1070"/>
                <a:gd name="T95" fmla="*/ 36 h 382"/>
                <a:gd name="T96" fmla="*/ 98 w 1070"/>
                <a:gd name="T97" fmla="*/ 32 h 382"/>
                <a:gd name="T98" fmla="*/ 103 w 1070"/>
                <a:gd name="T99" fmla="*/ 32 h 382"/>
                <a:gd name="T100" fmla="*/ 108 w 1070"/>
                <a:gd name="T101" fmla="*/ 33 h 382"/>
                <a:gd name="T102" fmla="*/ 113 w 1070"/>
                <a:gd name="T103" fmla="*/ 35 h 382"/>
                <a:gd name="T104" fmla="*/ 113 w 1070"/>
                <a:gd name="T105" fmla="*/ 30 h 382"/>
                <a:gd name="T106" fmla="*/ 110 w 1070"/>
                <a:gd name="T107" fmla="*/ 24 h 382"/>
                <a:gd name="T108" fmla="*/ 109 w 1070"/>
                <a:gd name="T109" fmla="*/ 19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solidFill>
                <a:schemeClr val="accent5">
                  <a:lumMod val="25000"/>
                </a:schemeClr>
              </a:solidFill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s-ES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421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571750" y="3797102"/>
            <a:ext cx="100013" cy="122237"/>
          </a:xfrm>
          <a:custGeom>
            <a:avLst/>
            <a:gdLst>
              <a:gd name="T0" fmla="*/ 2147483647 w 226"/>
              <a:gd name="T1" fmla="*/ 2147483647 h 237"/>
              <a:gd name="T2" fmla="*/ 2147483647 w 226"/>
              <a:gd name="T3" fmla="*/ 2147483647 h 237"/>
              <a:gd name="T4" fmla="*/ 2147483647 w 226"/>
              <a:gd name="T5" fmla="*/ 2147483647 h 237"/>
              <a:gd name="T6" fmla="*/ 2147483647 w 226"/>
              <a:gd name="T7" fmla="*/ 2147483647 h 237"/>
              <a:gd name="T8" fmla="*/ 2147483647 w 226"/>
              <a:gd name="T9" fmla="*/ 2147483647 h 237"/>
              <a:gd name="T10" fmla="*/ 2147483647 w 226"/>
              <a:gd name="T11" fmla="*/ 2147483647 h 237"/>
              <a:gd name="T12" fmla="*/ 2147483647 w 226"/>
              <a:gd name="T13" fmla="*/ 2147483647 h 237"/>
              <a:gd name="T14" fmla="*/ 2147483647 w 226"/>
              <a:gd name="T15" fmla="*/ 2147483647 h 237"/>
              <a:gd name="T16" fmla="*/ 2147483647 w 226"/>
              <a:gd name="T17" fmla="*/ 2147483647 h 237"/>
              <a:gd name="T18" fmla="*/ 2147483647 w 226"/>
              <a:gd name="T19" fmla="*/ 2147483647 h 237"/>
              <a:gd name="T20" fmla="*/ 2147483647 w 226"/>
              <a:gd name="T21" fmla="*/ 2147483647 h 237"/>
              <a:gd name="T22" fmla="*/ 2147483647 w 226"/>
              <a:gd name="T23" fmla="*/ 2147483647 h 237"/>
              <a:gd name="T24" fmla="*/ 2147483647 w 226"/>
              <a:gd name="T25" fmla="*/ 2147483647 h 237"/>
              <a:gd name="T26" fmla="*/ 2147483647 w 226"/>
              <a:gd name="T27" fmla="*/ 2147483647 h 237"/>
              <a:gd name="T28" fmla="*/ 2147483647 w 226"/>
              <a:gd name="T29" fmla="*/ 2147483647 h 237"/>
              <a:gd name="T30" fmla="*/ 2147483647 w 226"/>
              <a:gd name="T31" fmla="*/ 2147483647 h 237"/>
              <a:gd name="T32" fmla="*/ 2147483647 w 226"/>
              <a:gd name="T33" fmla="*/ 2147483647 h 237"/>
              <a:gd name="T34" fmla="*/ 2147483647 w 226"/>
              <a:gd name="T35" fmla="*/ 2147483647 h 237"/>
              <a:gd name="T36" fmla="*/ 2147483647 w 226"/>
              <a:gd name="T37" fmla="*/ 2147483647 h 237"/>
              <a:gd name="T38" fmla="*/ 2147483647 w 226"/>
              <a:gd name="T39" fmla="*/ 2147483647 h 237"/>
              <a:gd name="T40" fmla="*/ 2147483647 w 226"/>
              <a:gd name="T41" fmla="*/ 2147483647 h 237"/>
              <a:gd name="T42" fmla="*/ 2147483647 w 226"/>
              <a:gd name="T43" fmla="*/ 2147483647 h 237"/>
              <a:gd name="T44" fmla="*/ 2147483647 w 226"/>
              <a:gd name="T45" fmla="*/ 2147483647 h 237"/>
              <a:gd name="T46" fmla="*/ 2147483647 w 226"/>
              <a:gd name="T47" fmla="*/ 2147483647 h 237"/>
              <a:gd name="T48" fmla="*/ 2147483647 w 226"/>
              <a:gd name="T49" fmla="*/ 2147483647 h 237"/>
              <a:gd name="T50" fmla="*/ 2147483647 w 226"/>
              <a:gd name="T51" fmla="*/ 2147483647 h 237"/>
              <a:gd name="T52" fmla="*/ 2147483647 w 226"/>
              <a:gd name="T53" fmla="*/ 2147483647 h 237"/>
              <a:gd name="T54" fmla="*/ 2147483647 w 226"/>
              <a:gd name="T55" fmla="*/ 2147483647 h 237"/>
              <a:gd name="T56" fmla="*/ 2147483647 w 226"/>
              <a:gd name="T57" fmla="*/ 2147483647 h 237"/>
              <a:gd name="T58" fmla="*/ 0 w 226"/>
              <a:gd name="T59" fmla="*/ 2147483647 h 237"/>
              <a:gd name="T60" fmla="*/ 2147483647 w 226"/>
              <a:gd name="T61" fmla="*/ 2147483647 h 237"/>
              <a:gd name="T62" fmla="*/ 2147483647 w 226"/>
              <a:gd name="T63" fmla="*/ 2147483647 h 237"/>
              <a:gd name="T64" fmla="*/ 2147483647 w 226"/>
              <a:gd name="T65" fmla="*/ 2147483647 h 237"/>
              <a:gd name="T66" fmla="*/ 2147483647 w 226"/>
              <a:gd name="T67" fmla="*/ 2147483647 h 237"/>
              <a:gd name="T68" fmla="*/ 2147483647 w 226"/>
              <a:gd name="T69" fmla="*/ 2147483647 h 237"/>
              <a:gd name="T70" fmla="*/ 2147483647 w 226"/>
              <a:gd name="T71" fmla="*/ 2147483647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22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516688" y="3233539"/>
            <a:ext cx="207962" cy="458788"/>
          </a:xfrm>
          <a:custGeom>
            <a:avLst/>
            <a:gdLst>
              <a:gd name="T0" fmla="*/ 2147483647 w 478"/>
              <a:gd name="T1" fmla="*/ 2147483647 h 875"/>
              <a:gd name="T2" fmla="*/ 2147483647 w 478"/>
              <a:gd name="T3" fmla="*/ 2147483647 h 875"/>
              <a:gd name="T4" fmla="*/ 2147483647 w 478"/>
              <a:gd name="T5" fmla="*/ 2147483647 h 875"/>
              <a:gd name="T6" fmla="*/ 2147483647 w 478"/>
              <a:gd name="T7" fmla="*/ 2147483647 h 875"/>
              <a:gd name="T8" fmla="*/ 2147483647 w 478"/>
              <a:gd name="T9" fmla="*/ 2147483647 h 875"/>
              <a:gd name="T10" fmla="*/ 2147483647 w 478"/>
              <a:gd name="T11" fmla="*/ 2147483647 h 875"/>
              <a:gd name="T12" fmla="*/ 2147483647 w 478"/>
              <a:gd name="T13" fmla="*/ 2147483647 h 875"/>
              <a:gd name="T14" fmla="*/ 2147483647 w 478"/>
              <a:gd name="T15" fmla="*/ 2147483647 h 875"/>
              <a:gd name="T16" fmla="*/ 2147483647 w 478"/>
              <a:gd name="T17" fmla="*/ 2147483647 h 875"/>
              <a:gd name="T18" fmla="*/ 2147483647 w 478"/>
              <a:gd name="T19" fmla="*/ 2147483647 h 875"/>
              <a:gd name="T20" fmla="*/ 2147483647 w 478"/>
              <a:gd name="T21" fmla="*/ 2147483647 h 875"/>
              <a:gd name="T22" fmla="*/ 2147483647 w 478"/>
              <a:gd name="T23" fmla="*/ 2147483647 h 875"/>
              <a:gd name="T24" fmla="*/ 2147483647 w 478"/>
              <a:gd name="T25" fmla="*/ 2147483647 h 875"/>
              <a:gd name="T26" fmla="*/ 2147483647 w 478"/>
              <a:gd name="T27" fmla="*/ 2147483647 h 875"/>
              <a:gd name="T28" fmla="*/ 2147483647 w 478"/>
              <a:gd name="T29" fmla="*/ 2147483647 h 875"/>
              <a:gd name="T30" fmla="*/ 2147483647 w 478"/>
              <a:gd name="T31" fmla="*/ 2147483647 h 875"/>
              <a:gd name="T32" fmla="*/ 2147483647 w 478"/>
              <a:gd name="T33" fmla="*/ 2147483647 h 875"/>
              <a:gd name="T34" fmla="*/ 2147483647 w 478"/>
              <a:gd name="T35" fmla="*/ 2147483647 h 875"/>
              <a:gd name="T36" fmla="*/ 2147483647 w 478"/>
              <a:gd name="T37" fmla="*/ 2147483647 h 875"/>
              <a:gd name="T38" fmla="*/ 2147483647 w 478"/>
              <a:gd name="T39" fmla="*/ 2147483647 h 875"/>
              <a:gd name="T40" fmla="*/ 2147483647 w 478"/>
              <a:gd name="T41" fmla="*/ 2147483647 h 875"/>
              <a:gd name="T42" fmla="*/ 2147483647 w 478"/>
              <a:gd name="T43" fmla="*/ 2147483647 h 875"/>
              <a:gd name="T44" fmla="*/ 2147483647 w 478"/>
              <a:gd name="T45" fmla="*/ 2147483647 h 875"/>
              <a:gd name="T46" fmla="*/ 2147483647 w 478"/>
              <a:gd name="T47" fmla="*/ 2147483647 h 875"/>
              <a:gd name="T48" fmla="*/ 2147483647 w 478"/>
              <a:gd name="T49" fmla="*/ 2147483647 h 875"/>
              <a:gd name="T50" fmla="*/ 2147483647 w 478"/>
              <a:gd name="T51" fmla="*/ 2147483647 h 875"/>
              <a:gd name="T52" fmla="*/ 2147483647 w 478"/>
              <a:gd name="T53" fmla="*/ 2147483647 h 875"/>
              <a:gd name="T54" fmla="*/ 2147483647 w 478"/>
              <a:gd name="T55" fmla="*/ 2147483647 h 875"/>
              <a:gd name="T56" fmla="*/ 2147483647 w 478"/>
              <a:gd name="T57" fmla="*/ 2147483647 h 875"/>
              <a:gd name="T58" fmla="*/ 2147483647 w 478"/>
              <a:gd name="T59" fmla="*/ 2147483647 h 875"/>
              <a:gd name="T60" fmla="*/ 2147483647 w 478"/>
              <a:gd name="T61" fmla="*/ 2147483647 h 875"/>
              <a:gd name="T62" fmla="*/ 2147483647 w 478"/>
              <a:gd name="T63" fmla="*/ 2147483647 h 875"/>
              <a:gd name="T64" fmla="*/ 2147483647 w 478"/>
              <a:gd name="T65" fmla="*/ 2147483647 h 875"/>
              <a:gd name="T66" fmla="*/ 2147483647 w 478"/>
              <a:gd name="T67" fmla="*/ 2147483647 h 875"/>
              <a:gd name="T68" fmla="*/ 2147483647 w 478"/>
              <a:gd name="T69" fmla="*/ 2147483647 h 875"/>
              <a:gd name="T70" fmla="*/ 2147483647 w 478"/>
              <a:gd name="T71" fmla="*/ 2147483647 h 875"/>
              <a:gd name="T72" fmla="*/ 2147483647 w 478"/>
              <a:gd name="T73" fmla="*/ 2147483647 h 875"/>
              <a:gd name="T74" fmla="*/ 2147483647 w 478"/>
              <a:gd name="T75" fmla="*/ 2147483647 h 875"/>
              <a:gd name="T76" fmla="*/ 2147483647 w 478"/>
              <a:gd name="T77" fmla="*/ 2147483647 h 875"/>
              <a:gd name="T78" fmla="*/ 2147483647 w 478"/>
              <a:gd name="T79" fmla="*/ 2147483647 h 875"/>
              <a:gd name="T80" fmla="*/ 2147483647 w 478"/>
              <a:gd name="T81" fmla="*/ 2147483647 h 875"/>
              <a:gd name="T82" fmla="*/ 2147483647 w 478"/>
              <a:gd name="T83" fmla="*/ 2147483647 h 875"/>
              <a:gd name="T84" fmla="*/ 2147483647 w 478"/>
              <a:gd name="T85" fmla="*/ 2147483647 h 875"/>
              <a:gd name="T86" fmla="*/ 2147483647 w 478"/>
              <a:gd name="T87" fmla="*/ 2147483647 h 875"/>
              <a:gd name="T88" fmla="*/ 2147483647 w 478"/>
              <a:gd name="T89" fmla="*/ 2147483647 h 875"/>
              <a:gd name="T90" fmla="*/ 2147483647 w 478"/>
              <a:gd name="T91" fmla="*/ 2147483647 h 875"/>
              <a:gd name="T92" fmla="*/ 2147483647 w 478"/>
              <a:gd name="T93" fmla="*/ 2147483647 h 875"/>
              <a:gd name="T94" fmla="*/ 2147483647 w 478"/>
              <a:gd name="T95" fmla="*/ 2147483647 h 875"/>
              <a:gd name="T96" fmla="*/ 2147483647 w 478"/>
              <a:gd name="T97" fmla="*/ 2147483647 h 875"/>
              <a:gd name="T98" fmla="*/ 2147483647 w 478"/>
              <a:gd name="T99" fmla="*/ 2147483647 h 875"/>
              <a:gd name="T100" fmla="*/ 2147483647 w 478"/>
              <a:gd name="T101" fmla="*/ 2147483647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23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604000" y="3919339"/>
            <a:ext cx="25400" cy="57150"/>
          </a:xfrm>
          <a:custGeom>
            <a:avLst/>
            <a:gdLst>
              <a:gd name="T0" fmla="*/ 2147483647 w 59"/>
              <a:gd name="T1" fmla="*/ 2147483647 h 31"/>
              <a:gd name="T2" fmla="*/ 2147483647 w 59"/>
              <a:gd name="T3" fmla="*/ 2147483647 h 31"/>
              <a:gd name="T4" fmla="*/ 2147483647 w 59"/>
              <a:gd name="T5" fmla="*/ 2147483647 h 31"/>
              <a:gd name="T6" fmla="*/ 2147483647 w 59"/>
              <a:gd name="T7" fmla="*/ 2147483647 h 31"/>
              <a:gd name="T8" fmla="*/ 2147483647 w 59"/>
              <a:gd name="T9" fmla="*/ 2147483647 h 31"/>
              <a:gd name="T10" fmla="*/ 2147483647 w 59"/>
              <a:gd name="T11" fmla="*/ 2147483647 h 31"/>
              <a:gd name="T12" fmla="*/ 2147483647 w 59"/>
              <a:gd name="T13" fmla="*/ 2147483647 h 31"/>
              <a:gd name="T14" fmla="*/ 2147483647 w 59"/>
              <a:gd name="T15" fmla="*/ 2147483647 h 31"/>
              <a:gd name="T16" fmla="*/ 2147483647 w 59"/>
              <a:gd name="T17" fmla="*/ 2147483647 h 31"/>
              <a:gd name="T18" fmla="*/ 2147483647 w 59"/>
              <a:gd name="T19" fmla="*/ 2147483647 h 31"/>
              <a:gd name="T20" fmla="*/ 2147483647 w 59"/>
              <a:gd name="T21" fmla="*/ 2147483647 h 31"/>
              <a:gd name="T22" fmla="*/ 2147483647 w 59"/>
              <a:gd name="T23" fmla="*/ 2147483647 h 31"/>
              <a:gd name="T24" fmla="*/ 2147483647 w 59"/>
              <a:gd name="T25" fmla="*/ 2147483647 h 31"/>
              <a:gd name="T26" fmla="*/ 2147483647 w 59"/>
              <a:gd name="T27" fmla="*/ 2147483647 h 31"/>
              <a:gd name="T28" fmla="*/ 0 w 59"/>
              <a:gd name="T29" fmla="*/ 2147483647 h 31"/>
              <a:gd name="T30" fmla="*/ 2147483647 w 59"/>
              <a:gd name="T31" fmla="*/ 2147483647 h 31"/>
              <a:gd name="T32" fmla="*/ 2147483647 w 59"/>
              <a:gd name="T33" fmla="*/ 2147483647 h 31"/>
              <a:gd name="T34" fmla="*/ 2147483647 w 59"/>
              <a:gd name="T35" fmla="*/ 2147483647 h 31"/>
              <a:gd name="T36" fmla="*/ 2147483647 w 59"/>
              <a:gd name="T37" fmla="*/ 2147483647 h 31"/>
              <a:gd name="T38" fmla="*/ 2147483647 w 59"/>
              <a:gd name="T39" fmla="*/ 2147483647 h 31"/>
              <a:gd name="T40" fmla="*/ 2147483647 w 59"/>
              <a:gd name="T41" fmla="*/ 0 h 31"/>
              <a:gd name="T42" fmla="*/ 2147483647 w 59"/>
              <a:gd name="T43" fmla="*/ 0 h 31"/>
              <a:gd name="T44" fmla="*/ 2147483647 w 59"/>
              <a:gd name="T45" fmla="*/ 2147483647 h 31"/>
              <a:gd name="T46" fmla="*/ 2147483647 w 59"/>
              <a:gd name="T47" fmla="*/ 2147483647 h 31"/>
              <a:gd name="T48" fmla="*/ 2147483647 w 59"/>
              <a:gd name="T49" fmla="*/ 2147483647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24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295900" y="3177977"/>
            <a:ext cx="174625" cy="271462"/>
          </a:xfrm>
          <a:custGeom>
            <a:avLst/>
            <a:gdLst>
              <a:gd name="T0" fmla="*/ 2147483647 w 399"/>
              <a:gd name="T1" fmla="*/ 2147483647 h 518"/>
              <a:gd name="T2" fmla="*/ 2147483647 w 399"/>
              <a:gd name="T3" fmla="*/ 2147483647 h 518"/>
              <a:gd name="T4" fmla="*/ 2147483647 w 399"/>
              <a:gd name="T5" fmla="*/ 2147483647 h 518"/>
              <a:gd name="T6" fmla="*/ 2147483647 w 399"/>
              <a:gd name="T7" fmla="*/ 2147483647 h 518"/>
              <a:gd name="T8" fmla="*/ 2147483647 w 399"/>
              <a:gd name="T9" fmla="*/ 2147483647 h 518"/>
              <a:gd name="T10" fmla="*/ 2147483647 w 399"/>
              <a:gd name="T11" fmla="*/ 2147483647 h 518"/>
              <a:gd name="T12" fmla="*/ 2147483647 w 399"/>
              <a:gd name="T13" fmla="*/ 2147483647 h 518"/>
              <a:gd name="T14" fmla="*/ 2147483647 w 399"/>
              <a:gd name="T15" fmla="*/ 2147483647 h 518"/>
              <a:gd name="T16" fmla="*/ 2147483647 w 399"/>
              <a:gd name="T17" fmla="*/ 2147483647 h 518"/>
              <a:gd name="T18" fmla="*/ 2147483647 w 399"/>
              <a:gd name="T19" fmla="*/ 2147483647 h 518"/>
              <a:gd name="T20" fmla="*/ 2147483647 w 399"/>
              <a:gd name="T21" fmla="*/ 2147483647 h 518"/>
              <a:gd name="T22" fmla="*/ 2147483647 w 399"/>
              <a:gd name="T23" fmla="*/ 2147483647 h 518"/>
              <a:gd name="T24" fmla="*/ 2147483647 w 399"/>
              <a:gd name="T25" fmla="*/ 2147483647 h 518"/>
              <a:gd name="T26" fmla="*/ 2147483647 w 399"/>
              <a:gd name="T27" fmla="*/ 2147483647 h 518"/>
              <a:gd name="T28" fmla="*/ 2147483647 w 399"/>
              <a:gd name="T29" fmla="*/ 2147483647 h 518"/>
              <a:gd name="T30" fmla="*/ 2147483647 w 399"/>
              <a:gd name="T31" fmla="*/ 2147483647 h 518"/>
              <a:gd name="T32" fmla="*/ 2147483647 w 399"/>
              <a:gd name="T33" fmla="*/ 2147483647 h 518"/>
              <a:gd name="T34" fmla="*/ 2147483647 w 399"/>
              <a:gd name="T35" fmla="*/ 2147483647 h 518"/>
              <a:gd name="T36" fmla="*/ 2147483647 w 399"/>
              <a:gd name="T37" fmla="*/ 2147483647 h 518"/>
              <a:gd name="T38" fmla="*/ 2147483647 w 399"/>
              <a:gd name="T39" fmla="*/ 2147483647 h 518"/>
              <a:gd name="T40" fmla="*/ 2147483647 w 399"/>
              <a:gd name="T41" fmla="*/ 2147483647 h 518"/>
              <a:gd name="T42" fmla="*/ 2147483647 w 399"/>
              <a:gd name="T43" fmla="*/ 2147483647 h 518"/>
              <a:gd name="T44" fmla="*/ 2147483647 w 399"/>
              <a:gd name="T45" fmla="*/ 2147483647 h 518"/>
              <a:gd name="T46" fmla="*/ 2147483647 w 399"/>
              <a:gd name="T47" fmla="*/ 2147483647 h 518"/>
              <a:gd name="T48" fmla="*/ 2147483647 w 399"/>
              <a:gd name="T49" fmla="*/ 2147483647 h 518"/>
              <a:gd name="T50" fmla="*/ 2147483647 w 399"/>
              <a:gd name="T51" fmla="*/ 2147483647 h 518"/>
              <a:gd name="T52" fmla="*/ 2147483647 w 399"/>
              <a:gd name="T53" fmla="*/ 2147483647 h 518"/>
              <a:gd name="T54" fmla="*/ 2147483647 w 399"/>
              <a:gd name="T55" fmla="*/ 2147483647 h 518"/>
              <a:gd name="T56" fmla="*/ 2147483647 w 399"/>
              <a:gd name="T57" fmla="*/ 2147483647 h 518"/>
              <a:gd name="T58" fmla="*/ 2147483647 w 399"/>
              <a:gd name="T59" fmla="*/ 2147483647 h 518"/>
              <a:gd name="T60" fmla="*/ 2147483647 w 399"/>
              <a:gd name="T61" fmla="*/ 2147483647 h 518"/>
              <a:gd name="T62" fmla="*/ 2147483647 w 399"/>
              <a:gd name="T63" fmla="*/ 2147483647 h 518"/>
              <a:gd name="T64" fmla="*/ 2147483647 w 399"/>
              <a:gd name="T65" fmla="*/ 2147483647 h 518"/>
              <a:gd name="T66" fmla="*/ 2147483647 w 399"/>
              <a:gd name="T67" fmla="*/ 2147483647 h 518"/>
              <a:gd name="T68" fmla="*/ 2147483647 w 399"/>
              <a:gd name="T69" fmla="*/ 2147483647 h 518"/>
              <a:gd name="T70" fmla="*/ 2147483647 w 399"/>
              <a:gd name="T71" fmla="*/ 2147483647 h 518"/>
              <a:gd name="T72" fmla="*/ 2147483647 w 399"/>
              <a:gd name="T73" fmla="*/ 2147483647 h 518"/>
              <a:gd name="T74" fmla="*/ 2147483647 w 399"/>
              <a:gd name="T75" fmla="*/ 2147483647 h 518"/>
              <a:gd name="T76" fmla="*/ 2147483647 w 399"/>
              <a:gd name="T77" fmla="*/ 2147483647 h 518"/>
              <a:gd name="T78" fmla="*/ 2147483647 w 399"/>
              <a:gd name="T79" fmla="*/ 2147483647 h 518"/>
              <a:gd name="T80" fmla="*/ 2147483647 w 399"/>
              <a:gd name="T81" fmla="*/ 2147483647 h 518"/>
              <a:gd name="T82" fmla="*/ 2147483647 w 399"/>
              <a:gd name="T83" fmla="*/ 2147483647 h 518"/>
              <a:gd name="T84" fmla="*/ 2147483647 w 399"/>
              <a:gd name="T85" fmla="*/ 2147483647 h 518"/>
              <a:gd name="T86" fmla="*/ 0 w 399"/>
              <a:gd name="T87" fmla="*/ 2147483647 h 518"/>
              <a:gd name="T88" fmla="*/ 2147483647 w 399"/>
              <a:gd name="T89" fmla="*/ 2147483647 h 518"/>
              <a:gd name="T90" fmla="*/ 2147483647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25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022725" y="3231952"/>
            <a:ext cx="376238" cy="385762"/>
          </a:xfrm>
          <a:custGeom>
            <a:avLst/>
            <a:gdLst>
              <a:gd name="T0" fmla="*/ 2147483647 w 866"/>
              <a:gd name="T1" fmla="*/ 2147483647 h 740"/>
              <a:gd name="T2" fmla="*/ 2147483647 w 866"/>
              <a:gd name="T3" fmla="*/ 2147483647 h 740"/>
              <a:gd name="T4" fmla="*/ 2147483647 w 866"/>
              <a:gd name="T5" fmla="*/ 2147483647 h 740"/>
              <a:gd name="T6" fmla="*/ 2147483647 w 866"/>
              <a:gd name="T7" fmla="*/ 2147483647 h 740"/>
              <a:gd name="T8" fmla="*/ 2147483647 w 866"/>
              <a:gd name="T9" fmla="*/ 2147483647 h 740"/>
              <a:gd name="T10" fmla="*/ 2147483647 w 866"/>
              <a:gd name="T11" fmla="*/ 2147483647 h 740"/>
              <a:gd name="T12" fmla="*/ 2147483647 w 866"/>
              <a:gd name="T13" fmla="*/ 2147483647 h 740"/>
              <a:gd name="T14" fmla="*/ 2147483647 w 866"/>
              <a:gd name="T15" fmla="*/ 2147483647 h 740"/>
              <a:gd name="T16" fmla="*/ 2147483647 w 866"/>
              <a:gd name="T17" fmla="*/ 2147483647 h 740"/>
              <a:gd name="T18" fmla="*/ 2147483647 w 866"/>
              <a:gd name="T19" fmla="*/ 2147483647 h 740"/>
              <a:gd name="T20" fmla="*/ 2147483647 w 866"/>
              <a:gd name="T21" fmla="*/ 2147483647 h 740"/>
              <a:gd name="T22" fmla="*/ 2147483647 w 866"/>
              <a:gd name="T23" fmla="*/ 2147483647 h 740"/>
              <a:gd name="T24" fmla="*/ 2147483647 w 866"/>
              <a:gd name="T25" fmla="*/ 2147483647 h 740"/>
              <a:gd name="T26" fmla="*/ 2147483647 w 866"/>
              <a:gd name="T27" fmla="*/ 2147483647 h 740"/>
              <a:gd name="T28" fmla="*/ 2147483647 w 866"/>
              <a:gd name="T29" fmla="*/ 2147483647 h 740"/>
              <a:gd name="T30" fmla="*/ 2147483647 w 866"/>
              <a:gd name="T31" fmla="*/ 2147483647 h 740"/>
              <a:gd name="T32" fmla="*/ 2147483647 w 866"/>
              <a:gd name="T33" fmla="*/ 2147483647 h 740"/>
              <a:gd name="T34" fmla="*/ 2147483647 w 866"/>
              <a:gd name="T35" fmla="*/ 2147483647 h 740"/>
              <a:gd name="T36" fmla="*/ 2147483647 w 866"/>
              <a:gd name="T37" fmla="*/ 2147483647 h 740"/>
              <a:gd name="T38" fmla="*/ 2147483647 w 866"/>
              <a:gd name="T39" fmla="*/ 2147483647 h 740"/>
              <a:gd name="T40" fmla="*/ 2147483647 w 866"/>
              <a:gd name="T41" fmla="*/ 2147483647 h 740"/>
              <a:gd name="T42" fmla="*/ 2147483647 w 866"/>
              <a:gd name="T43" fmla="*/ 2147483647 h 740"/>
              <a:gd name="T44" fmla="*/ 2147483647 w 866"/>
              <a:gd name="T45" fmla="*/ 2147483647 h 740"/>
              <a:gd name="T46" fmla="*/ 2147483647 w 866"/>
              <a:gd name="T47" fmla="*/ 2147483647 h 740"/>
              <a:gd name="T48" fmla="*/ 2147483647 w 866"/>
              <a:gd name="T49" fmla="*/ 2147483647 h 740"/>
              <a:gd name="T50" fmla="*/ 2147483647 w 866"/>
              <a:gd name="T51" fmla="*/ 2147483647 h 740"/>
              <a:gd name="T52" fmla="*/ 2147483647 w 866"/>
              <a:gd name="T53" fmla="*/ 2147483647 h 740"/>
              <a:gd name="T54" fmla="*/ 2147483647 w 866"/>
              <a:gd name="T55" fmla="*/ 2147483647 h 740"/>
              <a:gd name="T56" fmla="*/ 2147483647 w 866"/>
              <a:gd name="T57" fmla="*/ 2147483647 h 740"/>
              <a:gd name="T58" fmla="*/ 2147483647 w 866"/>
              <a:gd name="T59" fmla="*/ 2147483647 h 740"/>
              <a:gd name="T60" fmla="*/ 2147483647 w 866"/>
              <a:gd name="T61" fmla="*/ 2147483647 h 740"/>
              <a:gd name="T62" fmla="*/ 2147483647 w 866"/>
              <a:gd name="T63" fmla="*/ 2147483647 h 740"/>
              <a:gd name="T64" fmla="*/ 2147483647 w 866"/>
              <a:gd name="T65" fmla="*/ 2147483647 h 740"/>
              <a:gd name="T66" fmla="*/ 2147483647 w 866"/>
              <a:gd name="T67" fmla="*/ 2147483647 h 740"/>
              <a:gd name="T68" fmla="*/ 2147483647 w 866"/>
              <a:gd name="T69" fmla="*/ 2147483647 h 740"/>
              <a:gd name="T70" fmla="*/ 2147483647 w 866"/>
              <a:gd name="T71" fmla="*/ 2147483647 h 740"/>
              <a:gd name="T72" fmla="*/ 2147483647 w 866"/>
              <a:gd name="T73" fmla="*/ 2147483647 h 740"/>
              <a:gd name="T74" fmla="*/ 2147483647 w 866"/>
              <a:gd name="T75" fmla="*/ 2147483647 h 740"/>
              <a:gd name="T76" fmla="*/ 2147483647 w 866"/>
              <a:gd name="T77" fmla="*/ 2147483647 h 740"/>
              <a:gd name="T78" fmla="*/ 2147483647 w 866"/>
              <a:gd name="T79" fmla="*/ 2147483647 h 740"/>
              <a:gd name="T80" fmla="*/ 2147483647 w 866"/>
              <a:gd name="T81" fmla="*/ 2147483647 h 740"/>
              <a:gd name="T82" fmla="*/ 2147483647 w 866"/>
              <a:gd name="T83" fmla="*/ 2147483647 h 740"/>
              <a:gd name="T84" fmla="*/ 2147483647 w 866"/>
              <a:gd name="T85" fmla="*/ 2147483647 h 740"/>
              <a:gd name="T86" fmla="*/ 2147483647 w 866"/>
              <a:gd name="T87" fmla="*/ 2147483647 h 740"/>
              <a:gd name="T88" fmla="*/ 2147483647 w 866"/>
              <a:gd name="T89" fmla="*/ 2147483647 h 740"/>
              <a:gd name="T90" fmla="*/ 2147483647 w 866"/>
              <a:gd name="T91" fmla="*/ 2147483647 h 740"/>
              <a:gd name="T92" fmla="*/ 2147483647 w 866"/>
              <a:gd name="T93" fmla="*/ 2147483647 h 740"/>
              <a:gd name="T94" fmla="*/ 2147483647 w 866"/>
              <a:gd name="T95" fmla="*/ 2147483647 h 740"/>
              <a:gd name="T96" fmla="*/ 2147483647 w 866"/>
              <a:gd name="T97" fmla="*/ 2147483647 h 740"/>
              <a:gd name="T98" fmla="*/ 2147483647 w 866"/>
              <a:gd name="T99" fmla="*/ 2147483647 h 740"/>
              <a:gd name="T100" fmla="*/ 2147483647 w 866"/>
              <a:gd name="T101" fmla="*/ 2147483647 h 740"/>
              <a:gd name="T102" fmla="*/ 2147483647 w 866"/>
              <a:gd name="T103" fmla="*/ 2147483647 h 740"/>
              <a:gd name="T104" fmla="*/ 2147483647 w 866"/>
              <a:gd name="T105" fmla="*/ 2147483647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26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692525" y="2849364"/>
            <a:ext cx="300038" cy="260350"/>
          </a:xfrm>
          <a:custGeom>
            <a:avLst/>
            <a:gdLst>
              <a:gd name="T0" fmla="*/ 2147483647 w 697"/>
              <a:gd name="T1" fmla="*/ 2147483647 h 500"/>
              <a:gd name="T2" fmla="*/ 2147483647 w 697"/>
              <a:gd name="T3" fmla="*/ 2147483647 h 500"/>
              <a:gd name="T4" fmla="*/ 2147483647 w 697"/>
              <a:gd name="T5" fmla="*/ 2147483647 h 500"/>
              <a:gd name="T6" fmla="*/ 2147483647 w 697"/>
              <a:gd name="T7" fmla="*/ 2147483647 h 500"/>
              <a:gd name="T8" fmla="*/ 2147483647 w 697"/>
              <a:gd name="T9" fmla="*/ 2147483647 h 500"/>
              <a:gd name="T10" fmla="*/ 2147483647 w 697"/>
              <a:gd name="T11" fmla="*/ 2147483647 h 500"/>
              <a:gd name="T12" fmla="*/ 2147483647 w 697"/>
              <a:gd name="T13" fmla="*/ 2147483647 h 500"/>
              <a:gd name="T14" fmla="*/ 2147483647 w 697"/>
              <a:gd name="T15" fmla="*/ 2147483647 h 500"/>
              <a:gd name="T16" fmla="*/ 2147483647 w 697"/>
              <a:gd name="T17" fmla="*/ 2147483647 h 500"/>
              <a:gd name="T18" fmla="*/ 2147483647 w 697"/>
              <a:gd name="T19" fmla="*/ 2147483647 h 500"/>
              <a:gd name="T20" fmla="*/ 2147483647 w 697"/>
              <a:gd name="T21" fmla="*/ 2147483647 h 500"/>
              <a:gd name="T22" fmla="*/ 2147483647 w 697"/>
              <a:gd name="T23" fmla="*/ 2147483647 h 500"/>
              <a:gd name="T24" fmla="*/ 2147483647 w 697"/>
              <a:gd name="T25" fmla="*/ 2147483647 h 500"/>
              <a:gd name="T26" fmla="*/ 2147483647 w 697"/>
              <a:gd name="T27" fmla="*/ 2147483647 h 500"/>
              <a:gd name="T28" fmla="*/ 2147483647 w 697"/>
              <a:gd name="T29" fmla="*/ 2147483647 h 500"/>
              <a:gd name="T30" fmla="*/ 2147483647 w 697"/>
              <a:gd name="T31" fmla="*/ 2147483647 h 500"/>
              <a:gd name="T32" fmla="*/ 2147483647 w 697"/>
              <a:gd name="T33" fmla="*/ 2147483647 h 500"/>
              <a:gd name="T34" fmla="*/ 2147483647 w 697"/>
              <a:gd name="T35" fmla="*/ 2147483647 h 500"/>
              <a:gd name="T36" fmla="*/ 2147483647 w 697"/>
              <a:gd name="T37" fmla="*/ 2147483647 h 500"/>
              <a:gd name="T38" fmla="*/ 2147483647 w 697"/>
              <a:gd name="T39" fmla="*/ 2147483647 h 500"/>
              <a:gd name="T40" fmla="*/ 2147483647 w 697"/>
              <a:gd name="T41" fmla="*/ 2147483647 h 500"/>
              <a:gd name="T42" fmla="*/ 2147483647 w 697"/>
              <a:gd name="T43" fmla="*/ 2147483647 h 500"/>
              <a:gd name="T44" fmla="*/ 2147483647 w 697"/>
              <a:gd name="T45" fmla="*/ 2147483647 h 500"/>
              <a:gd name="T46" fmla="*/ 2147483647 w 697"/>
              <a:gd name="T47" fmla="*/ 2147483647 h 500"/>
              <a:gd name="T48" fmla="*/ 2147483647 w 697"/>
              <a:gd name="T49" fmla="*/ 2147483647 h 500"/>
              <a:gd name="T50" fmla="*/ 2147483647 w 697"/>
              <a:gd name="T51" fmla="*/ 2147483647 h 500"/>
              <a:gd name="T52" fmla="*/ 2147483647 w 697"/>
              <a:gd name="T53" fmla="*/ 2147483647 h 500"/>
              <a:gd name="T54" fmla="*/ 2147483647 w 697"/>
              <a:gd name="T55" fmla="*/ 2147483647 h 500"/>
              <a:gd name="T56" fmla="*/ 2147483647 w 697"/>
              <a:gd name="T57" fmla="*/ 2147483647 h 500"/>
              <a:gd name="T58" fmla="*/ 2147483647 w 697"/>
              <a:gd name="T59" fmla="*/ 2147483647 h 500"/>
              <a:gd name="T60" fmla="*/ 2147483647 w 697"/>
              <a:gd name="T61" fmla="*/ 2147483647 h 500"/>
              <a:gd name="T62" fmla="*/ 2147483647 w 697"/>
              <a:gd name="T63" fmla="*/ 2147483647 h 500"/>
              <a:gd name="T64" fmla="*/ 2147483647 w 697"/>
              <a:gd name="T65" fmla="*/ 2147483647 h 500"/>
              <a:gd name="T66" fmla="*/ 2147483647 w 697"/>
              <a:gd name="T67" fmla="*/ 2147483647 h 500"/>
              <a:gd name="T68" fmla="*/ 2147483647 w 697"/>
              <a:gd name="T69" fmla="*/ 2147483647 h 500"/>
              <a:gd name="T70" fmla="*/ 2147483647 w 697"/>
              <a:gd name="T71" fmla="*/ 2147483647 h 500"/>
              <a:gd name="T72" fmla="*/ 2147483647 w 697"/>
              <a:gd name="T73" fmla="*/ 2147483647 h 500"/>
              <a:gd name="T74" fmla="*/ 2147483647 w 697"/>
              <a:gd name="T75" fmla="*/ 2147483647 h 500"/>
              <a:gd name="T76" fmla="*/ 2147483647 w 697"/>
              <a:gd name="T77" fmla="*/ 2147483647 h 500"/>
              <a:gd name="T78" fmla="*/ 2147483647 w 697"/>
              <a:gd name="T79" fmla="*/ 2147483647 h 500"/>
              <a:gd name="T80" fmla="*/ 2147483647 w 697"/>
              <a:gd name="T81" fmla="*/ 2147483647 h 500"/>
              <a:gd name="T82" fmla="*/ 2147483647 w 697"/>
              <a:gd name="T83" fmla="*/ 2147483647 h 500"/>
              <a:gd name="T84" fmla="*/ 2147483647 w 697"/>
              <a:gd name="T85" fmla="*/ 2147483647 h 500"/>
              <a:gd name="T86" fmla="*/ 2147483647 w 697"/>
              <a:gd name="T87" fmla="*/ 2147483647 h 500"/>
              <a:gd name="T88" fmla="*/ 2147483647 w 697"/>
              <a:gd name="T89" fmla="*/ 2147483647 h 500"/>
              <a:gd name="T90" fmla="*/ 2147483647 w 697"/>
              <a:gd name="T91" fmla="*/ 2147483647 h 500"/>
              <a:gd name="T92" fmla="*/ 2147483647 w 697"/>
              <a:gd name="T93" fmla="*/ 2147483647 h 500"/>
              <a:gd name="T94" fmla="*/ 2147483647 w 697"/>
              <a:gd name="T95" fmla="*/ 2147483647 h 500"/>
              <a:gd name="T96" fmla="*/ 2147483647 w 697"/>
              <a:gd name="T97" fmla="*/ 2147483647 h 500"/>
              <a:gd name="T98" fmla="*/ 2147483647 w 697"/>
              <a:gd name="T99" fmla="*/ 2147483647 h 500"/>
              <a:gd name="T100" fmla="*/ 2147483647 w 697"/>
              <a:gd name="T101" fmla="*/ 2147483647 h 500"/>
              <a:gd name="T102" fmla="*/ 2147483647 w 697"/>
              <a:gd name="T103" fmla="*/ 2147483647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27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392613" y="1779389"/>
            <a:ext cx="236537" cy="92075"/>
          </a:xfrm>
          <a:custGeom>
            <a:avLst/>
            <a:gdLst>
              <a:gd name="T0" fmla="*/ 2147483647 w 546"/>
              <a:gd name="T1" fmla="*/ 2147483647 h 173"/>
              <a:gd name="T2" fmla="*/ 2147483647 w 546"/>
              <a:gd name="T3" fmla="*/ 2147483647 h 173"/>
              <a:gd name="T4" fmla="*/ 2147483647 w 546"/>
              <a:gd name="T5" fmla="*/ 2147483647 h 173"/>
              <a:gd name="T6" fmla="*/ 2147483647 w 546"/>
              <a:gd name="T7" fmla="*/ 2147483647 h 173"/>
              <a:gd name="T8" fmla="*/ 2147483647 w 546"/>
              <a:gd name="T9" fmla="*/ 2147483647 h 173"/>
              <a:gd name="T10" fmla="*/ 2147483647 w 546"/>
              <a:gd name="T11" fmla="*/ 2147483647 h 173"/>
              <a:gd name="T12" fmla="*/ 2147483647 w 546"/>
              <a:gd name="T13" fmla="*/ 2147483647 h 173"/>
              <a:gd name="T14" fmla="*/ 2147483647 w 546"/>
              <a:gd name="T15" fmla="*/ 2147483647 h 173"/>
              <a:gd name="T16" fmla="*/ 2147483647 w 546"/>
              <a:gd name="T17" fmla="*/ 2147483647 h 173"/>
              <a:gd name="T18" fmla="*/ 2147483647 w 546"/>
              <a:gd name="T19" fmla="*/ 2147483647 h 173"/>
              <a:gd name="T20" fmla="*/ 2147483647 w 546"/>
              <a:gd name="T21" fmla="*/ 2147483647 h 173"/>
              <a:gd name="T22" fmla="*/ 2147483647 w 546"/>
              <a:gd name="T23" fmla="*/ 2147483647 h 173"/>
              <a:gd name="T24" fmla="*/ 2147483647 w 546"/>
              <a:gd name="T25" fmla="*/ 2147483647 h 173"/>
              <a:gd name="T26" fmla="*/ 2147483647 w 546"/>
              <a:gd name="T27" fmla="*/ 2147483647 h 173"/>
              <a:gd name="T28" fmla="*/ 2147483647 w 546"/>
              <a:gd name="T29" fmla="*/ 0 h 173"/>
              <a:gd name="T30" fmla="*/ 2147483647 w 546"/>
              <a:gd name="T31" fmla="*/ 2147483647 h 173"/>
              <a:gd name="T32" fmla="*/ 2147483647 w 546"/>
              <a:gd name="T33" fmla="*/ 2147483647 h 173"/>
              <a:gd name="T34" fmla="*/ 2147483647 w 546"/>
              <a:gd name="T35" fmla="*/ 2147483647 h 173"/>
              <a:gd name="T36" fmla="*/ 2147483647 w 546"/>
              <a:gd name="T37" fmla="*/ 2147483647 h 173"/>
              <a:gd name="T38" fmla="*/ 2147483647 w 546"/>
              <a:gd name="T39" fmla="*/ 2147483647 h 173"/>
              <a:gd name="T40" fmla="*/ 2147483647 w 546"/>
              <a:gd name="T41" fmla="*/ 2147483647 h 173"/>
              <a:gd name="T42" fmla="*/ 2147483647 w 546"/>
              <a:gd name="T43" fmla="*/ 2147483647 h 173"/>
              <a:gd name="T44" fmla="*/ 2147483647 w 546"/>
              <a:gd name="T45" fmla="*/ 2147483647 h 173"/>
              <a:gd name="T46" fmla="*/ 2147483647 w 546"/>
              <a:gd name="T47" fmla="*/ 2147483647 h 173"/>
              <a:gd name="T48" fmla="*/ 2147483647 w 546"/>
              <a:gd name="T49" fmla="*/ 2147483647 h 173"/>
              <a:gd name="T50" fmla="*/ 2147483647 w 546"/>
              <a:gd name="T51" fmla="*/ 2147483647 h 173"/>
              <a:gd name="T52" fmla="*/ 2147483647 w 546"/>
              <a:gd name="T53" fmla="*/ 2147483647 h 173"/>
              <a:gd name="T54" fmla="*/ 2147483647 w 546"/>
              <a:gd name="T55" fmla="*/ 2147483647 h 173"/>
              <a:gd name="T56" fmla="*/ 2147483647 w 546"/>
              <a:gd name="T57" fmla="*/ 2147483647 h 173"/>
              <a:gd name="T58" fmla="*/ 2147483647 w 546"/>
              <a:gd name="T59" fmla="*/ 2147483647 h 173"/>
              <a:gd name="T60" fmla="*/ 2147483647 w 546"/>
              <a:gd name="T61" fmla="*/ 2147483647 h 173"/>
              <a:gd name="T62" fmla="*/ 2147483647 w 546"/>
              <a:gd name="T63" fmla="*/ 2147483647 h 173"/>
              <a:gd name="T64" fmla="*/ 2147483647 w 546"/>
              <a:gd name="T65" fmla="*/ 2147483647 h 173"/>
              <a:gd name="T66" fmla="*/ 2147483647 w 546"/>
              <a:gd name="T67" fmla="*/ 2147483647 h 173"/>
              <a:gd name="T68" fmla="*/ 2147483647 w 546"/>
              <a:gd name="T69" fmla="*/ 2147483647 h 173"/>
              <a:gd name="T70" fmla="*/ 2147483647 w 546"/>
              <a:gd name="T71" fmla="*/ 2147483647 h 173"/>
              <a:gd name="T72" fmla="*/ 2147483647 w 546"/>
              <a:gd name="T73" fmla="*/ 2147483647 h 173"/>
              <a:gd name="T74" fmla="*/ 2147483647 w 546"/>
              <a:gd name="T75" fmla="*/ 2147483647 h 173"/>
              <a:gd name="T76" fmla="*/ 2147483647 w 546"/>
              <a:gd name="T77" fmla="*/ 2147483647 h 173"/>
              <a:gd name="T78" fmla="*/ 2147483647 w 546"/>
              <a:gd name="T79" fmla="*/ 2147483647 h 173"/>
              <a:gd name="T80" fmla="*/ 2147483647 w 546"/>
              <a:gd name="T81" fmla="*/ 2147483647 h 173"/>
              <a:gd name="T82" fmla="*/ 2147483647 w 546"/>
              <a:gd name="T83" fmla="*/ 2147483647 h 173"/>
              <a:gd name="T84" fmla="*/ 2147483647 w 546"/>
              <a:gd name="T85" fmla="*/ 2147483647 h 173"/>
              <a:gd name="T86" fmla="*/ 2147483647 w 546"/>
              <a:gd name="T87" fmla="*/ 2147483647 h 173"/>
              <a:gd name="T88" fmla="*/ 2147483647 w 546"/>
              <a:gd name="T89" fmla="*/ 2147483647 h 173"/>
              <a:gd name="T90" fmla="*/ 2147483647 w 546"/>
              <a:gd name="T91" fmla="*/ 2147483647 h 173"/>
              <a:gd name="T92" fmla="*/ 2147483647 w 546"/>
              <a:gd name="T93" fmla="*/ 2147483647 h 173"/>
              <a:gd name="T94" fmla="*/ 2147483647 w 546"/>
              <a:gd name="T95" fmla="*/ 2147483647 h 173"/>
              <a:gd name="T96" fmla="*/ 2147483647 w 546"/>
              <a:gd name="T97" fmla="*/ 2147483647 h 173"/>
              <a:gd name="T98" fmla="*/ 2147483647 w 546"/>
              <a:gd name="T99" fmla="*/ 2147483647 h 173"/>
              <a:gd name="T100" fmla="*/ 2147483647 w 546"/>
              <a:gd name="T101" fmla="*/ 214748364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28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903788" y="1763514"/>
            <a:ext cx="107950" cy="60325"/>
          </a:xfrm>
          <a:custGeom>
            <a:avLst/>
            <a:gdLst>
              <a:gd name="T0" fmla="*/ 2147483647 w 246"/>
              <a:gd name="T1" fmla="*/ 2147483647 h 42"/>
              <a:gd name="T2" fmla="*/ 2147483647 w 246"/>
              <a:gd name="T3" fmla="*/ 2147483647 h 42"/>
              <a:gd name="T4" fmla="*/ 2147483647 w 246"/>
              <a:gd name="T5" fmla="*/ 2147483647 h 42"/>
              <a:gd name="T6" fmla="*/ 2147483647 w 246"/>
              <a:gd name="T7" fmla="*/ 2147483647 h 42"/>
              <a:gd name="T8" fmla="*/ 2147483647 w 246"/>
              <a:gd name="T9" fmla="*/ 2147483647 h 42"/>
              <a:gd name="T10" fmla="*/ 2147483647 w 246"/>
              <a:gd name="T11" fmla="*/ 2147483647 h 42"/>
              <a:gd name="T12" fmla="*/ 2147483647 w 246"/>
              <a:gd name="T13" fmla="*/ 2147483647 h 42"/>
              <a:gd name="T14" fmla="*/ 2147483647 w 246"/>
              <a:gd name="T15" fmla="*/ 2147483647 h 42"/>
              <a:gd name="T16" fmla="*/ 2147483647 w 246"/>
              <a:gd name="T17" fmla="*/ 2147483647 h 42"/>
              <a:gd name="T18" fmla="*/ 2147483647 w 246"/>
              <a:gd name="T19" fmla="*/ 2147483647 h 42"/>
              <a:gd name="T20" fmla="*/ 2147483647 w 246"/>
              <a:gd name="T21" fmla="*/ 2147483647 h 42"/>
              <a:gd name="T22" fmla="*/ 2147483647 w 246"/>
              <a:gd name="T23" fmla="*/ 2147483647 h 42"/>
              <a:gd name="T24" fmla="*/ 2147483647 w 246"/>
              <a:gd name="T25" fmla="*/ 2147483647 h 42"/>
              <a:gd name="T26" fmla="*/ 2147483647 w 246"/>
              <a:gd name="T27" fmla="*/ 2147483647 h 42"/>
              <a:gd name="T28" fmla="*/ 2147483647 w 246"/>
              <a:gd name="T29" fmla="*/ 2147483647 h 42"/>
              <a:gd name="T30" fmla="*/ 2147483647 w 246"/>
              <a:gd name="T31" fmla="*/ 2147483647 h 42"/>
              <a:gd name="T32" fmla="*/ 2147483647 w 246"/>
              <a:gd name="T33" fmla="*/ 2147483647 h 42"/>
              <a:gd name="T34" fmla="*/ 2147483647 w 246"/>
              <a:gd name="T35" fmla="*/ 2147483647 h 42"/>
              <a:gd name="T36" fmla="*/ 2147483647 w 246"/>
              <a:gd name="T37" fmla="*/ 2147483647 h 42"/>
              <a:gd name="T38" fmla="*/ 2147483647 w 246"/>
              <a:gd name="T39" fmla="*/ 2147483647 h 42"/>
              <a:gd name="T40" fmla="*/ 2147483647 w 246"/>
              <a:gd name="T41" fmla="*/ 2147483647 h 42"/>
              <a:gd name="T42" fmla="*/ 2147483647 w 246"/>
              <a:gd name="T43" fmla="*/ 2147483647 h 42"/>
              <a:gd name="T44" fmla="*/ 2147483647 w 246"/>
              <a:gd name="T45" fmla="*/ 2147483647 h 42"/>
              <a:gd name="T46" fmla="*/ 2147483647 w 246"/>
              <a:gd name="T47" fmla="*/ 2147483647 h 42"/>
              <a:gd name="T48" fmla="*/ 2147483647 w 246"/>
              <a:gd name="T49" fmla="*/ 2147483647 h 42"/>
              <a:gd name="T50" fmla="*/ 2147483647 w 246"/>
              <a:gd name="T51" fmla="*/ 2147483647 h 42"/>
              <a:gd name="T52" fmla="*/ 2147483647 w 246"/>
              <a:gd name="T53" fmla="*/ 2147483647 h 42"/>
              <a:gd name="T54" fmla="*/ 2147483647 w 246"/>
              <a:gd name="T55" fmla="*/ 2147483647 h 42"/>
              <a:gd name="T56" fmla="*/ 2147483647 w 246"/>
              <a:gd name="T57" fmla="*/ 2147483647 h 42"/>
              <a:gd name="T58" fmla="*/ 2147483647 w 246"/>
              <a:gd name="T59" fmla="*/ 2147483647 h 42"/>
              <a:gd name="T60" fmla="*/ 2147483647 w 246"/>
              <a:gd name="T61" fmla="*/ 2147483647 h 42"/>
              <a:gd name="T62" fmla="*/ 2147483647 w 246"/>
              <a:gd name="T63" fmla="*/ 2147483647 h 42"/>
              <a:gd name="T64" fmla="*/ 2147483647 w 246"/>
              <a:gd name="T65" fmla="*/ 0 h 42"/>
              <a:gd name="T66" fmla="*/ 2147483647 w 246"/>
              <a:gd name="T67" fmla="*/ 2147483647 h 42"/>
              <a:gd name="T68" fmla="*/ 2147483647 w 246"/>
              <a:gd name="T69" fmla="*/ 2147483647 h 42"/>
              <a:gd name="T70" fmla="*/ 2147483647 w 246"/>
              <a:gd name="T71" fmla="*/ 2147483647 h 42"/>
              <a:gd name="T72" fmla="*/ 2147483647 w 246"/>
              <a:gd name="T73" fmla="*/ 2147483647 h 42"/>
              <a:gd name="T74" fmla="*/ 2147483647 w 246"/>
              <a:gd name="T75" fmla="*/ 2147483647 h 42"/>
              <a:gd name="T76" fmla="*/ 2147483647 w 246"/>
              <a:gd name="T77" fmla="*/ 2147483647 h 42"/>
              <a:gd name="T78" fmla="*/ 2147483647 w 246"/>
              <a:gd name="T79" fmla="*/ 2147483647 h 42"/>
              <a:gd name="T80" fmla="*/ 2147483647 w 246"/>
              <a:gd name="T81" fmla="*/ 2147483647 h 42"/>
              <a:gd name="T82" fmla="*/ 2147483647 w 246"/>
              <a:gd name="T83" fmla="*/ 2147483647 h 42"/>
              <a:gd name="T84" fmla="*/ 2147483647 w 246"/>
              <a:gd name="T85" fmla="*/ 2147483647 h 42"/>
              <a:gd name="T86" fmla="*/ 2147483647 w 246"/>
              <a:gd name="T87" fmla="*/ 2147483647 h 42"/>
              <a:gd name="T88" fmla="*/ 2147483647 w 246"/>
              <a:gd name="T89" fmla="*/ 2147483647 h 42"/>
              <a:gd name="T90" fmla="*/ 2147483647 w 246"/>
              <a:gd name="T91" fmla="*/ 2147483647 h 42"/>
              <a:gd name="T92" fmla="*/ 0 w 246"/>
              <a:gd name="T93" fmla="*/ 2147483647 h 42"/>
              <a:gd name="T94" fmla="*/ 2147483647 w 246"/>
              <a:gd name="T95" fmla="*/ 2147483647 h 42"/>
              <a:gd name="T96" fmla="*/ 2147483647 w 246"/>
              <a:gd name="T97" fmla="*/ 2147483647 h 42"/>
              <a:gd name="T98" fmla="*/ 2147483647 w 246"/>
              <a:gd name="T99" fmla="*/ 2147483647 h 42"/>
              <a:gd name="T100" fmla="*/ 2147483647 w 246"/>
              <a:gd name="T101" fmla="*/ 2147483647 h 42"/>
              <a:gd name="T102" fmla="*/ 2147483647 w 246"/>
              <a:gd name="T103" fmla="*/ 2147483647 h 42"/>
              <a:gd name="T104" fmla="*/ 2147483647 w 246"/>
              <a:gd name="T105" fmla="*/ 214748364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29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046663" y="1746052"/>
            <a:ext cx="63500" cy="57150"/>
          </a:xfrm>
          <a:custGeom>
            <a:avLst/>
            <a:gdLst>
              <a:gd name="T0" fmla="*/ 2147483647 w 149"/>
              <a:gd name="T1" fmla="*/ 0 h 61"/>
              <a:gd name="T2" fmla="*/ 2147483647 w 149"/>
              <a:gd name="T3" fmla="*/ 2147483647 h 61"/>
              <a:gd name="T4" fmla="*/ 2147483647 w 149"/>
              <a:gd name="T5" fmla="*/ 2147483647 h 61"/>
              <a:gd name="T6" fmla="*/ 2147483647 w 149"/>
              <a:gd name="T7" fmla="*/ 2147483647 h 61"/>
              <a:gd name="T8" fmla="*/ 2147483647 w 149"/>
              <a:gd name="T9" fmla="*/ 2147483647 h 61"/>
              <a:gd name="T10" fmla="*/ 2147483647 w 149"/>
              <a:gd name="T11" fmla="*/ 2147483647 h 61"/>
              <a:gd name="T12" fmla="*/ 2147483647 w 149"/>
              <a:gd name="T13" fmla="*/ 2147483647 h 61"/>
              <a:gd name="T14" fmla="*/ 2147483647 w 149"/>
              <a:gd name="T15" fmla="*/ 2147483647 h 61"/>
              <a:gd name="T16" fmla="*/ 2147483647 w 149"/>
              <a:gd name="T17" fmla="*/ 2147483647 h 61"/>
              <a:gd name="T18" fmla="*/ 2147483647 w 149"/>
              <a:gd name="T19" fmla="*/ 2147483647 h 61"/>
              <a:gd name="T20" fmla="*/ 2147483647 w 149"/>
              <a:gd name="T21" fmla="*/ 2147483647 h 61"/>
              <a:gd name="T22" fmla="*/ 2147483647 w 149"/>
              <a:gd name="T23" fmla="*/ 2147483647 h 61"/>
              <a:gd name="T24" fmla="*/ 2147483647 w 149"/>
              <a:gd name="T25" fmla="*/ 2147483647 h 61"/>
              <a:gd name="T26" fmla="*/ 2147483647 w 149"/>
              <a:gd name="T27" fmla="*/ 2147483647 h 61"/>
              <a:gd name="T28" fmla="*/ 2147483647 w 149"/>
              <a:gd name="T29" fmla="*/ 2147483647 h 61"/>
              <a:gd name="T30" fmla="*/ 2147483647 w 149"/>
              <a:gd name="T31" fmla="*/ 2147483647 h 61"/>
              <a:gd name="T32" fmla="*/ 2147483647 w 149"/>
              <a:gd name="T33" fmla="*/ 2147483647 h 61"/>
              <a:gd name="T34" fmla="*/ 2147483647 w 149"/>
              <a:gd name="T35" fmla="*/ 2147483647 h 61"/>
              <a:gd name="T36" fmla="*/ 2147483647 w 149"/>
              <a:gd name="T37" fmla="*/ 2147483647 h 61"/>
              <a:gd name="T38" fmla="*/ 2147483647 w 149"/>
              <a:gd name="T39" fmla="*/ 2147483647 h 61"/>
              <a:gd name="T40" fmla="*/ 2147483647 w 149"/>
              <a:gd name="T41" fmla="*/ 2147483647 h 61"/>
              <a:gd name="T42" fmla="*/ 2147483647 w 149"/>
              <a:gd name="T43" fmla="*/ 2147483647 h 61"/>
              <a:gd name="T44" fmla="*/ 2147483647 w 149"/>
              <a:gd name="T45" fmla="*/ 2147483647 h 61"/>
              <a:gd name="T46" fmla="*/ 2147483647 w 149"/>
              <a:gd name="T47" fmla="*/ 2147483647 h 61"/>
              <a:gd name="T48" fmla="*/ 2147483647 w 149"/>
              <a:gd name="T49" fmla="*/ 2147483647 h 61"/>
              <a:gd name="T50" fmla="*/ 2147483647 w 149"/>
              <a:gd name="T51" fmla="*/ 2147483647 h 61"/>
              <a:gd name="T52" fmla="*/ 2147483647 w 149"/>
              <a:gd name="T53" fmla="*/ 2147483647 h 61"/>
              <a:gd name="T54" fmla="*/ 2147483647 w 149"/>
              <a:gd name="T55" fmla="*/ 2147483647 h 61"/>
              <a:gd name="T56" fmla="*/ 2147483647 w 149"/>
              <a:gd name="T57" fmla="*/ 2147483647 h 61"/>
              <a:gd name="T58" fmla="*/ 2147483647 w 149"/>
              <a:gd name="T59" fmla="*/ 2147483647 h 61"/>
              <a:gd name="T60" fmla="*/ 2147483647 w 149"/>
              <a:gd name="T61" fmla="*/ 2147483647 h 61"/>
              <a:gd name="T62" fmla="*/ 2147483647 w 149"/>
              <a:gd name="T63" fmla="*/ 2147483647 h 61"/>
              <a:gd name="T64" fmla="*/ 0 w 149"/>
              <a:gd name="T65" fmla="*/ 2147483647 h 61"/>
              <a:gd name="T66" fmla="*/ 0 w 149"/>
              <a:gd name="T67" fmla="*/ 2147483647 h 61"/>
              <a:gd name="T68" fmla="*/ 2147483647 w 149"/>
              <a:gd name="T69" fmla="*/ 2147483647 h 61"/>
              <a:gd name="T70" fmla="*/ 2147483647 w 149"/>
              <a:gd name="T71" fmla="*/ 2147483647 h 61"/>
              <a:gd name="T72" fmla="*/ 2147483647 w 149"/>
              <a:gd name="T73" fmla="*/ 2147483647 h 61"/>
              <a:gd name="T74" fmla="*/ 2147483647 w 149"/>
              <a:gd name="T75" fmla="*/ 2147483647 h 61"/>
              <a:gd name="T76" fmla="*/ 2147483647 w 149"/>
              <a:gd name="T77" fmla="*/ 2147483647 h 61"/>
              <a:gd name="T78" fmla="*/ 2147483647 w 149"/>
              <a:gd name="T79" fmla="*/ 2147483647 h 61"/>
              <a:gd name="T80" fmla="*/ 2147483647 w 149"/>
              <a:gd name="T81" fmla="*/ 2147483647 h 61"/>
              <a:gd name="T82" fmla="*/ 2147483647 w 149"/>
              <a:gd name="T83" fmla="*/ 2147483647 h 61"/>
              <a:gd name="T84" fmla="*/ 2147483647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30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083175" y="1753989"/>
            <a:ext cx="130175" cy="57150"/>
          </a:xfrm>
          <a:custGeom>
            <a:avLst/>
            <a:gdLst>
              <a:gd name="T0" fmla="*/ 2147483647 w 299"/>
              <a:gd name="T1" fmla="*/ 2147483647 h 74"/>
              <a:gd name="T2" fmla="*/ 2147483647 w 299"/>
              <a:gd name="T3" fmla="*/ 2147483647 h 74"/>
              <a:gd name="T4" fmla="*/ 2147483647 w 299"/>
              <a:gd name="T5" fmla="*/ 2147483647 h 74"/>
              <a:gd name="T6" fmla="*/ 2147483647 w 299"/>
              <a:gd name="T7" fmla="*/ 2147483647 h 74"/>
              <a:gd name="T8" fmla="*/ 2147483647 w 299"/>
              <a:gd name="T9" fmla="*/ 2147483647 h 74"/>
              <a:gd name="T10" fmla="*/ 2147483647 w 299"/>
              <a:gd name="T11" fmla="*/ 2147483647 h 74"/>
              <a:gd name="T12" fmla="*/ 2147483647 w 299"/>
              <a:gd name="T13" fmla="*/ 2147483647 h 74"/>
              <a:gd name="T14" fmla="*/ 2147483647 w 299"/>
              <a:gd name="T15" fmla="*/ 2147483647 h 74"/>
              <a:gd name="T16" fmla="*/ 2147483647 w 299"/>
              <a:gd name="T17" fmla="*/ 2147483647 h 74"/>
              <a:gd name="T18" fmla="*/ 2147483647 w 299"/>
              <a:gd name="T19" fmla="*/ 2147483647 h 74"/>
              <a:gd name="T20" fmla="*/ 2147483647 w 299"/>
              <a:gd name="T21" fmla="*/ 2147483647 h 74"/>
              <a:gd name="T22" fmla="*/ 2147483647 w 299"/>
              <a:gd name="T23" fmla="*/ 2147483647 h 74"/>
              <a:gd name="T24" fmla="*/ 2147483647 w 299"/>
              <a:gd name="T25" fmla="*/ 2147483647 h 74"/>
              <a:gd name="T26" fmla="*/ 2147483647 w 299"/>
              <a:gd name="T27" fmla="*/ 2147483647 h 74"/>
              <a:gd name="T28" fmla="*/ 2147483647 w 299"/>
              <a:gd name="T29" fmla="*/ 2147483647 h 74"/>
              <a:gd name="T30" fmla="*/ 2147483647 w 299"/>
              <a:gd name="T31" fmla="*/ 2147483647 h 74"/>
              <a:gd name="T32" fmla="*/ 2147483647 w 299"/>
              <a:gd name="T33" fmla="*/ 2147483647 h 74"/>
              <a:gd name="T34" fmla="*/ 2147483647 w 299"/>
              <a:gd name="T35" fmla="*/ 2147483647 h 74"/>
              <a:gd name="T36" fmla="*/ 2147483647 w 299"/>
              <a:gd name="T37" fmla="*/ 2147483647 h 74"/>
              <a:gd name="T38" fmla="*/ 2147483647 w 299"/>
              <a:gd name="T39" fmla="*/ 2147483647 h 74"/>
              <a:gd name="T40" fmla="*/ 2147483647 w 299"/>
              <a:gd name="T41" fmla="*/ 2147483647 h 74"/>
              <a:gd name="T42" fmla="*/ 2147483647 w 299"/>
              <a:gd name="T43" fmla="*/ 2147483647 h 74"/>
              <a:gd name="T44" fmla="*/ 2147483647 w 299"/>
              <a:gd name="T45" fmla="*/ 0 h 74"/>
              <a:gd name="T46" fmla="*/ 2147483647 w 299"/>
              <a:gd name="T47" fmla="*/ 2147483647 h 74"/>
              <a:gd name="T48" fmla="*/ 2147483647 w 299"/>
              <a:gd name="T49" fmla="*/ 2147483647 h 74"/>
              <a:gd name="T50" fmla="*/ 2147483647 w 299"/>
              <a:gd name="T51" fmla="*/ 2147483647 h 74"/>
              <a:gd name="T52" fmla="*/ 2147483647 w 299"/>
              <a:gd name="T53" fmla="*/ 2147483647 h 74"/>
              <a:gd name="T54" fmla="*/ 2147483647 w 299"/>
              <a:gd name="T55" fmla="*/ 2147483647 h 74"/>
              <a:gd name="T56" fmla="*/ 2147483647 w 299"/>
              <a:gd name="T57" fmla="*/ 2147483647 h 74"/>
              <a:gd name="T58" fmla="*/ 2147483647 w 299"/>
              <a:gd name="T59" fmla="*/ 2147483647 h 74"/>
              <a:gd name="T60" fmla="*/ 2147483647 w 299"/>
              <a:gd name="T61" fmla="*/ 2147483647 h 74"/>
              <a:gd name="T62" fmla="*/ 2147483647 w 299"/>
              <a:gd name="T63" fmla="*/ 2147483647 h 74"/>
              <a:gd name="T64" fmla="*/ 2147483647 w 299"/>
              <a:gd name="T65" fmla="*/ 2147483647 h 74"/>
              <a:gd name="T66" fmla="*/ 2147483647 w 299"/>
              <a:gd name="T67" fmla="*/ 2147483647 h 74"/>
              <a:gd name="T68" fmla="*/ 2147483647 w 299"/>
              <a:gd name="T69" fmla="*/ 2147483647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395288" y="4963517"/>
            <a:ext cx="144462" cy="13176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0" name="549 Rectángulo"/>
          <p:cNvSpPr/>
          <p:nvPr/>
        </p:nvSpPr>
        <p:spPr>
          <a:xfrm>
            <a:off x="390525" y="5181004"/>
            <a:ext cx="142875" cy="1317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1" name="550 Rectángulo"/>
          <p:cNvSpPr/>
          <p:nvPr/>
        </p:nvSpPr>
        <p:spPr>
          <a:xfrm>
            <a:off x="390525" y="6114454"/>
            <a:ext cx="142875" cy="131763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2" name="551 Rectángulo"/>
          <p:cNvSpPr/>
          <p:nvPr/>
        </p:nvSpPr>
        <p:spPr>
          <a:xfrm>
            <a:off x="395288" y="5866804"/>
            <a:ext cx="144462" cy="13176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3" name="552 Rectángulo"/>
          <p:cNvSpPr/>
          <p:nvPr/>
        </p:nvSpPr>
        <p:spPr>
          <a:xfrm>
            <a:off x="388938" y="5638204"/>
            <a:ext cx="144462" cy="130175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solidFill>
              <a:schemeClr val="accent5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4" name="553 Rectángulo"/>
          <p:cNvSpPr/>
          <p:nvPr/>
        </p:nvSpPr>
        <p:spPr>
          <a:xfrm>
            <a:off x="388938" y="5395317"/>
            <a:ext cx="144462" cy="13176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37" name="2 CuadroTexto"/>
          <p:cNvSpPr txBox="1">
            <a:spLocks noChangeArrowheads="1"/>
          </p:cNvSpPr>
          <p:nvPr/>
        </p:nvSpPr>
        <p:spPr bwMode="auto">
          <a:xfrm>
            <a:off x="544513" y="4893667"/>
            <a:ext cx="76835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ES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&lt;10.0</a:t>
            </a:r>
            <a:endParaRPr lang="es-ES" altLang="es-ES"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555 CuadroTexto"/>
          <p:cNvSpPr txBox="1">
            <a:spLocks noChangeArrowheads="1"/>
          </p:cNvSpPr>
          <p:nvPr/>
        </p:nvSpPr>
        <p:spPr bwMode="auto">
          <a:xfrm>
            <a:off x="539750" y="5115917"/>
            <a:ext cx="100568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ES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10.0 </a:t>
            </a:r>
            <a:r>
              <a:rPr lang="es-ES" altLang="es-ES" sz="1100" dirty="0">
                <a:latin typeface="Calibri" panose="020F0502020204030204" pitchFamily="34" charset="0"/>
                <a:cs typeface="Calibri" panose="020F0502020204030204" pitchFamily="34" charset="0"/>
              </a:rPr>
              <a:t>– 2</a:t>
            </a:r>
            <a:r>
              <a:rPr lang="es-ES" altLang="es-ES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9.9</a:t>
            </a:r>
            <a:endParaRPr lang="es-ES" altLang="es-ES"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556 CuadroTexto"/>
          <p:cNvSpPr txBox="1">
            <a:spLocks noChangeArrowheads="1"/>
          </p:cNvSpPr>
          <p:nvPr/>
        </p:nvSpPr>
        <p:spPr bwMode="auto">
          <a:xfrm>
            <a:off x="564877" y="5330229"/>
            <a:ext cx="100119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ES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30.0 </a:t>
            </a:r>
            <a:r>
              <a:rPr lang="es-ES" altLang="es-ES" sz="1100" dirty="0"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es-ES" altLang="es-ES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59.9</a:t>
            </a:r>
            <a:endParaRPr lang="es-ES" altLang="es-ES"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557 CuadroTexto"/>
          <p:cNvSpPr txBox="1">
            <a:spLocks noChangeArrowheads="1"/>
          </p:cNvSpPr>
          <p:nvPr/>
        </p:nvSpPr>
        <p:spPr bwMode="auto">
          <a:xfrm>
            <a:off x="539552" y="5589240"/>
            <a:ext cx="94138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ES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60.0 </a:t>
            </a:r>
            <a:r>
              <a:rPr lang="es-ES" altLang="es-ES" sz="1100" dirty="0">
                <a:latin typeface="Calibri" panose="020F0502020204030204" pitchFamily="34" charset="0"/>
                <a:cs typeface="Calibri" panose="020F0502020204030204" pitchFamily="34" charset="0"/>
              </a:rPr>
              <a:t>– 79.9</a:t>
            </a:r>
          </a:p>
        </p:txBody>
      </p:sp>
      <p:sp>
        <p:nvSpPr>
          <p:cNvPr id="2441" name="558 CuadroTexto"/>
          <p:cNvSpPr txBox="1">
            <a:spLocks noChangeArrowheads="1"/>
          </p:cNvSpPr>
          <p:nvPr/>
        </p:nvSpPr>
        <p:spPr bwMode="auto">
          <a:xfrm>
            <a:off x="539552" y="5801717"/>
            <a:ext cx="96024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ES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80.0 </a:t>
            </a:r>
            <a:r>
              <a:rPr lang="es-ES" altLang="es-ES" sz="1100" dirty="0">
                <a:latin typeface="Calibri" panose="020F0502020204030204" pitchFamily="34" charset="0"/>
                <a:cs typeface="Calibri" panose="020F0502020204030204" pitchFamily="34" charset="0"/>
              </a:rPr>
              <a:t>– 99.9</a:t>
            </a:r>
          </a:p>
        </p:txBody>
      </p:sp>
      <p:sp>
        <p:nvSpPr>
          <p:cNvPr id="2442" name="559 CuadroTexto"/>
          <p:cNvSpPr txBox="1">
            <a:spLocks noChangeArrowheads="1"/>
          </p:cNvSpPr>
          <p:nvPr/>
        </p:nvSpPr>
        <p:spPr bwMode="auto">
          <a:xfrm>
            <a:off x="564877" y="6063654"/>
            <a:ext cx="76676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ES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 100 - 110</a:t>
            </a:r>
            <a:endParaRPr lang="es-ES" altLang="es-ES"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43" name="15 CuadroTexto"/>
          <p:cNvSpPr txBox="1">
            <a:spLocks noChangeArrowheads="1"/>
          </p:cNvSpPr>
          <p:nvPr/>
        </p:nvSpPr>
        <p:spPr bwMode="auto">
          <a:xfrm>
            <a:off x="2706688" y="5952886"/>
            <a:ext cx="3873500" cy="369332"/>
          </a:xfrm>
          <a:prstGeom prst="rect">
            <a:avLst/>
          </a:prstGeom>
          <a:ln/>
          <a:ex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s-ES" altLang="es-ES" b="1" dirty="0" err="1">
                <a:latin typeface="Calibri" panose="020F0502020204030204" pitchFamily="34" charset="0"/>
                <a:cs typeface="Calibri" panose="020F0502020204030204" pitchFamily="34" charset="0"/>
              </a:rPr>
              <a:t>Patients</a:t>
            </a:r>
            <a:r>
              <a:rPr lang="es-ES" altLang="es-E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altLang="es-ES" b="1" dirty="0" err="1">
                <a:latin typeface="Calibri" panose="020F0502020204030204" pitchFamily="34" charset="0"/>
                <a:cs typeface="Calibri" panose="020F0502020204030204" pitchFamily="34" charset="0"/>
              </a:rPr>
              <a:t>transplanted</a:t>
            </a:r>
            <a:r>
              <a:rPr lang="es-ES" altLang="es-ES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" altLang="es-ES" b="1" dirty="0" err="1">
                <a:latin typeface="Calibri" panose="020F0502020204030204" pitchFamily="34" charset="0"/>
                <a:cs typeface="Calibri" panose="020F0502020204030204" pitchFamily="34" charset="0"/>
              </a:rPr>
              <a:t>pmp</a:t>
            </a:r>
            <a:r>
              <a:rPr lang="es-ES" altLang="es-ES" b="1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s-ES" altLang="es-ES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2017)</a:t>
            </a:r>
            <a:endParaRPr lang="es-ES" altLang="es-E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2" name="561 Rectángulo"/>
          <p:cNvSpPr/>
          <p:nvPr/>
        </p:nvSpPr>
        <p:spPr>
          <a:xfrm>
            <a:off x="395536" y="6360120"/>
            <a:ext cx="142875" cy="131763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3" name="559 CuadroTexto"/>
          <p:cNvSpPr txBox="1">
            <a:spLocks noChangeArrowheads="1"/>
          </p:cNvSpPr>
          <p:nvPr/>
        </p:nvSpPr>
        <p:spPr bwMode="auto">
          <a:xfrm>
            <a:off x="528886" y="6309320"/>
            <a:ext cx="766763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s-ES" altLang="es-ES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 &gt;110</a:t>
            </a:r>
            <a:endParaRPr lang="es-ES" altLang="es-ES"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64" name="Picture 4"/>
          <p:cNvPicPr>
            <a:picLocks noChangeAspect="1" noChangeArrowheads="1"/>
          </p:cNvPicPr>
          <p:nvPr/>
        </p:nvPicPr>
        <p:blipFill>
          <a:blip r:embed="rId3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8" t="15244" r="6808" b="70715"/>
          <a:stretch>
            <a:fillRect/>
          </a:stretch>
        </p:blipFill>
        <p:spPr bwMode="auto">
          <a:xfrm>
            <a:off x="0" y="-27384"/>
            <a:ext cx="9144000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5" name="15 CuadroTexto"/>
          <p:cNvSpPr txBox="1">
            <a:spLocks noChangeArrowheads="1"/>
          </p:cNvSpPr>
          <p:nvPr/>
        </p:nvSpPr>
        <p:spPr bwMode="auto">
          <a:xfrm>
            <a:off x="0" y="836712"/>
            <a:ext cx="9118256" cy="461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altLang="es-ES" sz="2400" b="1" i="0" dirty="0" smtClea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vidad global de trasplante de órganos sólidos, pmp</a:t>
            </a:r>
            <a:endParaRPr lang="es-ES" altLang="es-ES" sz="2400" b="1" i="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66" name="9 Conector recto de flecha"/>
          <p:cNvCxnSpPr/>
          <p:nvPr/>
        </p:nvCxnSpPr>
        <p:spPr>
          <a:xfrm flipH="1" flipV="1">
            <a:off x="4306834" y="2895402"/>
            <a:ext cx="1335114" cy="705296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7" name="10 Elipse"/>
          <p:cNvSpPr/>
          <p:nvPr/>
        </p:nvSpPr>
        <p:spPr>
          <a:xfrm>
            <a:off x="3633788" y="2419152"/>
            <a:ext cx="611188" cy="659606"/>
          </a:xfrm>
          <a:prstGeom prst="ellipse">
            <a:avLst/>
          </a:pr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68" name="8 CuadroTexto"/>
          <p:cNvSpPr txBox="1"/>
          <p:nvPr/>
        </p:nvSpPr>
        <p:spPr>
          <a:xfrm>
            <a:off x="5641947" y="3110976"/>
            <a:ext cx="3312368" cy="129266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" sz="2400" b="1" i="0" u="sng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7:</a:t>
            </a:r>
            <a:r>
              <a:rPr lang="es-ES" sz="24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s-ES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PAÑA ES EL ÚNICO PAÍS DEL MUNDO CON MÁS</a:t>
            </a:r>
          </a:p>
          <a:p>
            <a:pPr algn="ctr"/>
            <a:r>
              <a:rPr lang="es-ES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 110 ENFERMOS TRASPLANTADOS  PMP </a:t>
            </a:r>
            <a:endParaRPr lang="es-ES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>
          <a:blip r:embed="rId385"/>
          <a:stretch>
            <a:fillRect/>
          </a:stretch>
        </p:blipFill>
        <p:spPr>
          <a:xfrm>
            <a:off x="6301832" y="245716"/>
            <a:ext cx="1986834" cy="518988"/>
          </a:xfrm>
          <a:prstGeom prst="rect">
            <a:avLst/>
          </a:prstGeom>
        </p:spPr>
      </p:pic>
      <p:sp>
        <p:nvSpPr>
          <p:cNvPr id="570" name="13 CuadroTexto"/>
          <p:cNvSpPr txBox="1"/>
          <p:nvPr/>
        </p:nvSpPr>
        <p:spPr>
          <a:xfrm>
            <a:off x="179512" y="6546830"/>
            <a:ext cx="8040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i="0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Fuente: Observatorio Global de Donación y Trasplante</a:t>
            </a:r>
            <a:endParaRPr lang="es-ES" sz="1600" i="0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1129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5"/>
          <p:cNvGrpSpPr>
            <a:grpSpLocks/>
          </p:cNvGrpSpPr>
          <p:nvPr/>
        </p:nvGrpSpPr>
        <p:grpSpPr bwMode="auto">
          <a:xfrm>
            <a:off x="6944999" y="819802"/>
            <a:ext cx="1584325" cy="1296987"/>
            <a:chOff x="377" y="2612"/>
            <a:chExt cx="1003" cy="855"/>
          </a:xfrm>
          <a:solidFill>
            <a:schemeClr val="accent6"/>
          </a:solidFill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377" y="2612"/>
              <a:ext cx="966" cy="855"/>
            </a:xfrm>
            <a:custGeom>
              <a:avLst/>
              <a:gdLst>
                <a:gd name="T0" fmla="*/ 44 w 966"/>
                <a:gd name="T1" fmla="*/ 155 h 855"/>
                <a:gd name="T2" fmla="*/ 75 w 966"/>
                <a:gd name="T3" fmla="*/ 93 h 855"/>
                <a:gd name="T4" fmla="*/ 67 w 966"/>
                <a:gd name="T5" fmla="*/ 70 h 855"/>
                <a:gd name="T6" fmla="*/ 53 w 966"/>
                <a:gd name="T7" fmla="*/ 49 h 855"/>
                <a:gd name="T8" fmla="*/ 107 w 966"/>
                <a:gd name="T9" fmla="*/ 22 h 855"/>
                <a:gd name="T10" fmla="*/ 146 w 966"/>
                <a:gd name="T11" fmla="*/ 13 h 855"/>
                <a:gd name="T12" fmla="*/ 187 w 966"/>
                <a:gd name="T13" fmla="*/ 4 h 855"/>
                <a:gd name="T14" fmla="*/ 265 w 966"/>
                <a:gd name="T15" fmla="*/ 66 h 855"/>
                <a:gd name="T16" fmla="*/ 321 w 966"/>
                <a:gd name="T17" fmla="*/ 70 h 855"/>
                <a:gd name="T18" fmla="*/ 475 w 966"/>
                <a:gd name="T19" fmla="*/ 142 h 855"/>
                <a:gd name="T20" fmla="*/ 541 w 966"/>
                <a:gd name="T21" fmla="*/ 158 h 855"/>
                <a:gd name="T22" fmla="*/ 586 w 966"/>
                <a:gd name="T23" fmla="*/ 194 h 855"/>
                <a:gd name="T24" fmla="*/ 631 w 966"/>
                <a:gd name="T25" fmla="*/ 199 h 855"/>
                <a:gd name="T26" fmla="*/ 631 w 966"/>
                <a:gd name="T27" fmla="*/ 220 h 855"/>
                <a:gd name="T28" fmla="*/ 701 w 966"/>
                <a:gd name="T29" fmla="*/ 287 h 855"/>
                <a:gd name="T30" fmla="*/ 758 w 966"/>
                <a:gd name="T31" fmla="*/ 314 h 855"/>
                <a:gd name="T32" fmla="*/ 847 w 966"/>
                <a:gd name="T33" fmla="*/ 340 h 855"/>
                <a:gd name="T34" fmla="*/ 865 w 966"/>
                <a:gd name="T35" fmla="*/ 371 h 855"/>
                <a:gd name="T36" fmla="*/ 899 w 966"/>
                <a:gd name="T37" fmla="*/ 384 h 855"/>
                <a:gd name="T38" fmla="*/ 935 w 966"/>
                <a:gd name="T39" fmla="*/ 384 h 855"/>
                <a:gd name="T40" fmla="*/ 958 w 966"/>
                <a:gd name="T41" fmla="*/ 384 h 855"/>
                <a:gd name="T42" fmla="*/ 966 w 966"/>
                <a:gd name="T43" fmla="*/ 425 h 855"/>
                <a:gd name="T44" fmla="*/ 882 w 966"/>
                <a:gd name="T45" fmla="*/ 489 h 855"/>
                <a:gd name="T46" fmla="*/ 763 w 966"/>
                <a:gd name="T47" fmla="*/ 510 h 855"/>
                <a:gd name="T48" fmla="*/ 732 w 966"/>
                <a:gd name="T49" fmla="*/ 541 h 855"/>
                <a:gd name="T50" fmla="*/ 696 w 966"/>
                <a:gd name="T51" fmla="*/ 555 h 855"/>
                <a:gd name="T52" fmla="*/ 660 w 966"/>
                <a:gd name="T53" fmla="*/ 594 h 855"/>
                <a:gd name="T54" fmla="*/ 621 w 966"/>
                <a:gd name="T55" fmla="*/ 621 h 855"/>
                <a:gd name="T56" fmla="*/ 634 w 966"/>
                <a:gd name="T57" fmla="*/ 669 h 855"/>
                <a:gd name="T58" fmla="*/ 639 w 966"/>
                <a:gd name="T59" fmla="*/ 705 h 855"/>
                <a:gd name="T60" fmla="*/ 616 w 966"/>
                <a:gd name="T61" fmla="*/ 718 h 855"/>
                <a:gd name="T62" fmla="*/ 555 w 966"/>
                <a:gd name="T63" fmla="*/ 772 h 855"/>
                <a:gd name="T64" fmla="*/ 533 w 966"/>
                <a:gd name="T65" fmla="*/ 793 h 855"/>
                <a:gd name="T66" fmla="*/ 493 w 966"/>
                <a:gd name="T67" fmla="*/ 806 h 855"/>
                <a:gd name="T68" fmla="*/ 453 w 966"/>
                <a:gd name="T69" fmla="*/ 816 h 855"/>
                <a:gd name="T70" fmla="*/ 431 w 966"/>
                <a:gd name="T71" fmla="*/ 842 h 855"/>
                <a:gd name="T72" fmla="*/ 395 w 966"/>
                <a:gd name="T73" fmla="*/ 851 h 855"/>
                <a:gd name="T74" fmla="*/ 325 w 966"/>
                <a:gd name="T75" fmla="*/ 842 h 855"/>
                <a:gd name="T76" fmla="*/ 216 w 966"/>
                <a:gd name="T77" fmla="*/ 806 h 855"/>
                <a:gd name="T78" fmla="*/ 164 w 966"/>
                <a:gd name="T79" fmla="*/ 829 h 855"/>
                <a:gd name="T80" fmla="*/ 115 w 966"/>
                <a:gd name="T81" fmla="*/ 847 h 855"/>
                <a:gd name="T82" fmla="*/ 53 w 966"/>
                <a:gd name="T83" fmla="*/ 803 h 855"/>
                <a:gd name="T84" fmla="*/ 31 w 966"/>
                <a:gd name="T85" fmla="*/ 700 h 855"/>
                <a:gd name="T86" fmla="*/ 0 w 966"/>
                <a:gd name="T87" fmla="*/ 666 h 855"/>
                <a:gd name="T88" fmla="*/ 13 w 966"/>
                <a:gd name="T89" fmla="*/ 625 h 855"/>
                <a:gd name="T90" fmla="*/ 58 w 966"/>
                <a:gd name="T91" fmla="*/ 604 h 855"/>
                <a:gd name="T92" fmla="*/ 40 w 966"/>
                <a:gd name="T93" fmla="*/ 555 h 855"/>
                <a:gd name="T94" fmla="*/ 80 w 966"/>
                <a:gd name="T95" fmla="*/ 502 h 855"/>
                <a:gd name="T96" fmla="*/ 71 w 966"/>
                <a:gd name="T97" fmla="*/ 464 h 855"/>
                <a:gd name="T98" fmla="*/ 84 w 966"/>
                <a:gd name="T99" fmla="*/ 429 h 855"/>
                <a:gd name="T100" fmla="*/ 107 w 966"/>
                <a:gd name="T101" fmla="*/ 442 h 855"/>
                <a:gd name="T102" fmla="*/ 124 w 966"/>
                <a:gd name="T103" fmla="*/ 376 h 855"/>
                <a:gd name="T104" fmla="*/ 159 w 966"/>
                <a:gd name="T105" fmla="*/ 327 h 855"/>
                <a:gd name="T106" fmla="*/ 195 w 966"/>
                <a:gd name="T107" fmla="*/ 292 h 855"/>
                <a:gd name="T108" fmla="*/ 231 w 966"/>
                <a:gd name="T109" fmla="*/ 278 h 855"/>
                <a:gd name="T110" fmla="*/ 190 w 966"/>
                <a:gd name="T111" fmla="*/ 220 h 855"/>
                <a:gd name="T112" fmla="*/ 155 w 966"/>
                <a:gd name="T113" fmla="*/ 225 h 855"/>
                <a:gd name="T114" fmla="*/ 111 w 966"/>
                <a:gd name="T115" fmla="*/ 207 h 855"/>
                <a:gd name="T116" fmla="*/ 93 w 966"/>
                <a:gd name="T117" fmla="*/ 203 h 855"/>
                <a:gd name="T118" fmla="*/ 80 w 966"/>
                <a:gd name="T119" fmla="*/ 168 h 855"/>
                <a:gd name="T120" fmla="*/ 49 w 966"/>
                <a:gd name="T121" fmla="*/ 168 h 85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66"/>
                <a:gd name="T184" fmla="*/ 0 h 855"/>
                <a:gd name="T185" fmla="*/ 966 w 966"/>
                <a:gd name="T186" fmla="*/ 855 h 85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66" h="855">
                  <a:moveTo>
                    <a:pt x="49" y="168"/>
                  </a:moveTo>
                  <a:lnTo>
                    <a:pt x="44" y="155"/>
                  </a:lnTo>
                  <a:lnTo>
                    <a:pt x="49" y="137"/>
                  </a:lnTo>
                  <a:lnTo>
                    <a:pt x="75" y="93"/>
                  </a:lnTo>
                  <a:lnTo>
                    <a:pt x="62" y="83"/>
                  </a:lnTo>
                  <a:lnTo>
                    <a:pt x="67" y="70"/>
                  </a:lnTo>
                  <a:lnTo>
                    <a:pt x="53" y="66"/>
                  </a:lnTo>
                  <a:lnTo>
                    <a:pt x="53" y="49"/>
                  </a:lnTo>
                  <a:lnTo>
                    <a:pt x="62" y="35"/>
                  </a:lnTo>
                  <a:lnTo>
                    <a:pt x="107" y="22"/>
                  </a:lnTo>
                  <a:lnTo>
                    <a:pt x="142" y="26"/>
                  </a:lnTo>
                  <a:lnTo>
                    <a:pt x="146" y="13"/>
                  </a:lnTo>
                  <a:lnTo>
                    <a:pt x="172" y="0"/>
                  </a:lnTo>
                  <a:lnTo>
                    <a:pt x="187" y="4"/>
                  </a:lnTo>
                  <a:lnTo>
                    <a:pt x="216" y="44"/>
                  </a:lnTo>
                  <a:lnTo>
                    <a:pt x="265" y="66"/>
                  </a:lnTo>
                  <a:lnTo>
                    <a:pt x="309" y="66"/>
                  </a:lnTo>
                  <a:lnTo>
                    <a:pt x="321" y="70"/>
                  </a:lnTo>
                  <a:lnTo>
                    <a:pt x="440" y="137"/>
                  </a:lnTo>
                  <a:lnTo>
                    <a:pt x="475" y="142"/>
                  </a:lnTo>
                  <a:lnTo>
                    <a:pt x="502" y="168"/>
                  </a:lnTo>
                  <a:lnTo>
                    <a:pt x="541" y="158"/>
                  </a:lnTo>
                  <a:lnTo>
                    <a:pt x="564" y="173"/>
                  </a:lnTo>
                  <a:lnTo>
                    <a:pt x="586" y="194"/>
                  </a:lnTo>
                  <a:lnTo>
                    <a:pt x="613" y="194"/>
                  </a:lnTo>
                  <a:lnTo>
                    <a:pt x="631" y="199"/>
                  </a:lnTo>
                  <a:lnTo>
                    <a:pt x="639" y="207"/>
                  </a:lnTo>
                  <a:lnTo>
                    <a:pt x="631" y="220"/>
                  </a:lnTo>
                  <a:lnTo>
                    <a:pt x="631" y="238"/>
                  </a:lnTo>
                  <a:lnTo>
                    <a:pt x="701" y="287"/>
                  </a:lnTo>
                  <a:lnTo>
                    <a:pt x="740" y="318"/>
                  </a:lnTo>
                  <a:lnTo>
                    <a:pt x="758" y="314"/>
                  </a:lnTo>
                  <a:lnTo>
                    <a:pt x="780" y="309"/>
                  </a:lnTo>
                  <a:lnTo>
                    <a:pt x="847" y="340"/>
                  </a:lnTo>
                  <a:lnTo>
                    <a:pt x="855" y="362"/>
                  </a:lnTo>
                  <a:lnTo>
                    <a:pt x="865" y="371"/>
                  </a:lnTo>
                  <a:lnTo>
                    <a:pt x="886" y="376"/>
                  </a:lnTo>
                  <a:lnTo>
                    <a:pt x="899" y="384"/>
                  </a:lnTo>
                  <a:lnTo>
                    <a:pt x="917" y="384"/>
                  </a:lnTo>
                  <a:lnTo>
                    <a:pt x="935" y="384"/>
                  </a:lnTo>
                  <a:lnTo>
                    <a:pt x="953" y="389"/>
                  </a:lnTo>
                  <a:lnTo>
                    <a:pt x="958" y="384"/>
                  </a:lnTo>
                  <a:lnTo>
                    <a:pt x="966" y="402"/>
                  </a:lnTo>
                  <a:lnTo>
                    <a:pt x="966" y="425"/>
                  </a:lnTo>
                  <a:lnTo>
                    <a:pt x="953" y="438"/>
                  </a:lnTo>
                  <a:lnTo>
                    <a:pt x="882" y="489"/>
                  </a:lnTo>
                  <a:lnTo>
                    <a:pt x="851" y="489"/>
                  </a:lnTo>
                  <a:lnTo>
                    <a:pt x="763" y="510"/>
                  </a:lnTo>
                  <a:lnTo>
                    <a:pt x="732" y="515"/>
                  </a:lnTo>
                  <a:lnTo>
                    <a:pt x="732" y="541"/>
                  </a:lnTo>
                  <a:lnTo>
                    <a:pt x="714" y="541"/>
                  </a:lnTo>
                  <a:lnTo>
                    <a:pt x="696" y="555"/>
                  </a:lnTo>
                  <a:lnTo>
                    <a:pt x="678" y="577"/>
                  </a:lnTo>
                  <a:lnTo>
                    <a:pt x="660" y="594"/>
                  </a:lnTo>
                  <a:lnTo>
                    <a:pt x="639" y="599"/>
                  </a:lnTo>
                  <a:lnTo>
                    <a:pt x="621" y="621"/>
                  </a:lnTo>
                  <a:lnTo>
                    <a:pt x="621" y="652"/>
                  </a:lnTo>
                  <a:lnTo>
                    <a:pt x="634" y="669"/>
                  </a:lnTo>
                  <a:lnTo>
                    <a:pt x="639" y="682"/>
                  </a:lnTo>
                  <a:lnTo>
                    <a:pt x="639" y="705"/>
                  </a:lnTo>
                  <a:lnTo>
                    <a:pt x="634" y="713"/>
                  </a:lnTo>
                  <a:lnTo>
                    <a:pt x="616" y="718"/>
                  </a:lnTo>
                  <a:lnTo>
                    <a:pt x="590" y="741"/>
                  </a:lnTo>
                  <a:lnTo>
                    <a:pt x="555" y="772"/>
                  </a:lnTo>
                  <a:lnTo>
                    <a:pt x="541" y="785"/>
                  </a:lnTo>
                  <a:lnTo>
                    <a:pt x="533" y="793"/>
                  </a:lnTo>
                  <a:lnTo>
                    <a:pt x="533" y="806"/>
                  </a:lnTo>
                  <a:lnTo>
                    <a:pt x="493" y="806"/>
                  </a:lnTo>
                  <a:lnTo>
                    <a:pt x="471" y="811"/>
                  </a:lnTo>
                  <a:lnTo>
                    <a:pt x="453" y="816"/>
                  </a:lnTo>
                  <a:lnTo>
                    <a:pt x="444" y="824"/>
                  </a:lnTo>
                  <a:lnTo>
                    <a:pt x="431" y="842"/>
                  </a:lnTo>
                  <a:lnTo>
                    <a:pt x="409" y="851"/>
                  </a:lnTo>
                  <a:lnTo>
                    <a:pt x="395" y="851"/>
                  </a:lnTo>
                  <a:lnTo>
                    <a:pt x="369" y="847"/>
                  </a:lnTo>
                  <a:lnTo>
                    <a:pt x="325" y="842"/>
                  </a:lnTo>
                  <a:lnTo>
                    <a:pt x="247" y="811"/>
                  </a:lnTo>
                  <a:lnTo>
                    <a:pt x="216" y="806"/>
                  </a:lnTo>
                  <a:lnTo>
                    <a:pt x="187" y="816"/>
                  </a:lnTo>
                  <a:lnTo>
                    <a:pt x="164" y="829"/>
                  </a:lnTo>
                  <a:lnTo>
                    <a:pt x="138" y="833"/>
                  </a:lnTo>
                  <a:lnTo>
                    <a:pt x="115" y="847"/>
                  </a:lnTo>
                  <a:lnTo>
                    <a:pt x="102" y="855"/>
                  </a:lnTo>
                  <a:lnTo>
                    <a:pt x="53" y="803"/>
                  </a:lnTo>
                  <a:lnTo>
                    <a:pt x="53" y="728"/>
                  </a:lnTo>
                  <a:lnTo>
                    <a:pt x="31" y="700"/>
                  </a:lnTo>
                  <a:lnTo>
                    <a:pt x="5" y="679"/>
                  </a:lnTo>
                  <a:lnTo>
                    <a:pt x="0" y="666"/>
                  </a:lnTo>
                  <a:lnTo>
                    <a:pt x="0" y="638"/>
                  </a:lnTo>
                  <a:lnTo>
                    <a:pt x="13" y="625"/>
                  </a:lnTo>
                  <a:lnTo>
                    <a:pt x="49" y="612"/>
                  </a:lnTo>
                  <a:lnTo>
                    <a:pt x="58" y="604"/>
                  </a:lnTo>
                  <a:lnTo>
                    <a:pt x="44" y="586"/>
                  </a:lnTo>
                  <a:lnTo>
                    <a:pt x="40" y="555"/>
                  </a:lnTo>
                  <a:lnTo>
                    <a:pt x="53" y="528"/>
                  </a:lnTo>
                  <a:lnTo>
                    <a:pt x="80" y="502"/>
                  </a:lnTo>
                  <a:lnTo>
                    <a:pt x="80" y="482"/>
                  </a:lnTo>
                  <a:lnTo>
                    <a:pt x="71" y="464"/>
                  </a:lnTo>
                  <a:lnTo>
                    <a:pt x="80" y="433"/>
                  </a:lnTo>
                  <a:lnTo>
                    <a:pt x="84" y="429"/>
                  </a:lnTo>
                  <a:lnTo>
                    <a:pt x="97" y="429"/>
                  </a:lnTo>
                  <a:lnTo>
                    <a:pt x="107" y="442"/>
                  </a:lnTo>
                  <a:lnTo>
                    <a:pt x="120" y="425"/>
                  </a:lnTo>
                  <a:lnTo>
                    <a:pt x="124" y="376"/>
                  </a:lnTo>
                  <a:lnTo>
                    <a:pt x="159" y="345"/>
                  </a:lnTo>
                  <a:lnTo>
                    <a:pt x="159" y="327"/>
                  </a:lnTo>
                  <a:lnTo>
                    <a:pt x="159" y="314"/>
                  </a:lnTo>
                  <a:lnTo>
                    <a:pt x="195" y="292"/>
                  </a:lnTo>
                  <a:lnTo>
                    <a:pt x="221" y="287"/>
                  </a:lnTo>
                  <a:lnTo>
                    <a:pt x="231" y="278"/>
                  </a:lnTo>
                  <a:lnTo>
                    <a:pt x="208" y="256"/>
                  </a:lnTo>
                  <a:lnTo>
                    <a:pt x="190" y="220"/>
                  </a:lnTo>
                  <a:lnTo>
                    <a:pt x="182" y="212"/>
                  </a:lnTo>
                  <a:lnTo>
                    <a:pt x="155" y="225"/>
                  </a:lnTo>
                  <a:lnTo>
                    <a:pt x="138" y="217"/>
                  </a:lnTo>
                  <a:lnTo>
                    <a:pt x="111" y="207"/>
                  </a:lnTo>
                  <a:lnTo>
                    <a:pt x="102" y="212"/>
                  </a:lnTo>
                  <a:lnTo>
                    <a:pt x="93" y="203"/>
                  </a:lnTo>
                  <a:lnTo>
                    <a:pt x="93" y="186"/>
                  </a:lnTo>
                  <a:lnTo>
                    <a:pt x="80" y="168"/>
                  </a:lnTo>
                  <a:lnTo>
                    <a:pt x="71" y="163"/>
                  </a:lnTo>
                  <a:lnTo>
                    <a:pt x="49" y="168"/>
                  </a:lnTo>
                  <a:close/>
                </a:path>
              </a:pathLst>
            </a:custGeom>
            <a:grpFill/>
            <a:ln w="2857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 i="0" u="sng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1113" y="3322"/>
              <a:ext cx="37" cy="26"/>
            </a:xfrm>
            <a:custGeom>
              <a:avLst/>
              <a:gdLst>
                <a:gd name="T0" fmla="*/ 37 w 37"/>
                <a:gd name="T1" fmla="*/ 0 h 26"/>
                <a:gd name="T2" fmla="*/ 19 w 37"/>
                <a:gd name="T3" fmla="*/ 0 h 26"/>
                <a:gd name="T4" fmla="*/ 0 w 37"/>
                <a:gd name="T5" fmla="*/ 18 h 26"/>
                <a:gd name="T6" fmla="*/ 9 w 37"/>
                <a:gd name="T7" fmla="*/ 26 h 26"/>
                <a:gd name="T8" fmla="*/ 27 w 37"/>
                <a:gd name="T9" fmla="*/ 26 h 26"/>
                <a:gd name="T10" fmla="*/ 37 w 37"/>
                <a:gd name="T11" fmla="*/ 0 h 2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"/>
                <a:gd name="T19" fmla="*/ 0 h 26"/>
                <a:gd name="T20" fmla="*/ 37 w 37"/>
                <a:gd name="T21" fmla="*/ 26 h 2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" h="26">
                  <a:moveTo>
                    <a:pt x="37" y="0"/>
                  </a:moveTo>
                  <a:lnTo>
                    <a:pt x="19" y="0"/>
                  </a:lnTo>
                  <a:lnTo>
                    <a:pt x="0" y="18"/>
                  </a:lnTo>
                  <a:lnTo>
                    <a:pt x="9" y="26"/>
                  </a:lnTo>
                  <a:lnTo>
                    <a:pt x="27" y="26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2857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 i="0" u="sng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1220" y="3255"/>
              <a:ext cx="85" cy="67"/>
            </a:xfrm>
            <a:custGeom>
              <a:avLst/>
              <a:gdLst>
                <a:gd name="T0" fmla="*/ 62 w 85"/>
                <a:gd name="T1" fmla="*/ 0 h 67"/>
                <a:gd name="T2" fmla="*/ 54 w 85"/>
                <a:gd name="T3" fmla="*/ 8 h 67"/>
                <a:gd name="T4" fmla="*/ 18 w 85"/>
                <a:gd name="T5" fmla="*/ 13 h 67"/>
                <a:gd name="T6" fmla="*/ 0 w 85"/>
                <a:gd name="T7" fmla="*/ 36 h 67"/>
                <a:gd name="T8" fmla="*/ 26 w 85"/>
                <a:gd name="T9" fmla="*/ 54 h 67"/>
                <a:gd name="T10" fmla="*/ 41 w 85"/>
                <a:gd name="T11" fmla="*/ 67 h 67"/>
                <a:gd name="T12" fmla="*/ 67 w 85"/>
                <a:gd name="T13" fmla="*/ 62 h 67"/>
                <a:gd name="T14" fmla="*/ 85 w 85"/>
                <a:gd name="T15" fmla="*/ 54 h 67"/>
                <a:gd name="T16" fmla="*/ 80 w 85"/>
                <a:gd name="T17" fmla="*/ 36 h 67"/>
                <a:gd name="T18" fmla="*/ 67 w 85"/>
                <a:gd name="T19" fmla="*/ 23 h 67"/>
                <a:gd name="T20" fmla="*/ 62 w 85"/>
                <a:gd name="T21" fmla="*/ 0 h 6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5"/>
                <a:gd name="T34" fmla="*/ 0 h 67"/>
                <a:gd name="T35" fmla="*/ 85 w 85"/>
                <a:gd name="T36" fmla="*/ 67 h 6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5" h="67">
                  <a:moveTo>
                    <a:pt x="62" y="0"/>
                  </a:moveTo>
                  <a:lnTo>
                    <a:pt x="54" y="8"/>
                  </a:lnTo>
                  <a:lnTo>
                    <a:pt x="18" y="13"/>
                  </a:lnTo>
                  <a:lnTo>
                    <a:pt x="0" y="36"/>
                  </a:lnTo>
                  <a:lnTo>
                    <a:pt x="26" y="54"/>
                  </a:lnTo>
                  <a:lnTo>
                    <a:pt x="41" y="67"/>
                  </a:lnTo>
                  <a:lnTo>
                    <a:pt x="67" y="62"/>
                  </a:lnTo>
                  <a:lnTo>
                    <a:pt x="85" y="54"/>
                  </a:lnTo>
                  <a:lnTo>
                    <a:pt x="80" y="36"/>
                  </a:lnTo>
                  <a:lnTo>
                    <a:pt x="67" y="23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2857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 i="0" u="sng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1353" y="3260"/>
              <a:ext cx="27" cy="34"/>
            </a:xfrm>
            <a:custGeom>
              <a:avLst/>
              <a:gdLst>
                <a:gd name="T0" fmla="*/ 18 w 27"/>
                <a:gd name="T1" fmla="*/ 0 h 34"/>
                <a:gd name="T2" fmla="*/ 0 w 27"/>
                <a:gd name="T3" fmla="*/ 8 h 34"/>
                <a:gd name="T4" fmla="*/ 14 w 27"/>
                <a:gd name="T5" fmla="*/ 21 h 34"/>
                <a:gd name="T6" fmla="*/ 27 w 27"/>
                <a:gd name="T7" fmla="*/ 34 h 34"/>
                <a:gd name="T8" fmla="*/ 18 w 27"/>
                <a:gd name="T9" fmla="*/ 0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"/>
                <a:gd name="T16" fmla="*/ 0 h 34"/>
                <a:gd name="T17" fmla="*/ 27 w 27"/>
                <a:gd name="T18" fmla="*/ 34 h 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" h="34">
                  <a:moveTo>
                    <a:pt x="18" y="0"/>
                  </a:moveTo>
                  <a:lnTo>
                    <a:pt x="0" y="8"/>
                  </a:lnTo>
                  <a:lnTo>
                    <a:pt x="14" y="21"/>
                  </a:lnTo>
                  <a:lnTo>
                    <a:pt x="27" y="34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2857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 i="0" u="sng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7" name="Text Box 22"/>
          <p:cNvSpPr txBox="1">
            <a:spLocks noChangeArrowheads="1"/>
          </p:cNvSpPr>
          <p:nvPr/>
        </p:nvSpPr>
        <p:spPr bwMode="auto">
          <a:xfrm>
            <a:off x="3995936" y="2696720"/>
            <a:ext cx="4749263" cy="2708434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it-IT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STA EL </a:t>
            </a:r>
            <a:r>
              <a:rPr lang="it-IT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1-19  </a:t>
            </a:r>
            <a:r>
              <a:rPr lang="it-IT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 HAN </a:t>
            </a:r>
            <a:r>
              <a:rPr lang="it-IT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FECTUADO </a:t>
            </a:r>
            <a:r>
              <a:rPr lang="it-IT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 ESPAÑA:</a:t>
            </a:r>
          </a:p>
          <a:p>
            <a:pPr>
              <a:defRPr/>
            </a:pPr>
            <a:endParaRPr lang="it-IT" sz="20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>
              <a:buFontTx/>
              <a:buChar char="•"/>
              <a:defRPr/>
            </a:pPr>
            <a:r>
              <a:rPr lang="it-IT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2.166 </a:t>
            </a:r>
            <a:r>
              <a:rPr lang="it-IT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SPLANTES RENALES</a:t>
            </a:r>
          </a:p>
          <a:p>
            <a:pPr lvl="1">
              <a:buFontTx/>
              <a:buChar char="•"/>
              <a:defRPr/>
            </a:pPr>
            <a:r>
              <a:rPr lang="it-IT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7.382 </a:t>
            </a:r>
            <a:r>
              <a:rPr lang="it-IT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SPLANTES HEPÁTICOS</a:t>
            </a:r>
          </a:p>
          <a:p>
            <a:pPr lvl="1">
              <a:buFontTx/>
              <a:buChar char="•"/>
              <a:defRPr/>
            </a:pPr>
            <a:r>
              <a:rPr lang="it-IT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it-IT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.534 </a:t>
            </a:r>
            <a:r>
              <a:rPr lang="it-IT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SPLANTES CARDIACOS</a:t>
            </a:r>
          </a:p>
          <a:p>
            <a:pPr lvl="1">
              <a:buFontTx/>
              <a:buChar char="•"/>
              <a:defRPr/>
            </a:pPr>
            <a:r>
              <a:rPr lang="it-IT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it-IT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.820 </a:t>
            </a:r>
            <a:r>
              <a:rPr lang="it-IT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SPLANTES PULMONARES</a:t>
            </a:r>
          </a:p>
          <a:p>
            <a:pPr lvl="1">
              <a:buFontTx/>
              <a:buChar char="•"/>
              <a:defRPr/>
            </a:pPr>
            <a:r>
              <a:rPr lang="it-IT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it-IT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918 </a:t>
            </a:r>
            <a:r>
              <a:rPr lang="it-IT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SPLANTES PANCREÁTICOS</a:t>
            </a:r>
          </a:p>
          <a:p>
            <a:pPr lvl="1">
              <a:buFontTx/>
              <a:buChar char="•"/>
              <a:defRPr/>
            </a:pPr>
            <a:r>
              <a:rPr lang="it-IT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it-IT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41 TRASPLANTES INTESTINALES</a:t>
            </a:r>
            <a:endParaRPr lang="it-IT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5" descr="logo ont 13[1]"/>
          <p:cNvPicPr>
            <a:picLocks noChangeAspect="1" noChangeArrowheads="1"/>
          </p:cNvPicPr>
          <p:nvPr/>
        </p:nvPicPr>
        <p:blipFill>
          <a:blip r:embed="rId3" cstate="print"/>
          <a:srcRect l="14287" t="18185" r="10390" b="18185"/>
          <a:stretch>
            <a:fillRect/>
          </a:stretch>
        </p:blipFill>
        <p:spPr bwMode="auto">
          <a:xfrm>
            <a:off x="7131308" y="1344192"/>
            <a:ext cx="927571" cy="451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467544" y="548680"/>
            <a:ext cx="6048672" cy="201593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s-ES_tradnl" sz="2000" b="1" dirty="0">
                <a:solidFill>
                  <a:srgbClr val="CC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	</a:t>
            </a:r>
            <a:r>
              <a:rPr lang="es-ES_tradnl" sz="2400" b="1" dirty="0">
                <a:latin typeface="Calibri" panose="020F0502020204030204" pitchFamily="34" charset="0"/>
                <a:cs typeface="Calibri" panose="020F0502020204030204" pitchFamily="34" charset="0"/>
              </a:rPr>
              <a:t>España </a:t>
            </a:r>
            <a:r>
              <a:rPr lang="es-ES_tradnl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  <a:endParaRPr lang="es-ES_tradnl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7800" indent="-177800">
              <a:buFontTx/>
              <a:buChar char="•"/>
              <a:defRPr/>
            </a:pPr>
            <a:r>
              <a:rPr lang="es-ES_tradnl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46,72 millones </a:t>
            </a:r>
            <a:r>
              <a:rPr lang="es-ES_tradnl" sz="2000" b="1" dirty="0">
                <a:latin typeface="Calibri" panose="020F0502020204030204" pitchFamily="34" charset="0"/>
                <a:cs typeface="Calibri" panose="020F0502020204030204" pitchFamily="34" charset="0"/>
              </a:rPr>
              <a:t>de habitantes</a:t>
            </a:r>
          </a:p>
          <a:p>
            <a:pPr marL="177800" indent="-177800">
              <a:buFontTx/>
              <a:buChar char="•"/>
              <a:defRPr/>
            </a:pPr>
            <a:r>
              <a:rPr lang="es-ES_tradnl" sz="2000" b="1" dirty="0">
                <a:latin typeface="Calibri" panose="020F0502020204030204" pitchFamily="34" charset="0"/>
                <a:cs typeface="Calibri" panose="020F0502020204030204" pitchFamily="34" charset="0"/>
              </a:rPr>
              <a:t>17 Autonomías</a:t>
            </a:r>
          </a:p>
          <a:p>
            <a:pPr marL="177800" indent="-177800">
              <a:buFontTx/>
              <a:buChar char="•"/>
              <a:defRPr/>
            </a:pPr>
            <a:r>
              <a:rPr lang="es-ES_tradnl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5 hospitales </a:t>
            </a:r>
            <a:r>
              <a:rPr lang="es-ES_tradnl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rizados para donación</a:t>
            </a:r>
          </a:p>
          <a:p>
            <a:pPr marL="177800" indent="-177800">
              <a:buFontTx/>
              <a:buChar char="•"/>
              <a:defRPr/>
            </a:pPr>
            <a:r>
              <a:rPr lang="es-ES_tradnl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4 </a:t>
            </a:r>
            <a:r>
              <a:rPr lang="es-ES_tradnl" sz="20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spitales autorizados para </a:t>
            </a:r>
            <a:r>
              <a:rPr lang="es-ES_tradnl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splantes</a:t>
            </a:r>
          </a:p>
          <a:p>
            <a:pPr marL="534988" indent="-534988">
              <a:defRPr/>
            </a:pPr>
            <a:r>
              <a:rPr lang="es-ES_tradnl" sz="1600" b="1" i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  (10 con algún programa infantil) </a:t>
            </a:r>
            <a:endParaRPr lang="es-ES_tradnl" sz="1600" b="1" i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9" name="Picture 9" descr="~AUT0042"/>
          <p:cNvPicPr>
            <a:picLocks noChangeAspect="1" noChangeArrowheads="1"/>
          </p:cNvPicPr>
          <p:nvPr/>
        </p:nvPicPr>
        <p:blipFill>
          <a:blip r:embed="rId4" cstate="print"/>
          <a:srcRect l="1440" r="5138" b="5650"/>
          <a:stretch>
            <a:fillRect/>
          </a:stretch>
        </p:blipFill>
        <p:spPr bwMode="auto">
          <a:xfrm>
            <a:off x="494507" y="2996434"/>
            <a:ext cx="2808312" cy="2166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ext Box 22"/>
          <p:cNvSpPr txBox="1">
            <a:spLocks noChangeArrowheads="1"/>
          </p:cNvSpPr>
          <p:nvPr/>
        </p:nvSpPr>
        <p:spPr bwMode="auto">
          <a:xfrm>
            <a:off x="467544" y="5549170"/>
            <a:ext cx="8277655" cy="46166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it-IT" sz="24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4.957 TRASPLANTES DE ÓRGANOS</a:t>
            </a:r>
            <a:endParaRPr lang="it-IT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 Box 22"/>
          <p:cNvSpPr txBox="1">
            <a:spLocks noChangeArrowheads="1"/>
          </p:cNvSpPr>
          <p:nvPr/>
        </p:nvSpPr>
        <p:spPr bwMode="auto">
          <a:xfrm>
            <a:off x="467544" y="6125234"/>
            <a:ext cx="8277655" cy="40011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it-IT" sz="20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500.000 ESPAÑOLES HAN RECIBIDO IMPLANTES DE TEJIDOS O CÉLULAS</a:t>
            </a:r>
            <a:endParaRPr lang="it-IT" sz="2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179512" y="6474822"/>
            <a:ext cx="8040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i="0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Fuente: Organización Nacional de Trasplantes</a:t>
            </a:r>
            <a:endParaRPr lang="es-ES" sz="1600" i="0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009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11560" y="350168"/>
            <a:ext cx="8153400" cy="990600"/>
          </a:xfrm>
        </p:spPr>
        <p:txBody>
          <a:bodyPr>
            <a:normAutofit/>
          </a:bodyPr>
          <a:lstStyle/>
          <a:p>
            <a:pPr algn="ctr" fontAlgn="base">
              <a:spcAft>
                <a:spcPct val="0"/>
              </a:spcAft>
            </a:pPr>
            <a:r>
              <a:rPr lang="es-ES" sz="32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olución de las Listas </a:t>
            </a:r>
            <a:r>
              <a:rPr lang="es-ES" sz="3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 </a:t>
            </a:r>
            <a:r>
              <a:rPr lang="es-ES" sz="32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pera</a:t>
            </a:r>
            <a:endParaRPr lang="es-ES" sz="32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5" name="4 Marcador de contenido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2756990099"/>
              </p:ext>
            </p:extLst>
          </p:nvPr>
        </p:nvGraphicFramePr>
        <p:xfrm>
          <a:off x="1434001" y="1556792"/>
          <a:ext cx="6306351" cy="37743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9783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8387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ES" sz="16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.E Global 31/12/2017</a:t>
                      </a:r>
                      <a:endParaRPr lang="es-ES" sz="16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iños</a:t>
                      </a:r>
                      <a:endParaRPr lang="es-ES" sz="16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.E Global 31/12/2018</a:t>
                      </a:r>
                      <a:endParaRPr lang="es-ES" sz="16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16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iños</a:t>
                      </a:r>
                      <a:endParaRPr lang="es-ES" sz="16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937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ígado </a:t>
                      </a:r>
                      <a:endParaRPr lang="es-ES" sz="14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5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5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1937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ulmón</a:t>
                      </a:r>
                      <a:endParaRPr lang="es-ES" sz="14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0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1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1937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razón </a:t>
                      </a:r>
                      <a:endParaRPr lang="es-ES" sz="14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4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9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1937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áncreas </a:t>
                      </a:r>
                      <a:endParaRPr lang="es-ES" sz="14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03</a:t>
                      </a:r>
                      <a:endParaRPr kumimoji="0" lang="es-ES" sz="14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</a:t>
                      </a:r>
                      <a:endParaRPr kumimoji="0" lang="es-ES" sz="14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8</a:t>
                      </a:r>
                      <a:endParaRPr kumimoji="0" lang="es-ES" sz="14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</a:t>
                      </a:r>
                      <a:endParaRPr kumimoji="0" lang="es-ES" sz="14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1937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stino</a:t>
                      </a:r>
                      <a:endParaRPr lang="es-ES" sz="14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7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4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1937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iñón</a:t>
                      </a:r>
                      <a:endParaRPr lang="es-ES" sz="14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4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/>
                          <a:cs typeface="Calibri" panose="020F0502020204030204" pitchFamily="34" charset="0"/>
                        </a:rPr>
                        <a:t>3.942</a:t>
                      </a:r>
                      <a:endParaRPr lang="es-E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400" dirty="0" smtClean="0">
                          <a:effectLst/>
                          <a:latin typeface="Calibri" panose="020F0502020204030204" pitchFamily="34" charset="0"/>
                          <a:ea typeface="Calibri"/>
                          <a:cs typeface="Calibri" panose="020F0502020204030204" pitchFamily="34" charset="0"/>
                        </a:rPr>
                        <a:t>19</a:t>
                      </a:r>
                      <a:endParaRPr lang="es-ES" sz="14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.933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es-ES" sz="1400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5</a:t>
                      </a:r>
                      <a:endParaRPr kumimoji="0" lang="es-ES" sz="140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1937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tal Lista Espera</a:t>
                      </a:r>
                      <a:endParaRPr lang="es-ES" sz="14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891</a:t>
                      </a:r>
                      <a:endParaRPr lang="es-E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5</a:t>
                      </a:r>
                      <a:endParaRPr lang="es-E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804</a:t>
                      </a:r>
                      <a:endParaRPr lang="es-E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8</a:t>
                      </a:r>
                      <a:endParaRPr lang="es-E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4" name="3 CuadroTexto"/>
          <p:cNvSpPr txBox="1"/>
          <p:nvPr/>
        </p:nvSpPr>
        <p:spPr>
          <a:xfrm>
            <a:off x="179512" y="6546830"/>
            <a:ext cx="8040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i="0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Fuente: Organización Nacional de Trasplantes</a:t>
            </a:r>
            <a:endParaRPr lang="es-ES" sz="1600" i="0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9968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389"/>
          <a:stretch/>
        </p:blipFill>
        <p:spPr bwMode="auto">
          <a:xfrm>
            <a:off x="5552935" y="5366105"/>
            <a:ext cx="3590051" cy="13361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6232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3"/>
          <p:cNvGraphicFramePr>
            <a:graphicFrameLocks noChangeAspect="1"/>
          </p:cNvGraphicFramePr>
          <p:nvPr>
            <p:extLst/>
          </p:nvPr>
        </p:nvGraphicFramePr>
        <p:xfrm>
          <a:off x="84892" y="1484784"/>
          <a:ext cx="8950325" cy="4956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172" name="Text Box 5"/>
          <p:cNvSpPr txBox="1">
            <a:spLocks noChangeArrowheads="1"/>
          </p:cNvSpPr>
          <p:nvPr/>
        </p:nvSpPr>
        <p:spPr bwMode="auto">
          <a:xfrm>
            <a:off x="8053616" y="2564904"/>
            <a:ext cx="806631" cy="46166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r>
              <a:rPr lang="it-IT" sz="2400" b="1" dirty="0">
                <a:solidFill>
                  <a:schemeClr val="bg1"/>
                </a:solidFill>
              </a:rPr>
              <a:t>20%</a:t>
            </a:r>
          </a:p>
        </p:txBody>
      </p:sp>
      <p:sp>
        <p:nvSpPr>
          <p:cNvPr id="93190" name="Text Box 6"/>
          <p:cNvSpPr txBox="1">
            <a:spLocks noChangeArrowheads="1"/>
          </p:cNvSpPr>
          <p:nvPr/>
        </p:nvSpPr>
        <p:spPr bwMode="auto">
          <a:xfrm>
            <a:off x="7787728" y="4585563"/>
            <a:ext cx="906017" cy="646331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algn="ctr">
              <a:defRPr/>
            </a:pPr>
            <a:r>
              <a:rPr lang="it-IT" sz="1600" b="1" dirty="0" smtClean="0">
                <a:solidFill>
                  <a:schemeClr val="bg1"/>
                </a:solidFill>
              </a:rPr>
              <a:t>2018</a:t>
            </a:r>
            <a:endParaRPr lang="it-IT" sz="1600" b="1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it-IT" sz="2000" b="1" dirty="0" smtClean="0">
                <a:solidFill>
                  <a:schemeClr val="bg1"/>
                </a:solidFill>
              </a:rPr>
              <a:t>14,8%</a:t>
            </a:r>
            <a:endParaRPr lang="it-IT" sz="1200" b="1" dirty="0">
              <a:solidFill>
                <a:schemeClr val="bg1"/>
              </a:solidFill>
            </a:endParaRPr>
          </a:p>
        </p:txBody>
      </p:sp>
      <p:cxnSp>
        <p:nvCxnSpPr>
          <p:cNvPr id="5" name="4 Conector recto"/>
          <p:cNvCxnSpPr/>
          <p:nvPr/>
        </p:nvCxnSpPr>
        <p:spPr>
          <a:xfrm>
            <a:off x="720080" y="3140968"/>
            <a:ext cx="8388424" cy="0"/>
          </a:xfrm>
          <a:prstGeom prst="line">
            <a:avLst/>
          </a:prstGeom>
          <a:ln w="2540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7" descr="entrevistacortinasroja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84100" y="3577920"/>
            <a:ext cx="3024336" cy="22360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7 CuadroTexto"/>
          <p:cNvSpPr txBox="1"/>
          <p:nvPr/>
        </p:nvSpPr>
        <p:spPr>
          <a:xfrm>
            <a:off x="179512" y="6546830"/>
            <a:ext cx="8040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i="0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Fuente: Organización Nacional de Trasplantes</a:t>
            </a:r>
            <a:endParaRPr lang="es-ES" sz="1600" i="0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1 Título"/>
          <p:cNvSpPr>
            <a:spLocks noGrp="1"/>
          </p:cNvSpPr>
          <p:nvPr>
            <p:ph type="title"/>
          </p:nvPr>
        </p:nvSpPr>
        <p:spPr>
          <a:xfrm>
            <a:off x="609600" y="350168"/>
            <a:ext cx="8153400" cy="990600"/>
          </a:xfrm>
        </p:spPr>
        <p:txBody>
          <a:bodyPr>
            <a:normAutofit/>
          </a:bodyPr>
          <a:lstStyle/>
          <a:p>
            <a:pPr algn="ctr" fontAlgn="base">
              <a:spcAft>
                <a:spcPct val="0"/>
              </a:spcAft>
            </a:pPr>
            <a:r>
              <a:rPr lang="es-ES" sz="3200" b="1" dirty="0">
                <a:solidFill>
                  <a:srgbClr val="C00000"/>
                </a:solidFill>
                <a:latin typeface="+mn-lt"/>
                <a:ea typeface="+mn-ea"/>
                <a:cs typeface="Arial" pitchFamily="34" charset="0"/>
              </a:rPr>
              <a:t>Negativas a la donación</a:t>
            </a:r>
          </a:p>
        </p:txBody>
      </p:sp>
    </p:spTree>
    <p:extLst>
      <p:ext uri="{BB962C8B-B14F-4D97-AF65-F5344CB8AC3E}">
        <p14:creationId xmlns:p14="http://schemas.microsoft.com/office/powerpoint/2010/main" val="2751468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98" name="Group 6"/>
          <p:cNvGrpSpPr>
            <a:grpSpLocks/>
          </p:cNvGrpSpPr>
          <p:nvPr/>
        </p:nvGrpSpPr>
        <p:grpSpPr bwMode="auto">
          <a:xfrm>
            <a:off x="969963" y="1151731"/>
            <a:ext cx="7924800" cy="5638800"/>
            <a:chOff x="1200" y="1063"/>
            <a:chExt cx="3761" cy="2681"/>
          </a:xfrm>
        </p:grpSpPr>
        <p:grpSp>
          <p:nvGrpSpPr>
            <p:cNvPr id="29725" name="Group 7"/>
            <p:cNvGrpSpPr>
              <a:grpSpLocks/>
            </p:cNvGrpSpPr>
            <p:nvPr/>
          </p:nvGrpSpPr>
          <p:grpSpPr bwMode="auto">
            <a:xfrm>
              <a:off x="1198" y="3418"/>
              <a:ext cx="844" cy="337"/>
              <a:chOff x="3591" y="3218"/>
              <a:chExt cx="1801" cy="696"/>
            </a:xfrm>
          </p:grpSpPr>
          <p:sp>
            <p:nvSpPr>
              <p:cNvPr id="30" name="Freeform 8"/>
              <p:cNvSpPr>
                <a:spLocks/>
              </p:cNvSpPr>
              <p:nvPr/>
            </p:nvSpPr>
            <p:spPr bwMode="auto">
              <a:xfrm>
                <a:off x="3678" y="3398"/>
                <a:ext cx="96" cy="157"/>
              </a:xfrm>
              <a:custGeom>
                <a:avLst/>
                <a:gdLst/>
                <a:ahLst/>
                <a:cxnLst>
                  <a:cxn ang="0">
                    <a:pos x="96" y="107"/>
                  </a:cxn>
                  <a:cxn ang="0">
                    <a:pos x="86" y="0"/>
                  </a:cxn>
                  <a:cxn ang="0">
                    <a:pos x="24" y="0"/>
                  </a:cxn>
                  <a:cxn ang="0">
                    <a:pos x="0" y="34"/>
                  </a:cxn>
                  <a:cxn ang="0">
                    <a:pos x="38" y="147"/>
                  </a:cxn>
                  <a:cxn ang="0">
                    <a:pos x="68" y="157"/>
                  </a:cxn>
                  <a:cxn ang="0">
                    <a:pos x="96" y="107"/>
                  </a:cxn>
                </a:cxnLst>
                <a:rect l="0" t="0" r="r" b="b"/>
                <a:pathLst>
                  <a:path w="96" h="157">
                    <a:moveTo>
                      <a:pt x="96" y="107"/>
                    </a:moveTo>
                    <a:lnTo>
                      <a:pt x="86" y="0"/>
                    </a:lnTo>
                    <a:lnTo>
                      <a:pt x="24" y="0"/>
                    </a:lnTo>
                    <a:lnTo>
                      <a:pt x="0" y="34"/>
                    </a:lnTo>
                    <a:lnTo>
                      <a:pt x="38" y="147"/>
                    </a:lnTo>
                    <a:lnTo>
                      <a:pt x="68" y="157"/>
                    </a:lnTo>
                    <a:lnTo>
                      <a:pt x="96" y="107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ES" i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1" name="Freeform 9"/>
              <p:cNvSpPr>
                <a:spLocks/>
              </p:cNvSpPr>
              <p:nvPr/>
            </p:nvSpPr>
            <p:spPr bwMode="auto">
              <a:xfrm>
                <a:off x="5237" y="3218"/>
                <a:ext cx="155" cy="174"/>
              </a:xfrm>
              <a:custGeom>
                <a:avLst/>
                <a:gdLst/>
                <a:ahLst/>
                <a:cxnLst>
                  <a:cxn ang="0">
                    <a:pos x="145" y="96"/>
                  </a:cxn>
                  <a:cxn ang="0">
                    <a:pos x="155" y="0"/>
                  </a:cxn>
                  <a:cxn ang="0">
                    <a:pos x="123" y="8"/>
                  </a:cxn>
                  <a:cxn ang="0">
                    <a:pos x="119" y="42"/>
                  </a:cxn>
                  <a:cxn ang="0">
                    <a:pos x="22" y="68"/>
                  </a:cxn>
                  <a:cxn ang="0">
                    <a:pos x="0" y="164"/>
                  </a:cxn>
                  <a:cxn ang="0">
                    <a:pos x="53" y="174"/>
                  </a:cxn>
                  <a:cxn ang="0">
                    <a:pos x="75" y="130"/>
                  </a:cxn>
                  <a:cxn ang="0">
                    <a:pos x="145" y="96"/>
                  </a:cxn>
                </a:cxnLst>
                <a:rect l="0" t="0" r="r" b="b"/>
                <a:pathLst>
                  <a:path w="155" h="174">
                    <a:moveTo>
                      <a:pt x="145" y="96"/>
                    </a:moveTo>
                    <a:lnTo>
                      <a:pt x="155" y="0"/>
                    </a:lnTo>
                    <a:lnTo>
                      <a:pt x="123" y="8"/>
                    </a:lnTo>
                    <a:lnTo>
                      <a:pt x="119" y="42"/>
                    </a:lnTo>
                    <a:lnTo>
                      <a:pt x="22" y="68"/>
                    </a:lnTo>
                    <a:lnTo>
                      <a:pt x="0" y="164"/>
                    </a:lnTo>
                    <a:lnTo>
                      <a:pt x="53" y="174"/>
                    </a:lnTo>
                    <a:lnTo>
                      <a:pt x="75" y="130"/>
                    </a:lnTo>
                    <a:lnTo>
                      <a:pt x="145" y="96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ES" i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2" name="Freeform 10"/>
              <p:cNvSpPr>
                <a:spLocks/>
              </p:cNvSpPr>
              <p:nvPr/>
            </p:nvSpPr>
            <p:spPr bwMode="auto">
              <a:xfrm>
                <a:off x="3916" y="3673"/>
                <a:ext cx="96" cy="80"/>
              </a:xfrm>
              <a:custGeom>
                <a:avLst/>
                <a:gdLst/>
                <a:ahLst/>
                <a:cxnLst>
                  <a:cxn ang="0">
                    <a:pos x="96" y="32"/>
                  </a:cxn>
                  <a:cxn ang="0">
                    <a:pos x="34" y="0"/>
                  </a:cxn>
                  <a:cxn ang="0">
                    <a:pos x="0" y="28"/>
                  </a:cxn>
                  <a:cxn ang="0">
                    <a:pos x="28" y="80"/>
                  </a:cxn>
                  <a:cxn ang="0">
                    <a:pos x="78" y="80"/>
                  </a:cxn>
                  <a:cxn ang="0">
                    <a:pos x="96" y="32"/>
                  </a:cxn>
                </a:cxnLst>
                <a:rect l="0" t="0" r="r" b="b"/>
                <a:pathLst>
                  <a:path w="96" h="80">
                    <a:moveTo>
                      <a:pt x="96" y="32"/>
                    </a:moveTo>
                    <a:lnTo>
                      <a:pt x="34" y="0"/>
                    </a:lnTo>
                    <a:lnTo>
                      <a:pt x="0" y="28"/>
                    </a:lnTo>
                    <a:lnTo>
                      <a:pt x="28" y="80"/>
                    </a:lnTo>
                    <a:lnTo>
                      <a:pt x="78" y="80"/>
                    </a:lnTo>
                    <a:lnTo>
                      <a:pt x="96" y="32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ES" i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3" name="Freeform 11"/>
              <p:cNvSpPr>
                <a:spLocks/>
              </p:cNvSpPr>
              <p:nvPr/>
            </p:nvSpPr>
            <p:spPr bwMode="auto">
              <a:xfrm>
                <a:off x="3591" y="3825"/>
                <a:ext cx="123" cy="89"/>
              </a:xfrm>
              <a:custGeom>
                <a:avLst/>
                <a:gdLst/>
                <a:ahLst/>
                <a:cxnLst>
                  <a:cxn ang="0">
                    <a:pos x="77" y="89"/>
                  </a:cxn>
                  <a:cxn ang="0">
                    <a:pos x="123" y="7"/>
                  </a:cxn>
                  <a:cxn ang="0">
                    <a:pos x="81" y="0"/>
                  </a:cxn>
                  <a:cxn ang="0">
                    <a:pos x="57" y="27"/>
                  </a:cxn>
                  <a:cxn ang="0">
                    <a:pos x="16" y="27"/>
                  </a:cxn>
                  <a:cxn ang="0">
                    <a:pos x="0" y="53"/>
                  </a:cxn>
                  <a:cxn ang="0">
                    <a:pos x="77" y="89"/>
                  </a:cxn>
                </a:cxnLst>
                <a:rect l="0" t="0" r="r" b="b"/>
                <a:pathLst>
                  <a:path w="123" h="89">
                    <a:moveTo>
                      <a:pt x="77" y="89"/>
                    </a:moveTo>
                    <a:lnTo>
                      <a:pt x="123" y="7"/>
                    </a:lnTo>
                    <a:lnTo>
                      <a:pt x="81" y="0"/>
                    </a:lnTo>
                    <a:lnTo>
                      <a:pt x="57" y="27"/>
                    </a:lnTo>
                    <a:lnTo>
                      <a:pt x="16" y="27"/>
                    </a:lnTo>
                    <a:lnTo>
                      <a:pt x="0" y="53"/>
                    </a:lnTo>
                    <a:lnTo>
                      <a:pt x="77" y="89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ES" i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4" name="Freeform 12"/>
              <p:cNvSpPr>
                <a:spLocks/>
              </p:cNvSpPr>
              <p:nvPr/>
            </p:nvSpPr>
            <p:spPr bwMode="auto">
              <a:xfrm>
                <a:off x="4502" y="3691"/>
                <a:ext cx="172" cy="183"/>
              </a:xfrm>
              <a:custGeom>
                <a:avLst/>
                <a:gdLst/>
                <a:ahLst/>
                <a:cxnLst>
                  <a:cxn ang="0">
                    <a:pos x="172" y="151"/>
                  </a:cxn>
                  <a:cxn ang="0">
                    <a:pos x="158" y="22"/>
                  </a:cxn>
                  <a:cxn ang="0">
                    <a:pos x="46" y="0"/>
                  </a:cxn>
                  <a:cxn ang="0">
                    <a:pos x="36" y="54"/>
                  </a:cxn>
                  <a:cxn ang="0">
                    <a:pos x="0" y="68"/>
                  </a:cxn>
                  <a:cxn ang="0">
                    <a:pos x="14" y="157"/>
                  </a:cxn>
                  <a:cxn ang="0">
                    <a:pos x="84" y="183"/>
                  </a:cxn>
                  <a:cxn ang="0">
                    <a:pos x="172" y="151"/>
                  </a:cxn>
                </a:cxnLst>
                <a:rect l="0" t="0" r="r" b="b"/>
                <a:pathLst>
                  <a:path w="172" h="183">
                    <a:moveTo>
                      <a:pt x="172" y="151"/>
                    </a:moveTo>
                    <a:lnTo>
                      <a:pt x="158" y="22"/>
                    </a:lnTo>
                    <a:lnTo>
                      <a:pt x="46" y="0"/>
                    </a:lnTo>
                    <a:lnTo>
                      <a:pt x="36" y="54"/>
                    </a:lnTo>
                    <a:lnTo>
                      <a:pt x="0" y="68"/>
                    </a:lnTo>
                    <a:lnTo>
                      <a:pt x="14" y="157"/>
                    </a:lnTo>
                    <a:lnTo>
                      <a:pt x="84" y="183"/>
                    </a:lnTo>
                    <a:lnTo>
                      <a:pt x="172" y="151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ES" i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" name="Freeform 13"/>
              <p:cNvSpPr>
                <a:spLocks/>
              </p:cNvSpPr>
              <p:nvPr/>
            </p:nvSpPr>
            <p:spPr bwMode="auto">
              <a:xfrm>
                <a:off x="4083" y="3533"/>
                <a:ext cx="264" cy="232"/>
              </a:xfrm>
              <a:custGeom>
                <a:avLst/>
                <a:gdLst/>
                <a:ahLst/>
                <a:cxnLst>
                  <a:cxn ang="0">
                    <a:pos x="142" y="222"/>
                  </a:cxn>
                  <a:cxn ang="0">
                    <a:pos x="190" y="164"/>
                  </a:cxn>
                  <a:cxn ang="0">
                    <a:pos x="216" y="78"/>
                  </a:cxn>
                  <a:cxn ang="0">
                    <a:pos x="264" y="20"/>
                  </a:cxn>
                  <a:cxn ang="0">
                    <a:pos x="220" y="0"/>
                  </a:cxn>
                  <a:cxn ang="0">
                    <a:pos x="162" y="50"/>
                  </a:cxn>
                  <a:cxn ang="0">
                    <a:pos x="0" y="84"/>
                  </a:cxn>
                  <a:cxn ang="0">
                    <a:pos x="78" y="232"/>
                  </a:cxn>
                  <a:cxn ang="0">
                    <a:pos x="142" y="222"/>
                  </a:cxn>
                </a:cxnLst>
                <a:rect l="0" t="0" r="r" b="b"/>
                <a:pathLst>
                  <a:path w="264" h="232">
                    <a:moveTo>
                      <a:pt x="142" y="222"/>
                    </a:moveTo>
                    <a:lnTo>
                      <a:pt x="190" y="164"/>
                    </a:lnTo>
                    <a:lnTo>
                      <a:pt x="216" y="78"/>
                    </a:lnTo>
                    <a:lnTo>
                      <a:pt x="264" y="20"/>
                    </a:lnTo>
                    <a:lnTo>
                      <a:pt x="220" y="0"/>
                    </a:lnTo>
                    <a:lnTo>
                      <a:pt x="162" y="50"/>
                    </a:lnTo>
                    <a:lnTo>
                      <a:pt x="0" y="84"/>
                    </a:lnTo>
                    <a:lnTo>
                      <a:pt x="78" y="232"/>
                    </a:lnTo>
                    <a:lnTo>
                      <a:pt x="142" y="222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ES" i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" name="Freeform 14"/>
              <p:cNvSpPr>
                <a:spLocks/>
              </p:cNvSpPr>
              <p:nvPr/>
            </p:nvSpPr>
            <p:spPr bwMode="auto">
              <a:xfrm>
                <a:off x="5007" y="3428"/>
                <a:ext cx="252" cy="313"/>
              </a:xfrm>
              <a:custGeom>
                <a:avLst/>
                <a:gdLst/>
                <a:ahLst/>
                <a:cxnLst>
                  <a:cxn ang="0">
                    <a:pos x="214" y="239"/>
                  </a:cxn>
                  <a:cxn ang="0">
                    <a:pos x="252" y="101"/>
                  </a:cxn>
                  <a:cxn ang="0">
                    <a:pos x="238" y="0"/>
                  </a:cxn>
                  <a:cxn ang="0">
                    <a:pos x="190" y="4"/>
                  </a:cxn>
                  <a:cxn ang="0">
                    <a:pos x="130" y="131"/>
                  </a:cxn>
                  <a:cxn ang="0">
                    <a:pos x="102" y="233"/>
                  </a:cxn>
                  <a:cxn ang="0">
                    <a:pos x="68" y="275"/>
                  </a:cxn>
                  <a:cxn ang="0">
                    <a:pos x="0" y="299"/>
                  </a:cxn>
                  <a:cxn ang="0">
                    <a:pos x="72" y="313"/>
                  </a:cxn>
                  <a:cxn ang="0">
                    <a:pos x="130" y="245"/>
                  </a:cxn>
                  <a:cxn ang="0">
                    <a:pos x="214" y="239"/>
                  </a:cxn>
                </a:cxnLst>
                <a:rect l="0" t="0" r="r" b="b"/>
                <a:pathLst>
                  <a:path w="252" h="313">
                    <a:moveTo>
                      <a:pt x="214" y="239"/>
                    </a:moveTo>
                    <a:lnTo>
                      <a:pt x="252" y="101"/>
                    </a:lnTo>
                    <a:lnTo>
                      <a:pt x="238" y="0"/>
                    </a:lnTo>
                    <a:lnTo>
                      <a:pt x="190" y="4"/>
                    </a:lnTo>
                    <a:lnTo>
                      <a:pt x="130" y="131"/>
                    </a:lnTo>
                    <a:lnTo>
                      <a:pt x="102" y="233"/>
                    </a:lnTo>
                    <a:lnTo>
                      <a:pt x="68" y="275"/>
                    </a:lnTo>
                    <a:lnTo>
                      <a:pt x="0" y="299"/>
                    </a:lnTo>
                    <a:lnTo>
                      <a:pt x="72" y="313"/>
                    </a:lnTo>
                    <a:lnTo>
                      <a:pt x="130" y="245"/>
                    </a:lnTo>
                    <a:lnTo>
                      <a:pt x="214" y="239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ES" i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29726" name="Line 15"/>
            <p:cNvSpPr>
              <a:spLocks noChangeShapeType="1"/>
            </p:cNvSpPr>
            <p:nvPr/>
          </p:nvSpPr>
          <p:spPr bwMode="auto">
            <a:xfrm>
              <a:off x="2317" y="3518"/>
              <a:ext cx="1" cy="1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prstDash val="lgDashDot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ES" i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9727" name="Line 16"/>
            <p:cNvSpPr>
              <a:spLocks noChangeShapeType="1"/>
            </p:cNvSpPr>
            <p:nvPr/>
          </p:nvSpPr>
          <p:spPr bwMode="auto">
            <a:xfrm>
              <a:off x="3410" y="3641"/>
              <a:ext cx="1" cy="0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prstDash val="lgDashDot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ES" i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" name="Freeform 17"/>
            <p:cNvSpPr>
              <a:spLocks/>
            </p:cNvSpPr>
            <p:nvPr/>
          </p:nvSpPr>
          <p:spPr bwMode="auto">
            <a:xfrm>
              <a:off x="2771" y="1917"/>
              <a:ext cx="371" cy="375"/>
            </a:xfrm>
            <a:custGeom>
              <a:avLst/>
              <a:gdLst/>
              <a:ahLst/>
              <a:cxnLst>
                <a:cxn ang="0">
                  <a:pos x="0" y="423"/>
                </a:cxn>
                <a:cxn ang="0">
                  <a:pos x="8" y="351"/>
                </a:cxn>
                <a:cxn ang="0">
                  <a:pos x="72" y="307"/>
                </a:cxn>
                <a:cxn ang="0">
                  <a:pos x="64" y="277"/>
                </a:cxn>
                <a:cxn ang="0">
                  <a:pos x="140" y="207"/>
                </a:cxn>
                <a:cxn ang="0">
                  <a:pos x="154" y="164"/>
                </a:cxn>
                <a:cxn ang="0">
                  <a:pos x="190" y="164"/>
                </a:cxn>
                <a:cxn ang="0">
                  <a:pos x="194" y="138"/>
                </a:cxn>
                <a:cxn ang="0">
                  <a:pos x="292" y="40"/>
                </a:cxn>
                <a:cxn ang="0">
                  <a:pos x="339" y="0"/>
                </a:cxn>
                <a:cxn ang="0">
                  <a:pos x="391" y="52"/>
                </a:cxn>
                <a:cxn ang="0">
                  <a:pos x="381" y="82"/>
                </a:cxn>
                <a:cxn ang="0">
                  <a:pos x="373" y="108"/>
                </a:cxn>
                <a:cxn ang="0">
                  <a:pos x="413" y="243"/>
                </a:cxn>
                <a:cxn ang="0">
                  <a:pos x="443" y="251"/>
                </a:cxn>
                <a:cxn ang="0">
                  <a:pos x="473" y="397"/>
                </a:cxn>
                <a:cxn ang="0">
                  <a:pos x="507" y="423"/>
                </a:cxn>
                <a:cxn ang="0">
                  <a:pos x="507" y="449"/>
                </a:cxn>
                <a:cxn ang="0">
                  <a:pos x="463" y="463"/>
                </a:cxn>
                <a:cxn ang="0">
                  <a:pos x="473" y="487"/>
                </a:cxn>
                <a:cxn ang="0">
                  <a:pos x="409" y="463"/>
                </a:cxn>
                <a:cxn ang="0">
                  <a:pos x="314" y="537"/>
                </a:cxn>
                <a:cxn ang="0">
                  <a:pos x="302" y="509"/>
                </a:cxn>
                <a:cxn ang="0">
                  <a:pos x="329" y="479"/>
                </a:cxn>
                <a:cxn ang="0">
                  <a:pos x="325" y="449"/>
                </a:cxn>
                <a:cxn ang="0">
                  <a:pos x="228" y="435"/>
                </a:cxn>
                <a:cxn ang="0">
                  <a:pos x="136" y="377"/>
                </a:cxn>
                <a:cxn ang="0">
                  <a:pos x="78" y="409"/>
                </a:cxn>
                <a:cxn ang="0">
                  <a:pos x="0" y="423"/>
                </a:cxn>
              </a:cxnLst>
              <a:rect l="0" t="0" r="r" b="b"/>
              <a:pathLst>
                <a:path w="507" h="537">
                  <a:moveTo>
                    <a:pt x="0" y="423"/>
                  </a:moveTo>
                  <a:lnTo>
                    <a:pt x="8" y="351"/>
                  </a:lnTo>
                  <a:lnTo>
                    <a:pt x="72" y="307"/>
                  </a:lnTo>
                  <a:lnTo>
                    <a:pt x="64" y="277"/>
                  </a:lnTo>
                  <a:lnTo>
                    <a:pt x="140" y="207"/>
                  </a:lnTo>
                  <a:lnTo>
                    <a:pt x="154" y="164"/>
                  </a:lnTo>
                  <a:lnTo>
                    <a:pt x="190" y="164"/>
                  </a:lnTo>
                  <a:lnTo>
                    <a:pt x="194" y="138"/>
                  </a:lnTo>
                  <a:lnTo>
                    <a:pt x="292" y="40"/>
                  </a:lnTo>
                  <a:lnTo>
                    <a:pt x="339" y="0"/>
                  </a:lnTo>
                  <a:lnTo>
                    <a:pt x="391" y="52"/>
                  </a:lnTo>
                  <a:lnTo>
                    <a:pt x="381" y="82"/>
                  </a:lnTo>
                  <a:lnTo>
                    <a:pt x="373" y="108"/>
                  </a:lnTo>
                  <a:lnTo>
                    <a:pt x="413" y="243"/>
                  </a:lnTo>
                  <a:lnTo>
                    <a:pt x="443" y="251"/>
                  </a:lnTo>
                  <a:lnTo>
                    <a:pt x="473" y="397"/>
                  </a:lnTo>
                  <a:lnTo>
                    <a:pt x="507" y="423"/>
                  </a:lnTo>
                  <a:lnTo>
                    <a:pt x="507" y="449"/>
                  </a:lnTo>
                  <a:lnTo>
                    <a:pt x="463" y="463"/>
                  </a:lnTo>
                  <a:lnTo>
                    <a:pt x="473" y="487"/>
                  </a:lnTo>
                  <a:lnTo>
                    <a:pt x="409" y="463"/>
                  </a:lnTo>
                  <a:lnTo>
                    <a:pt x="314" y="537"/>
                  </a:lnTo>
                  <a:lnTo>
                    <a:pt x="302" y="509"/>
                  </a:lnTo>
                  <a:lnTo>
                    <a:pt x="329" y="479"/>
                  </a:lnTo>
                  <a:lnTo>
                    <a:pt x="325" y="449"/>
                  </a:lnTo>
                  <a:lnTo>
                    <a:pt x="228" y="435"/>
                  </a:lnTo>
                  <a:lnTo>
                    <a:pt x="136" y="377"/>
                  </a:lnTo>
                  <a:lnTo>
                    <a:pt x="78" y="409"/>
                  </a:lnTo>
                  <a:lnTo>
                    <a:pt x="0" y="423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i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" name="Freeform 18"/>
            <p:cNvSpPr>
              <a:spLocks/>
            </p:cNvSpPr>
            <p:nvPr/>
          </p:nvSpPr>
          <p:spPr bwMode="auto">
            <a:xfrm>
              <a:off x="2010" y="2121"/>
              <a:ext cx="739" cy="773"/>
            </a:xfrm>
            <a:custGeom>
              <a:avLst/>
              <a:gdLst/>
              <a:ahLst/>
              <a:cxnLst>
                <a:cxn ang="0">
                  <a:pos x="313" y="74"/>
                </a:cxn>
                <a:cxn ang="0">
                  <a:pos x="355" y="92"/>
                </a:cxn>
                <a:cxn ang="0">
                  <a:pos x="429" y="36"/>
                </a:cxn>
                <a:cxn ang="0">
                  <a:pos x="507" y="0"/>
                </a:cxn>
                <a:cxn ang="0">
                  <a:pos x="612" y="66"/>
                </a:cxn>
                <a:cxn ang="0">
                  <a:pos x="674" y="74"/>
                </a:cxn>
                <a:cxn ang="0">
                  <a:pos x="760" y="88"/>
                </a:cxn>
                <a:cxn ang="0">
                  <a:pos x="782" y="156"/>
                </a:cxn>
                <a:cxn ang="0">
                  <a:pos x="760" y="212"/>
                </a:cxn>
                <a:cxn ang="0">
                  <a:pos x="846" y="315"/>
                </a:cxn>
                <a:cxn ang="0">
                  <a:pos x="828" y="357"/>
                </a:cxn>
                <a:cxn ang="0">
                  <a:pos x="876" y="417"/>
                </a:cxn>
                <a:cxn ang="0">
                  <a:pos x="924" y="479"/>
                </a:cxn>
                <a:cxn ang="0">
                  <a:pos x="1007" y="483"/>
                </a:cxn>
                <a:cxn ang="0">
                  <a:pos x="993" y="547"/>
                </a:cxn>
                <a:cxn ang="0">
                  <a:pos x="898" y="595"/>
                </a:cxn>
                <a:cxn ang="0">
                  <a:pos x="910" y="667"/>
                </a:cxn>
                <a:cxn ang="0">
                  <a:pos x="876" y="734"/>
                </a:cxn>
                <a:cxn ang="0">
                  <a:pos x="816" y="754"/>
                </a:cxn>
                <a:cxn ang="0">
                  <a:pos x="798" y="798"/>
                </a:cxn>
                <a:cxn ang="0">
                  <a:pos x="682" y="876"/>
                </a:cxn>
                <a:cxn ang="0">
                  <a:pos x="694" y="968"/>
                </a:cxn>
                <a:cxn ang="0">
                  <a:pos x="612" y="972"/>
                </a:cxn>
                <a:cxn ang="0">
                  <a:pos x="546" y="1028"/>
                </a:cxn>
                <a:cxn ang="0">
                  <a:pos x="542" y="1089"/>
                </a:cxn>
                <a:cxn ang="0">
                  <a:pos x="489" y="1099"/>
                </a:cxn>
                <a:cxn ang="0">
                  <a:pos x="389" y="1064"/>
                </a:cxn>
                <a:cxn ang="0">
                  <a:pos x="231" y="964"/>
                </a:cxn>
                <a:cxn ang="0">
                  <a:pos x="157" y="964"/>
                </a:cxn>
                <a:cxn ang="0">
                  <a:pos x="139" y="956"/>
                </a:cxn>
                <a:cxn ang="0">
                  <a:pos x="116" y="918"/>
                </a:cxn>
                <a:cxn ang="0">
                  <a:pos x="66" y="862"/>
                </a:cxn>
                <a:cxn ang="0">
                  <a:pos x="36" y="806"/>
                </a:cxn>
                <a:cxn ang="0">
                  <a:pos x="78" y="730"/>
                </a:cxn>
                <a:cxn ang="0">
                  <a:pos x="130" y="655"/>
                </a:cxn>
                <a:cxn ang="0">
                  <a:pos x="161" y="617"/>
                </a:cxn>
                <a:cxn ang="0">
                  <a:pos x="153" y="551"/>
                </a:cxn>
                <a:cxn ang="0">
                  <a:pos x="108" y="521"/>
                </a:cxn>
                <a:cxn ang="0">
                  <a:pos x="104" y="457"/>
                </a:cxn>
                <a:cxn ang="0">
                  <a:pos x="66" y="397"/>
                </a:cxn>
                <a:cxn ang="0">
                  <a:pos x="36" y="345"/>
                </a:cxn>
                <a:cxn ang="0">
                  <a:pos x="0" y="301"/>
                </a:cxn>
                <a:cxn ang="0">
                  <a:pos x="201" y="240"/>
                </a:cxn>
                <a:cxn ang="0">
                  <a:pos x="239" y="224"/>
                </a:cxn>
                <a:cxn ang="0">
                  <a:pos x="265" y="156"/>
                </a:cxn>
              </a:cxnLst>
              <a:rect l="0" t="0" r="r" b="b"/>
              <a:pathLst>
                <a:path w="1007" h="1107">
                  <a:moveTo>
                    <a:pt x="251" y="104"/>
                  </a:moveTo>
                  <a:lnTo>
                    <a:pt x="313" y="74"/>
                  </a:lnTo>
                  <a:lnTo>
                    <a:pt x="347" y="100"/>
                  </a:lnTo>
                  <a:lnTo>
                    <a:pt x="355" y="92"/>
                  </a:lnTo>
                  <a:lnTo>
                    <a:pt x="381" y="48"/>
                  </a:lnTo>
                  <a:lnTo>
                    <a:pt x="429" y="36"/>
                  </a:lnTo>
                  <a:lnTo>
                    <a:pt x="475" y="0"/>
                  </a:lnTo>
                  <a:lnTo>
                    <a:pt x="507" y="0"/>
                  </a:lnTo>
                  <a:lnTo>
                    <a:pt x="572" y="74"/>
                  </a:lnTo>
                  <a:lnTo>
                    <a:pt x="612" y="66"/>
                  </a:lnTo>
                  <a:lnTo>
                    <a:pt x="640" y="84"/>
                  </a:lnTo>
                  <a:lnTo>
                    <a:pt x="674" y="74"/>
                  </a:lnTo>
                  <a:lnTo>
                    <a:pt x="712" y="112"/>
                  </a:lnTo>
                  <a:lnTo>
                    <a:pt x="760" y="88"/>
                  </a:lnTo>
                  <a:lnTo>
                    <a:pt x="778" y="100"/>
                  </a:lnTo>
                  <a:lnTo>
                    <a:pt x="782" y="156"/>
                  </a:lnTo>
                  <a:lnTo>
                    <a:pt x="794" y="178"/>
                  </a:lnTo>
                  <a:lnTo>
                    <a:pt x="760" y="212"/>
                  </a:lnTo>
                  <a:lnTo>
                    <a:pt x="764" y="236"/>
                  </a:lnTo>
                  <a:lnTo>
                    <a:pt x="846" y="315"/>
                  </a:lnTo>
                  <a:lnTo>
                    <a:pt x="858" y="327"/>
                  </a:lnTo>
                  <a:lnTo>
                    <a:pt x="828" y="357"/>
                  </a:lnTo>
                  <a:lnTo>
                    <a:pt x="846" y="389"/>
                  </a:lnTo>
                  <a:lnTo>
                    <a:pt x="876" y="417"/>
                  </a:lnTo>
                  <a:lnTo>
                    <a:pt x="894" y="479"/>
                  </a:lnTo>
                  <a:lnTo>
                    <a:pt x="924" y="479"/>
                  </a:lnTo>
                  <a:lnTo>
                    <a:pt x="989" y="465"/>
                  </a:lnTo>
                  <a:lnTo>
                    <a:pt x="1007" y="483"/>
                  </a:lnTo>
                  <a:lnTo>
                    <a:pt x="1003" y="529"/>
                  </a:lnTo>
                  <a:lnTo>
                    <a:pt x="993" y="547"/>
                  </a:lnTo>
                  <a:lnTo>
                    <a:pt x="949" y="559"/>
                  </a:lnTo>
                  <a:lnTo>
                    <a:pt x="898" y="595"/>
                  </a:lnTo>
                  <a:lnTo>
                    <a:pt x="898" y="633"/>
                  </a:lnTo>
                  <a:lnTo>
                    <a:pt x="910" y="667"/>
                  </a:lnTo>
                  <a:lnTo>
                    <a:pt x="876" y="712"/>
                  </a:lnTo>
                  <a:lnTo>
                    <a:pt x="876" y="734"/>
                  </a:lnTo>
                  <a:lnTo>
                    <a:pt x="854" y="758"/>
                  </a:lnTo>
                  <a:lnTo>
                    <a:pt x="816" y="754"/>
                  </a:lnTo>
                  <a:lnTo>
                    <a:pt x="798" y="772"/>
                  </a:lnTo>
                  <a:lnTo>
                    <a:pt x="798" y="798"/>
                  </a:lnTo>
                  <a:lnTo>
                    <a:pt x="730" y="824"/>
                  </a:lnTo>
                  <a:lnTo>
                    <a:pt x="682" y="876"/>
                  </a:lnTo>
                  <a:lnTo>
                    <a:pt x="678" y="906"/>
                  </a:lnTo>
                  <a:lnTo>
                    <a:pt x="694" y="968"/>
                  </a:lnTo>
                  <a:lnTo>
                    <a:pt x="656" y="1008"/>
                  </a:lnTo>
                  <a:lnTo>
                    <a:pt x="612" y="972"/>
                  </a:lnTo>
                  <a:lnTo>
                    <a:pt x="596" y="972"/>
                  </a:lnTo>
                  <a:lnTo>
                    <a:pt x="546" y="1028"/>
                  </a:lnTo>
                  <a:lnTo>
                    <a:pt x="556" y="1069"/>
                  </a:lnTo>
                  <a:lnTo>
                    <a:pt x="542" y="1089"/>
                  </a:lnTo>
                  <a:lnTo>
                    <a:pt x="511" y="1077"/>
                  </a:lnTo>
                  <a:lnTo>
                    <a:pt x="489" y="1099"/>
                  </a:lnTo>
                  <a:lnTo>
                    <a:pt x="475" y="1107"/>
                  </a:lnTo>
                  <a:lnTo>
                    <a:pt x="389" y="1064"/>
                  </a:lnTo>
                  <a:lnTo>
                    <a:pt x="265" y="1020"/>
                  </a:lnTo>
                  <a:lnTo>
                    <a:pt x="231" y="964"/>
                  </a:lnTo>
                  <a:lnTo>
                    <a:pt x="179" y="990"/>
                  </a:lnTo>
                  <a:lnTo>
                    <a:pt x="157" y="964"/>
                  </a:lnTo>
                  <a:lnTo>
                    <a:pt x="130" y="972"/>
                  </a:lnTo>
                  <a:lnTo>
                    <a:pt x="139" y="956"/>
                  </a:lnTo>
                  <a:lnTo>
                    <a:pt x="122" y="930"/>
                  </a:lnTo>
                  <a:lnTo>
                    <a:pt x="116" y="918"/>
                  </a:lnTo>
                  <a:lnTo>
                    <a:pt x="66" y="876"/>
                  </a:lnTo>
                  <a:lnTo>
                    <a:pt x="66" y="862"/>
                  </a:lnTo>
                  <a:lnTo>
                    <a:pt x="36" y="834"/>
                  </a:lnTo>
                  <a:lnTo>
                    <a:pt x="36" y="806"/>
                  </a:lnTo>
                  <a:lnTo>
                    <a:pt x="58" y="764"/>
                  </a:lnTo>
                  <a:lnTo>
                    <a:pt x="78" y="730"/>
                  </a:lnTo>
                  <a:lnTo>
                    <a:pt x="78" y="700"/>
                  </a:lnTo>
                  <a:lnTo>
                    <a:pt x="130" y="655"/>
                  </a:lnTo>
                  <a:lnTo>
                    <a:pt x="153" y="645"/>
                  </a:lnTo>
                  <a:lnTo>
                    <a:pt x="161" y="617"/>
                  </a:lnTo>
                  <a:lnTo>
                    <a:pt x="171" y="563"/>
                  </a:lnTo>
                  <a:lnTo>
                    <a:pt x="153" y="551"/>
                  </a:lnTo>
                  <a:lnTo>
                    <a:pt x="126" y="555"/>
                  </a:lnTo>
                  <a:lnTo>
                    <a:pt x="108" y="521"/>
                  </a:lnTo>
                  <a:lnTo>
                    <a:pt x="104" y="469"/>
                  </a:lnTo>
                  <a:lnTo>
                    <a:pt x="104" y="457"/>
                  </a:lnTo>
                  <a:lnTo>
                    <a:pt x="70" y="435"/>
                  </a:lnTo>
                  <a:lnTo>
                    <a:pt x="66" y="397"/>
                  </a:lnTo>
                  <a:lnTo>
                    <a:pt x="52" y="375"/>
                  </a:lnTo>
                  <a:lnTo>
                    <a:pt x="36" y="345"/>
                  </a:lnTo>
                  <a:lnTo>
                    <a:pt x="0" y="311"/>
                  </a:lnTo>
                  <a:lnTo>
                    <a:pt x="0" y="301"/>
                  </a:lnTo>
                  <a:lnTo>
                    <a:pt x="153" y="301"/>
                  </a:lnTo>
                  <a:lnTo>
                    <a:pt x="201" y="240"/>
                  </a:lnTo>
                  <a:lnTo>
                    <a:pt x="231" y="244"/>
                  </a:lnTo>
                  <a:lnTo>
                    <a:pt x="239" y="224"/>
                  </a:lnTo>
                  <a:lnTo>
                    <a:pt x="251" y="186"/>
                  </a:lnTo>
                  <a:lnTo>
                    <a:pt x="265" y="156"/>
                  </a:lnTo>
                  <a:lnTo>
                    <a:pt x="251" y="104"/>
                  </a:lnTo>
                  <a:close/>
                </a:path>
              </a:pathLst>
            </a:custGeom>
            <a:solidFill>
              <a:srgbClr val="C00000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i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" name="Freeform 19"/>
            <p:cNvSpPr>
              <a:spLocks/>
            </p:cNvSpPr>
            <p:nvPr/>
          </p:nvSpPr>
          <p:spPr bwMode="auto">
            <a:xfrm>
              <a:off x="2563" y="1857"/>
              <a:ext cx="1138" cy="1025"/>
            </a:xfrm>
            <a:custGeom>
              <a:avLst/>
              <a:gdLst/>
              <a:ahLst/>
              <a:cxnLst>
                <a:cxn ang="0">
                  <a:pos x="126" y="505"/>
                </a:cxn>
                <a:cxn ang="0">
                  <a:pos x="217" y="453"/>
                </a:cxn>
                <a:cxn ang="0">
                  <a:pos x="283" y="509"/>
                </a:cxn>
                <a:cxn ang="0">
                  <a:pos x="507" y="517"/>
                </a:cxn>
                <a:cxn ang="0">
                  <a:pos x="606" y="565"/>
                </a:cxn>
                <a:cxn ang="0">
                  <a:pos x="686" y="549"/>
                </a:cxn>
                <a:cxn ang="0">
                  <a:pos x="784" y="535"/>
                </a:cxn>
                <a:cxn ang="0">
                  <a:pos x="720" y="341"/>
                </a:cxn>
                <a:cxn ang="0">
                  <a:pos x="652" y="190"/>
                </a:cxn>
                <a:cxn ang="0">
                  <a:pos x="682" y="60"/>
                </a:cxn>
                <a:cxn ang="0">
                  <a:pos x="776" y="26"/>
                </a:cxn>
                <a:cxn ang="0">
                  <a:pos x="850" y="22"/>
                </a:cxn>
                <a:cxn ang="0">
                  <a:pos x="992" y="46"/>
                </a:cxn>
                <a:cxn ang="0">
                  <a:pos x="1015" y="130"/>
                </a:cxn>
                <a:cxn ang="0">
                  <a:pos x="1159" y="72"/>
                </a:cxn>
                <a:cxn ang="0">
                  <a:pos x="1287" y="285"/>
                </a:cxn>
                <a:cxn ang="0">
                  <a:pos x="1299" y="329"/>
                </a:cxn>
                <a:cxn ang="0">
                  <a:pos x="1255" y="333"/>
                </a:cxn>
                <a:cxn ang="0">
                  <a:pos x="1225" y="389"/>
                </a:cxn>
                <a:cxn ang="0">
                  <a:pos x="1255" y="497"/>
                </a:cxn>
                <a:cxn ang="0">
                  <a:pos x="1383" y="573"/>
                </a:cxn>
                <a:cxn ang="0">
                  <a:pos x="1440" y="672"/>
                </a:cxn>
                <a:cxn ang="0">
                  <a:pos x="1401" y="740"/>
                </a:cxn>
                <a:cxn ang="0">
                  <a:pos x="1369" y="866"/>
                </a:cxn>
                <a:cxn ang="0">
                  <a:pos x="1458" y="914"/>
                </a:cxn>
                <a:cxn ang="0">
                  <a:pos x="1450" y="1042"/>
                </a:cxn>
                <a:cxn ang="0">
                  <a:pos x="1552" y="1117"/>
                </a:cxn>
                <a:cxn ang="0">
                  <a:pos x="1514" y="1181"/>
                </a:cxn>
                <a:cxn ang="0">
                  <a:pos x="1436" y="1167"/>
                </a:cxn>
                <a:cxn ang="0">
                  <a:pos x="1385" y="1163"/>
                </a:cxn>
                <a:cxn ang="0">
                  <a:pos x="1347" y="1275"/>
                </a:cxn>
                <a:cxn ang="0">
                  <a:pos x="1283" y="1305"/>
                </a:cxn>
                <a:cxn ang="0">
                  <a:pos x="1229" y="1343"/>
                </a:cxn>
                <a:cxn ang="0">
                  <a:pos x="1109" y="1403"/>
                </a:cxn>
                <a:cxn ang="0">
                  <a:pos x="988" y="1443"/>
                </a:cxn>
                <a:cxn ang="0">
                  <a:pos x="950" y="1267"/>
                </a:cxn>
                <a:cxn ang="0">
                  <a:pos x="868" y="1275"/>
                </a:cxn>
                <a:cxn ang="0">
                  <a:pos x="780" y="1275"/>
                </a:cxn>
                <a:cxn ang="0">
                  <a:pos x="652" y="1301"/>
                </a:cxn>
                <a:cxn ang="0">
                  <a:pos x="545" y="1285"/>
                </a:cxn>
                <a:cxn ang="0">
                  <a:pos x="385" y="1313"/>
                </a:cxn>
                <a:cxn ang="0">
                  <a:pos x="174" y="1203"/>
                </a:cxn>
                <a:cxn ang="0">
                  <a:pos x="116" y="1083"/>
                </a:cxn>
                <a:cxn ang="0">
                  <a:pos x="138" y="974"/>
                </a:cxn>
                <a:cxn ang="0">
                  <a:pos x="243" y="904"/>
                </a:cxn>
                <a:cxn ang="0">
                  <a:pos x="199" y="848"/>
                </a:cxn>
                <a:cxn ang="0">
                  <a:pos x="120" y="818"/>
                </a:cxn>
                <a:cxn ang="0">
                  <a:pos x="74" y="736"/>
                </a:cxn>
                <a:cxn ang="0">
                  <a:pos x="4" y="599"/>
                </a:cxn>
              </a:cxnLst>
              <a:rect l="0" t="0" r="r" b="b"/>
              <a:pathLst>
                <a:path w="1552" h="1468">
                  <a:moveTo>
                    <a:pt x="40" y="553"/>
                  </a:moveTo>
                  <a:lnTo>
                    <a:pt x="82" y="517"/>
                  </a:lnTo>
                  <a:lnTo>
                    <a:pt x="126" y="505"/>
                  </a:lnTo>
                  <a:lnTo>
                    <a:pt x="170" y="499"/>
                  </a:lnTo>
                  <a:lnTo>
                    <a:pt x="182" y="467"/>
                  </a:lnTo>
                  <a:lnTo>
                    <a:pt x="217" y="453"/>
                  </a:lnTo>
                  <a:lnTo>
                    <a:pt x="239" y="483"/>
                  </a:lnTo>
                  <a:lnTo>
                    <a:pt x="251" y="517"/>
                  </a:lnTo>
                  <a:lnTo>
                    <a:pt x="283" y="509"/>
                  </a:lnTo>
                  <a:lnTo>
                    <a:pt x="347" y="495"/>
                  </a:lnTo>
                  <a:lnTo>
                    <a:pt x="419" y="463"/>
                  </a:lnTo>
                  <a:lnTo>
                    <a:pt x="507" y="517"/>
                  </a:lnTo>
                  <a:lnTo>
                    <a:pt x="597" y="535"/>
                  </a:lnTo>
                  <a:lnTo>
                    <a:pt x="606" y="557"/>
                  </a:lnTo>
                  <a:lnTo>
                    <a:pt x="606" y="565"/>
                  </a:lnTo>
                  <a:lnTo>
                    <a:pt x="579" y="595"/>
                  </a:lnTo>
                  <a:lnTo>
                    <a:pt x="597" y="627"/>
                  </a:lnTo>
                  <a:lnTo>
                    <a:pt x="686" y="549"/>
                  </a:lnTo>
                  <a:lnTo>
                    <a:pt x="750" y="579"/>
                  </a:lnTo>
                  <a:lnTo>
                    <a:pt x="746" y="549"/>
                  </a:lnTo>
                  <a:lnTo>
                    <a:pt x="784" y="535"/>
                  </a:lnTo>
                  <a:lnTo>
                    <a:pt x="784" y="509"/>
                  </a:lnTo>
                  <a:lnTo>
                    <a:pt x="750" y="479"/>
                  </a:lnTo>
                  <a:lnTo>
                    <a:pt x="720" y="341"/>
                  </a:lnTo>
                  <a:lnTo>
                    <a:pt x="716" y="333"/>
                  </a:lnTo>
                  <a:lnTo>
                    <a:pt x="700" y="333"/>
                  </a:lnTo>
                  <a:lnTo>
                    <a:pt x="652" y="190"/>
                  </a:lnTo>
                  <a:lnTo>
                    <a:pt x="668" y="138"/>
                  </a:lnTo>
                  <a:lnTo>
                    <a:pt x="618" y="86"/>
                  </a:lnTo>
                  <a:lnTo>
                    <a:pt x="682" y="60"/>
                  </a:lnTo>
                  <a:lnTo>
                    <a:pt x="730" y="18"/>
                  </a:lnTo>
                  <a:lnTo>
                    <a:pt x="764" y="4"/>
                  </a:lnTo>
                  <a:lnTo>
                    <a:pt x="776" y="26"/>
                  </a:lnTo>
                  <a:lnTo>
                    <a:pt x="798" y="26"/>
                  </a:lnTo>
                  <a:lnTo>
                    <a:pt x="834" y="0"/>
                  </a:lnTo>
                  <a:lnTo>
                    <a:pt x="850" y="22"/>
                  </a:lnTo>
                  <a:lnTo>
                    <a:pt x="876" y="18"/>
                  </a:lnTo>
                  <a:lnTo>
                    <a:pt x="932" y="38"/>
                  </a:lnTo>
                  <a:lnTo>
                    <a:pt x="992" y="46"/>
                  </a:lnTo>
                  <a:lnTo>
                    <a:pt x="954" y="72"/>
                  </a:lnTo>
                  <a:lnTo>
                    <a:pt x="984" y="146"/>
                  </a:lnTo>
                  <a:lnTo>
                    <a:pt x="1015" y="130"/>
                  </a:lnTo>
                  <a:lnTo>
                    <a:pt x="1089" y="126"/>
                  </a:lnTo>
                  <a:lnTo>
                    <a:pt x="1123" y="104"/>
                  </a:lnTo>
                  <a:lnTo>
                    <a:pt x="1159" y="72"/>
                  </a:lnTo>
                  <a:lnTo>
                    <a:pt x="1255" y="166"/>
                  </a:lnTo>
                  <a:lnTo>
                    <a:pt x="1289" y="184"/>
                  </a:lnTo>
                  <a:lnTo>
                    <a:pt x="1287" y="285"/>
                  </a:lnTo>
                  <a:lnTo>
                    <a:pt x="1313" y="297"/>
                  </a:lnTo>
                  <a:lnTo>
                    <a:pt x="1311" y="321"/>
                  </a:lnTo>
                  <a:lnTo>
                    <a:pt x="1299" y="329"/>
                  </a:lnTo>
                  <a:lnTo>
                    <a:pt x="1283" y="317"/>
                  </a:lnTo>
                  <a:lnTo>
                    <a:pt x="1271" y="321"/>
                  </a:lnTo>
                  <a:lnTo>
                    <a:pt x="1255" y="333"/>
                  </a:lnTo>
                  <a:lnTo>
                    <a:pt x="1253" y="359"/>
                  </a:lnTo>
                  <a:lnTo>
                    <a:pt x="1239" y="375"/>
                  </a:lnTo>
                  <a:lnTo>
                    <a:pt x="1225" y="389"/>
                  </a:lnTo>
                  <a:lnTo>
                    <a:pt x="1205" y="397"/>
                  </a:lnTo>
                  <a:lnTo>
                    <a:pt x="1225" y="441"/>
                  </a:lnTo>
                  <a:lnTo>
                    <a:pt x="1255" y="497"/>
                  </a:lnTo>
                  <a:lnTo>
                    <a:pt x="1299" y="481"/>
                  </a:lnTo>
                  <a:lnTo>
                    <a:pt x="1355" y="567"/>
                  </a:lnTo>
                  <a:lnTo>
                    <a:pt x="1383" y="573"/>
                  </a:lnTo>
                  <a:lnTo>
                    <a:pt x="1415" y="595"/>
                  </a:lnTo>
                  <a:lnTo>
                    <a:pt x="1436" y="627"/>
                  </a:lnTo>
                  <a:lnTo>
                    <a:pt x="1440" y="672"/>
                  </a:lnTo>
                  <a:lnTo>
                    <a:pt x="1411" y="710"/>
                  </a:lnTo>
                  <a:lnTo>
                    <a:pt x="1397" y="714"/>
                  </a:lnTo>
                  <a:lnTo>
                    <a:pt x="1401" y="740"/>
                  </a:lnTo>
                  <a:lnTo>
                    <a:pt x="1347" y="754"/>
                  </a:lnTo>
                  <a:lnTo>
                    <a:pt x="1329" y="844"/>
                  </a:lnTo>
                  <a:lnTo>
                    <a:pt x="1369" y="866"/>
                  </a:lnTo>
                  <a:lnTo>
                    <a:pt x="1405" y="874"/>
                  </a:lnTo>
                  <a:lnTo>
                    <a:pt x="1444" y="896"/>
                  </a:lnTo>
                  <a:lnTo>
                    <a:pt x="1458" y="914"/>
                  </a:lnTo>
                  <a:lnTo>
                    <a:pt x="1440" y="964"/>
                  </a:lnTo>
                  <a:lnTo>
                    <a:pt x="1440" y="1016"/>
                  </a:lnTo>
                  <a:lnTo>
                    <a:pt x="1450" y="1042"/>
                  </a:lnTo>
                  <a:lnTo>
                    <a:pt x="1532" y="1073"/>
                  </a:lnTo>
                  <a:lnTo>
                    <a:pt x="1548" y="1087"/>
                  </a:lnTo>
                  <a:lnTo>
                    <a:pt x="1552" y="1117"/>
                  </a:lnTo>
                  <a:lnTo>
                    <a:pt x="1536" y="1137"/>
                  </a:lnTo>
                  <a:lnTo>
                    <a:pt x="1524" y="1163"/>
                  </a:lnTo>
                  <a:lnTo>
                    <a:pt x="1514" y="1181"/>
                  </a:lnTo>
                  <a:lnTo>
                    <a:pt x="1488" y="1151"/>
                  </a:lnTo>
                  <a:lnTo>
                    <a:pt x="1470" y="1147"/>
                  </a:lnTo>
                  <a:lnTo>
                    <a:pt x="1436" y="1167"/>
                  </a:lnTo>
                  <a:lnTo>
                    <a:pt x="1420" y="1177"/>
                  </a:lnTo>
                  <a:lnTo>
                    <a:pt x="1401" y="1151"/>
                  </a:lnTo>
                  <a:lnTo>
                    <a:pt x="1385" y="1163"/>
                  </a:lnTo>
                  <a:lnTo>
                    <a:pt x="1389" y="1199"/>
                  </a:lnTo>
                  <a:lnTo>
                    <a:pt x="1369" y="1249"/>
                  </a:lnTo>
                  <a:lnTo>
                    <a:pt x="1347" y="1275"/>
                  </a:lnTo>
                  <a:lnTo>
                    <a:pt x="1351" y="1301"/>
                  </a:lnTo>
                  <a:lnTo>
                    <a:pt x="1295" y="1331"/>
                  </a:lnTo>
                  <a:lnTo>
                    <a:pt x="1283" y="1305"/>
                  </a:lnTo>
                  <a:lnTo>
                    <a:pt x="1269" y="1305"/>
                  </a:lnTo>
                  <a:lnTo>
                    <a:pt x="1229" y="1313"/>
                  </a:lnTo>
                  <a:lnTo>
                    <a:pt x="1229" y="1343"/>
                  </a:lnTo>
                  <a:lnTo>
                    <a:pt x="1193" y="1343"/>
                  </a:lnTo>
                  <a:lnTo>
                    <a:pt x="1157" y="1377"/>
                  </a:lnTo>
                  <a:lnTo>
                    <a:pt x="1109" y="1403"/>
                  </a:lnTo>
                  <a:lnTo>
                    <a:pt x="1049" y="1468"/>
                  </a:lnTo>
                  <a:lnTo>
                    <a:pt x="992" y="1456"/>
                  </a:lnTo>
                  <a:lnTo>
                    <a:pt x="988" y="1443"/>
                  </a:lnTo>
                  <a:lnTo>
                    <a:pt x="1041" y="1359"/>
                  </a:lnTo>
                  <a:lnTo>
                    <a:pt x="972" y="1259"/>
                  </a:lnTo>
                  <a:lnTo>
                    <a:pt x="950" y="1267"/>
                  </a:lnTo>
                  <a:lnTo>
                    <a:pt x="896" y="1245"/>
                  </a:lnTo>
                  <a:lnTo>
                    <a:pt x="884" y="1255"/>
                  </a:lnTo>
                  <a:lnTo>
                    <a:pt x="868" y="1275"/>
                  </a:lnTo>
                  <a:lnTo>
                    <a:pt x="838" y="1267"/>
                  </a:lnTo>
                  <a:lnTo>
                    <a:pt x="812" y="1305"/>
                  </a:lnTo>
                  <a:lnTo>
                    <a:pt x="780" y="1275"/>
                  </a:lnTo>
                  <a:lnTo>
                    <a:pt x="734" y="1285"/>
                  </a:lnTo>
                  <a:lnTo>
                    <a:pt x="686" y="1267"/>
                  </a:lnTo>
                  <a:lnTo>
                    <a:pt x="652" y="1301"/>
                  </a:lnTo>
                  <a:lnTo>
                    <a:pt x="614" y="1285"/>
                  </a:lnTo>
                  <a:lnTo>
                    <a:pt x="583" y="1317"/>
                  </a:lnTo>
                  <a:lnTo>
                    <a:pt x="545" y="1285"/>
                  </a:lnTo>
                  <a:lnTo>
                    <a:pt x="519" y="1297"/>
                  </a:lnTo>
                  <a:lnTo>
                    <a:pt x="423" y="1313"/>
                  </a:lnTo>
                  <a:lnTo>
                    <a:pt x="385" y="1313"/>
                  </a:lnTo>
                  <a:lnTo>
                    <a:pt x="373" y="1327"/>
                  </a:lnTo>
                  <a:lnTo>
                    <a:pt x="213" y="1211"/>
                  </a:lnTo>
                  <a:lnTo>
                    <a:pt x="174" y="1203"/>
                  </a:lnTo>
                  <a:lnTo>
                    <a:pt x="98" y="1137"/>
                  </a:lnTo>
                  <a:lnTo>
                    <a:pt x="116" y="1105"/>
                  </a:lnTo>
                  <a:lnTo>
                    <a:pt x="116" y="1083"/>
                  </a:lnTo>
                  <a:lnTo>
                    <a:pt x="152" y="1051"/>
                  </a:lnTo>
                  <a:lnTo>
                    <a:pt x="138" y="1012"/>
                  </a:lnTo>
                  <a:lnTo>
                    <a:pt x="138" y="974"/>
                  </a:lnTo>
                  <a:lnTo>
                    <a:pt x="195" y="938"/>
                  </a:lnTo>
                  <a:lnTo>
                    <a:pt x="235" y="926"/>
                  </a:lnTo>
                  <a:lnTo>
                    <a:pt x="243" y="904"/>
                  </a:lnTo>
                  <a:lnTo>
                    <a:pt x="251" y="862"/>
                  </a:lnTo>
                  <a:lnTo>
                    <a:pt x="235" y="844"/>
                  </a:lnTo>
                  <a:lnTo>
                    <a:pt x="199" y="848"/>
                  </a:lnTo>
                  <a:lnTo>
                    <a:pt x="170" y="858"/>
                  </a:lnTo>
                  <a:lnTo>
                    <a:pt x="138" y="858"/>
                  </a:lnTo>
                  <a:lnTo>
                    <a:pt x="120" y="818"/>
                  </a:lnTo>
                  <a:lnTo>
                    <a:pt x="120" y="796"/>
                  </a:lnTo>
                  <a:lnTo>
                    <a:pt x="86" y="766"/>
                  </a:lnTo>
                  <a:lnTo>
                    <a:pt x="74" y="736"/>
                  </a:lnTo>
                  <a:lnTo>
                    <a:pt x="98" y="706"/>
                  </a:lnTo>
                  <a:lnTo>
                    <a:pt x="8" y="615"/>
                  </a:lnTo>
                  <a:lnTo>
                    <a:pt x="4" y="599"/>
                  </a:lnTo>
                  <a:lnTo>
                    <a:pt x="0" y="591"/>
                  </a:lnTo>
                  <a:lnTo>
                    <a:pt x="40" y="553"/>
                  </a:lnTo>
                  <a:close/>
                </a:path>
              </a:pathLst>
            </a:custGeom>
            <a:solidFill>
              <a:srgbClr val="C00000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i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" name="Freeform 20"/>
            <p:cNvSpPr>
              <a:spLocks/>
            </p:cNvSpPr>
            <p:nvPr/>
          </p:nvSpPr>
          <p:spPr bwMode="auto">
            <a:xfrm>
              <a:off x="1968" y="2640"/>
              <a:ext cx="1564" cy="834"/>
            </a:xfrm>
            <a:custGeom>
              <a:avLst/>
              <a:gdLst/>
              <a:ahLst/>
              <a:cxnLst>
                <a:cxn ang="0">
                  <a:pos x="243" y="236"/>
                </a:cxn>
                <a:cxn ang="0">
                  <a:pos x="329" y="268"/>
                </a:cxn>
                <a:cxn ang="0">
                  <a:pos x="559" y="343"/>
                </a:cxn>
                <a:cxn ang="0">
                  <a:pos x="620" y="310"/>
                </a:cxn>
                <a:cxn ang="0">
                  <a:pos x="658" y="220"/>
                </a:cxn>
                <a:cxn ang="0">
                  <a:pos x="762" y="214"/>
                </a:cxn>
                <a:cxn ang="0">
                  <a:pos x="748" y="120"/>
                </a:cxn>
                <a:cxn ang="0">
                  <a:pos x="862" y="46"/>
                </a:cxn>
                <a:cxn ang="0">
                  <a:pos x="900" y="2"/>
                </a:cxn>
                <a:cxn ang="0">
                  <a:pos x="1035" y="80"/>
                </a:cxn>
                <a:cxn ang="0">
                  <a:pos x="1255" y="180"/>
                </a:cxn>
                <a:cxn ang="0">
                  <a:pos x="1363" y="152"/>
                </a:cxn>
                <a:cxn ang="0">
                  <a:pos x="1472" y="170"/>
                </a:cxn>
                <a:cxn ang="0">
                  <a:pos x="1598" y="142"/>
                </a:cxn>
                <a:cxn ang="0">
                  <a:pos x="1686" y="142"/>
                </a:cxn>
                <a:cxn ang="0">
                  <a:pos x="1790" y="128"/>
                </a:cxn>
                <a:cxn ang="0">
                  <a:pos x="1810" y="323"/>
                </a:cxn>
                <a:cxn ang="0">
                  <a:pos x="1899" y="349"/>
                </a:cxn>
                <a:cxn ang="0">
                  <a:pos x="1999" y="437"/>
                </a:cxn>
                <a:cxn ang="0">
                  <a:pos x="2019" y="513"/>
                </a:cxn>
                <a:cxn ang="0">
                  <a:pos x="2119" y="617"/>
                </a:cxn>
                <a:cxn ang="0">
                  <a:pos x="2101" y="655"/>
                </a:cxn>
                <a:cxn ang="0">
                  <a:pos x="2035" y="794"/>
                </a:cxn>
                <a:cxn ang="0">
                  <a:pos x="1971" y="908"/>
                </a:cxn>
                <a:cxn ang="0">
                  <a:pos x="1893" y="870"/>
                </a:cxn>
                <a:cxn ang="0">
                  <a:pos x="1750" y="922"/>
                </a:cxn>
                <a:cxn ang="0">
                  <a:pos x="1676" y="896"/>
                </a:cxn>
                <a:cxn ang="0">
                  <a:pos x="1582" y="896"/>
                </a:cxn>
                <a:cxn ang="0">
                  <a:pos x="1496" y="918"/>
                </a:cxn>
                <a:cxn ang="0">
                  <a:pos x="1397" y="890"/>
                </a:cxn>
                <a:cxn ang="0">
                  <a:pos x="1281" y="908"/>
                </a:cxn>
                <a:cxn ang="0">
                  <a:pos x="1139" y="904"/>
                </a:cxn>
                <a:cxn ang="0">
                  <a:pos x="974" y="1008"/>
                </a:cxn>
                <a:cxn ang="0">
                  <a:pos x="874" y="1024"/>
                </a:cxn>
                <a:cxn ang="0">
                  <a:pos x="802" y="1129"/>
                </a:cxn>
                <a:cxn ang="0">
                  <a:pos x="762" y="1137"/>
                </a:cxn>
                <a:cxn ang="0">
                  <a:pos x="676" y="1195"/>
                </a:cxn>
                <a:cxn ang="0">
                  <a:pos x="489" y="1046"/>
                </a:cxn>
                <a:cxn ang="0">
                  <a:pos x="485" y="990"/>
                </a:cxn>
                <a:cxn ang="0">
                  <a:pos x="475" y="930"/>
                </a:cxn>
                <a:cxn ang="0">
                  <a:pos x="393" y="878"/>
                </a:cxn>
                <a:cxn ang="0">
                  <a:pos x="411" y="816"/>
                </a:cxn>
                <a:cxn ang="0">
                  <a:pos x="329" y="726"/>
                </a:cxn>
                <a:cxn ang="0">
                  <a:pos x="194" y="659"/>
                </a:cxn>
                <a:cxn ang="0">
                  <a:pos x="36" y="639"/>
                </a:cxn>
                <a:cxn ang="0">
                  <a:pos x="30" y="523"/>
                </a:cxn>
                <a:cxn ang="0">
                  <a:pos x="52" y="411"/>
                </a:cxn>
                <a:cxn ang="0">
                  <a:pos x="168" y="254"/>
                </a:cxn>
              </a:cxnLst>
              <a:rect l="0" t="0" r="r" b="b"/>
              <a:pathLst>
                <a:path w="2133" h="1195">
                  <a:moveTo>
                    <a:pt x="194" y="214"/>
                  </a:moveTo>
                  <a:lnTo>
                    <a:pt x="223" y="210"/>
                  </a:lnTo>
                  <a:lnTo>
                    <a:pt x="243" y="236"/>
                  </a:lnTo>
                  <a:lnTo>
                    <a:pt x="285" y="214"/>
                  </a:lnTo>
                  <a:lnTo>
                    <a:pt x="303" y="218"/>
                  </a:lnTo>
                  <a:lnTo>
                    <a:pt x="329" y="268"/>
                  </a:lnTo>
                  <a:lnTo>
                    <a:pt x="437" y="304"/>
                  </a:lnTo>
                  <a:lnTo>
                    <a:pt x="539" y="353"/>
                  </a:lnTo>
                  <a:lnTo>
                    <a:pt x="559" y="343"/>
                  </a:lnTo>
                  <a:lnTo>
                    <a:pt x="573" y="323"/>
                  </a:lnTo>
                  <a:lnTo>
                    <a:pt x="606" y="333"/>
                  </a:lnTo>
                  <a:lnTo>
                    <a:pt x="620" y="310"/>
                  </a:lnTo>
                  <a:lnTo>
                    <a:pt x="610" y="292"/>
                  </a:lnTo>
                  <a:lnTo>
                    <a:pt x="606" y="274"/>
                  </a:lnTo>
                  <a:lnTo>
                    <a:pt x="658" y="220"/>
                  </a:lnTo>
                  <a:lnTo>
                    <a:pt x="678" y="218"/>
                  </a:lnTo>
                  <a:lnTo>
                    <a:pt x="722" y="254"/>
                  </a:lnTo>
                  <a:lnTo>
                    <a:pt x="762" y="214"/>
                  </a:lnTo>
                  <a:lnTo>
                    <a:pt x="746" y="172"/>
                  </a:lnTo>
                  <a:lnTo>
                    <a:pt x="742" y="150"/>
                  </a:lnTo>
                  <a:lnTo>
                    <a:pt x="748" y="120"/>
                  </a:lnTo>
                  <a:lnTo>
                    <a:pt x="768" y="100"/>
                  </a:lnTo>
                  <a:lnTo>
                    <a:pt x="794" y="72"/>
                  </a:lnTo>
                  <a:lnTo>
                    <a:pt x="862" y="46"/>
                  </a:lnTo>
                  <a:lnTo>
                    <a:pt x="862" y="16"/>
                  </a:lnTo>
                  <a:lnTo>
                    <a:pt x="880" y="0"/>
                  </a:lnTo>
                  <a:lnTo>
                    <a:pt x="900" y="2"/>
                  </a:lnTo>
                  <a:lnTo>
                    <a:pt x="922" y="8"/>
                  </a:lnTo>
                  <a:lnTo>
                    <a:pt x="990" y="70"/>
                  </a:lnTo>
                  <a:lnTo>
                    <a:pt x="1035" y="80"/>
                  </a:lnTo>
                  <a:lnTo>
                    <a:pt x="1191" y="194"/>
                  </a:lnTo>
                  <a:lnTo>
                    <a:pt x="1205" y="180"/>
                  </a:lnTo>
                  <a:lnTo>
                    <a:pt x="1255" y="180"/>
                  </a:lnTo>
                  <a:lnTo>
                    <a:pt x="1277" y="174"/>
                  </a:lnTo>
                  <a:lnTo>
                    <a:pt x="1339" y="166"/>
                  </a:lnTo>
                  <a:lnTo>
                    <a:pt x="1363" y="152"/>
                  </a:lnTo>
                  <a:lnTo>
                    <a:pt x="1401" y="184"/>
                  </a:lnTo>
                  <a:lnTo>
                    <a:pt x="1432" y="152"/>
                  </a:lnTo>
                  <a:lnTo>
                    <a:pt x="1472" y="170"/>
                  </a:lnTo>
                  <a:lnTo>
                    <a:pt x="1504" y="134"/>
                  </a:lnTo>
                  <a:lnTo>
                    <a:pt x="1548" y="152"/>
                  </a:lnTo>
                  <a:lnTo>
                    <a:pt x="1598" y="142"/>
                  </a:lnTo>
                  <a:lnTo>
                    <a:pt x="1630" y="170"/>
                  </a:lnTo>
                  <a:lnTo>
                    <a:pt x="1656" y="134"/>
                  </a:lnTo>
                  <a:lnTo>
                    <a:pt x="1686" y="142"/>
                  </a:lnTo>
                  <a:lnTo>
                    <a:pt x="1710" y="110"/>
                  </a:lnTo>
                  <a:lnTo>
                    <a:pt x="1762" y="134"/>
                  </a:lnTo>
                  <a:lnTo>
                    <a:pt x="1790" y="128"/>
                  </a:lnTo>
                  <a:lnTo>
                    <a:pt x="1859" y="228"/>
                  </a:lnTo>
                  <a:lnTo>
                    <a:pt x="1808" y="306"/>
                  </a:lnTo>
                  <a:lnTo>
                    <a:pt x="1810" y="323"/>
                  </a:lnTo>
                  <a:lnTo>
                    <a:pt x="1822" y="327"/>
                  </a:lnTo>
                  <a:lnTo>
                    <a:pt x="1867" y="335"/>
                  </a:lnTo>
                  <a:lnTo>
                    <a:pt x="1899" y="349"/>
                  </a:lnTo>
                  <a:lnTo>
                    <a:pt x="1939" y="407"/>
                  </a:lnTo>
                  <a:lnTo>
                    <a:pt x="1977" y="409"/>
                  </a:lnTo>
                  <a:lnTo>
                    <a:pt x="1999" y="437"/>
                  </a:lnTo>
                  <a:lnTo>
                    <a:pt x="1989" y="461"/>
                  </a:lnTo>
                  <a:lnTo>
                    <a:pt x="1991" y="485"/>
                  </a:lnTo>
                  <a:lnTo>
                    <a:pt x="2019" y="513"/>
                  </a:lnTo>
                  <a:lnTo>
                    <a:pt x="2069" y="589"/>
                  </a:lnTo>
                  <a:lnTo>
                    <a:pt x="2101" y="591"/>
                  </a:lnTo>
                  <a:lnTo>
                    <a:pt x="2119" y="617"/>
                  </a:lnTo>
                  <a:lnTo>
                    <a:pt x="2133" y="629"/>
                  </a:lnTo>
                  <a:lnTo>
                    <a:pt x="2123" y="647"/>
                  </a:lnTo>
                  <a:lnTo>
                    <a:pt x="2101" y="655"/>
                  </a:lnTo>
                  <a:lnTo>
                    <a:pt x="2075" y="685"/>
                  </a:lnTo>
                  <a:lnTo>
                    <a:pt x="2057" y="738"/>
                  </a:lnTo>
                  <a:lnTo>
                    <a:pt x="2035" y="794"/>
                  </a:lnTo>
                  <a:lnTo>
                    <a:pt x="2001" y="868"/>
                  </a:lnTo>
                  <a:lnTo>
                    <a:pt x="1989" y="890"/>
                  </a:lnTo>
                  <a:lnTo>
                    <a:pt x="1971" y="908"/>
                  </a:lnTo>
                  <a:lnTo>
                    <a:pt x="1945" y="908"/>
                  </a:lnTo>
                  <a:lnTo>
                    <a:pt x="1927" y="896"/>
                  </a:lnTo>
                  <a:lnTo>
                    <a:pt x="1893" y="870"/>
                  </a:lnTo>
                  <a:lnTo>
                    <a:pt x="1798" y="870"/>
                  </a:lnTo>
                  <a:lnTo>
                    <a:pt x="1772" y="908"/>
                  </a:lnTo>
                  <a:lnTo>
                    <a:pt x="1750" y="922"/>
                  </a:lnTo>
                  <a:lnTo>
                    <a:pt x="1720" y="926"/>
                  </a:lnTo>
                  <a:lnTo>
                    <a:pt x="1702" y="908"/>
                  </a:lnTo>
                  <a:lnTo>
                    <a:pt x="1676" y="896"/>
                  </a:lnTo>
                  <a:lnTo>
                    <a:pt x="1646" y="900"/>
                  </a:lnTo>
                  <a:lnTo>
                    <a:pt x="1620" y="912"/>
                  </a:lnTo>
                  <a:lnTo>
                    <a:pt x="1582" y="896"/>
                  </a:lnTo>
                  <a:lnTo>
                    <a:pt x="1556" y="900"/>
                  </a:lnTo>
                  <a:lnTo>
                    <a:pt x="1522" y="918"/>
                  </a:lnTo>
                  <a:lnTo>
                    <a:pt x="1496" y="918"/>
                  </a:lnTo>
                  <a:lnTo>
                    <a:pt x="1452" y="922"/>
                  </a:lnTo>
                  <a:lnTo>
                    <a:pt x="1424" y="908"/>
                  </a:lnTo>
                  <a:lnTo>
                    <a:pt x="1397" y="890"/>
                  </a:lnTo>
                  <a:lnTo>
                    <a:pt x="1385" y="900"/>
                  </a:lnTo>
                  <a:lnTo>
                    <a:pt x="1321" y="900"/>
                  </a:lnTo>
                  <a:lnTo>
                    <a:pt x="1281" y="908"/>
                  </a:lnTo>
                  <a:lnTo>
                    <a:pt x="1247" y="900"/>
                  </a:lnTo>
                  <a:lnTo>
                    <a:pt x="1147" y="900"/>
                  </a:lnTo>
                  <a:lnTo>
                    <a:pt x="1139" y="904"/>
                  </a:lnTo>
                  <a:lnTo>
                    <a:pt x="1061" y="982"/>
                  </a:lnTo>
                  <a:lnTo>
                    <a:pt x="1008" y="1012"/>
                  </a:lnTo>
                  <a:lnTo>
                    <a:pt x="974" y="1008"/>
                  </a:lnTo>
                  <a:lnTo>
                    <a:pt x="944" y="1012"/>
                  </a:lnTo>
                  <a:lnTo>
                    <a:pt x="900" y="1016"/>
                  </a:lnTo>
                  <a:lnTo>
                    <a:pt x="874" y="1024"/>
                  </a:lnTo>
                  <a:lnTo>
                    <a:pt x="832" y="1064"/>
                  </a:lnTo>
                  <a:lnTo>
                    <a:pt x="814" y="1086"/>
                  </a:lnTo>
                  <a:lnTo>
                    <a:pt x="802" y="1129"/>
                  </a:lnTo>
                  <a:lnTo>
                    <a:pt x="776" y="1165"/>
                  </a:lnTo>
                  <a:lnTo>
                    <a:pt x="772" y="1137"/>
                  </a:lnTo>
                  <a:lnTo>
                    <a:pt x="762" y="1137"/>
                  </a:lnTo>
                  <a:lnTo>
                    <a:pt x="750" y="1151"/>
                  </a:lnTo>
                  <a:lnTo>
                    <a:pt x="750" y="1169"/>
                  </a:lnTo>
                  <a:lnTo>
                    <a:pt x="676" y="1195"/>
                  </a:lnTo>
                  <a:lnTo>
                    <a:pt x="656" y="1173"/>
                  </a:lnTo>
                  <a:lnTo>
                    <a:pt x="493" y="1082"/>
                  </a:lnTo>
                  <a:lnTo>
                    <a:pt x="489" y="1046"/>
                  </a:lnTo>
                  <a:lnTo>
                    <a:pt x="453" y="1002"/>
                  </a:lnTo>
                  <a:lnTo>
                    <a:pt x="457" y="978"/>
                  </a:lnTo>
                  <a:lnTo>
                    <a:pt x="485" y="990"/>
                  </a:lnTo>
                  <a:lnTo>
                    <a:pt x="497" y="978"/>
                  </a:lnTo>
                  <a:lnTo>
                    <a:pt x="489" y="956"/>
                  </a:lnTo>
                  <a:lnTo>
                    <a:pt x="475" y="930"/>
                  </a:lnTo>
                  <a:lnTo>
                    <a:pt x="453" y="918"/>
                  </a:lnTo>
                  <a:lnTo>
                    <a:pt x="441" y="926"/>
                  </a:lnTo>
                  <a:lnTo>
                    <a:pt x="393" y="878"/>
                  </a:lnTo>
                  <a:lnTo>
                    <a:pt x="399" y="868"/>
                  </a:lnTo>
                  <a:lnTo>
                    <a:pt x="415" y="850"/>
                  </a:lnTo>
                  <a:lnTo>
                    <a:pt x="411" y="816"/>
                  </a:lnTo>
                  <a:lnTo>
                    <a:pt x="385" y="764"/>
                  </a:lnTo>
                  <a:lnTo>
                    <a:pt x="359" y="744"/>
                  </a:lnTo>
                  <a:lnTo>
                    <a:pt x="329" y="726"/>
                  </a:lnTo>
                  <a:lnTo>
                    <a:pt x="261" y="685"/>
                  </a:lnTo>
                  <a:lnTo>
                    <a:pt x="217" y="655"/>
                  </a:lnTo>
                  <a:lnTo>
                    <a:pt x="194" y="659"/>
                  </a:lnTo>
                  <a:lnTo>
                    <a:pt x="152" y="625"/>
                  </a:lnTo>
                  <a:lnTo>
                    <a:pt x="48" y="625"/>
                  </a:lnTo>
                  <a:lnTo>
                    <a:pt x="36" y="639"/>
                  </a:lnTo>
                  <a:lnTo>
                    <a:pt x="26" y="613"/>
                  </a:lnTo>
                  <a:lnTo>
                    <a:pt x="30" y="569"/>
                  </a:lnTo>
                  <a:lnTo>
                    <a:pt x="30" y="523"/>
                  </a:lnTo>
                  <a:lnTo>
                    <a:pt x="14" y="479"/>
                  </a:lnTo>
                  <a:lnTo>
                    <a:pt x="0" y="457"/>
                  </a:lnTo>
                  <a:lnTo>
                    <a:pt x="52" y="411"/>
                  </a:lnTo>
                  <a:lnTo>
                    <a:pt x="120" y="327"/>
                  </a:lnTo>
                  <a:lnTo>
                    <a:pt x="126" y="296"/>
                  </a:lnTo>
                  <a:lnTo>
                    <a:pt x="168" y="254"/>
                  </a:lnTo>
                  <a:lnTo>
                    <a:pt x="199" y="254"/>
                  </a:lnTo>
                  <a:lnTo>
                    <a:pt x="194" y="214"/>
                  </a:lnTo>
                  <a:close/>
                </a:path>
              </a:pathLst>
            </a:custGeom>
            <a:solidFill>
              <a:srgbClr val="C00000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i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Freeform 21"/>
            <p:cNvSpPr>
              <a:spLocks/>
            </p:cNvSpPr>
            <p:nvPr/>
          </p:nvSpPr>
          <p:spPr bwMode="auto">
            <a:xfrm>
              <a:off x="3312" y="2638"/>
              <a:ext cx="493" cy="464"/>
            </a:xfrm>
            <a:custGeom>
              <a:avLst/>
              <a:gdLst/>
              <a:ahLst/>
              <a:cxnLst>
                <a:cxn ang="0">
                  <a:pos x="264" y="617"/>
                </a:cxn>
                <a:cxn ang="0">
                  <a:pos x="288" y="591"/>
                </a:cxn>
                <a:cxn ang="0">
                  <a:pos x="314" y="581"/>
                </a:cxn>
                <a:cxn ang="0">
                  <a:pos x="332" y="581"/>
                </a:cxn>
                <a:cxn ang="0">
                  <a:pos x="332" y="547"/>
                </a:cxn>
                <a:cxn ang="0">
                  <a:pos x="352" y="525"/>
                </a:cxn>
                <a:cxn ang="0">
                  <a:pos x="387" y="521"/>
                </a:cxn>
                <a:cxn ang="0">
                  <a:pos x="469" y="517"/>
                </a:cxn>
                <a:cxn ang="0">
                  <a:pos x="509" y="521"/>
                </a:cxn>
                <a:cxn ang="0">
                  <a:pos x="541" y="505"/>
                </a:cxn>
                <a:cxn ang="0">
                  <a:pos x="563" y="505"/>
                </a:cxn>
                <a:cxn ang="0">
                  <a:pos x="581" y="495"/>
                </a:cxn>
                <a:cxn ang="0">
                  <a:pos x="599" y="483"/>
                </a:cxn>
                <a:cxn ang="0">
                  <a:pos x="585" y="453"/>
                </a:cxn>
                <a:cxn ang="0">
                  <a:pos x="573" y="465"/>
                </a:cxn>
                <a:cxn ang="0">
                  <a:pos x="559" y="461"/>
                </a:cxn>
                <a:cxn ang="0">
                  <a:pos x="541" y="453"/>
                </a:cxn>
                <a:cxn ang="0">
                  <a:pos x="551" y="413"/>
                </a:cxn>
                <a:cxn ang="0">
                  <a:pos x="563" y="401"/>
                </a:cxn>
                <a:cxn ang="0">
                  <a:pos x="561" y="383"/>
                </a:cxn>
                <a:cxn ang="0">
                  <a:pos x="529" y="343"/>
                </a:cxn>
                <a:cxn ang="0">
                  <a:pos x="503" y="313"/>
                </a:cxn>
                <a:cxn ang="0">
                  <a:pos x="473" y="292"/>
                </a:cxn>
                <a:cxn ang="0">
                  <a:pos x="473" y="268"/>
                </a:cxn>
                <a:cxn ang="0">
                  <a:pos x="479" y="236"/>
                </a:cxn>
                <a:cxn ang="0">
                  <a:pos x="487" y="196"/>
                </a:cxn>
                <a:cxn ang="0">
                  <a:pos x="467" y="172"/>
                </a:cxn>
                <a:cxn ang="0">
                  <a:pos x="475" y="112"/>
                </a:cxn>
                <a:cxn ang="0">
                  <a:pos x="465" y="30"/>
                </a:cxn>
                <a:cxn ang="0">
                  <a:pos x="435" y="4"/>
                </a:cxn>
                <a:cxn ang="0">
                  <a:pos x="421" y="0"/>
                </a:cxn>
                <a:cxn ang="0">
                  <a:pos x="375" y="26"/>
                </a:cxn>
                <a:cxn ang="0">
                  <a:pos x="352" y="4"/>
                </a:cxn>
                <a:cxn ang="0">
                  <a:pos x="336" y="18"/>
                </a:cxn>
                <a:cxn ang="0">
                  <a:pos x="344" y="40"/>
                </a:cxn>
                <a:cxn ang="0">
                  <a:pos x="324" y="94"/>
                </a:cxn>
                <a:cxn ang="0">
                  <a:pos x="298" y="128"/>
                </a:cxn>
                <a:cxn ang="0">
                  <a:pos x="302" y="152"/>
                </a:cxn>
                <a:cxn ang="0">
                  <a:pos x="246" y="184"/>
                </a:cxn>
                <a:cxn ang="0">
                  <a:pos x="230" y="156"/>
                </a:cxn>
                <a:cxn ang="0">
                  <a:pos x="182" y="164"/>
                </a:cxn>
                <a:cxn ang="0">
                  <a:pos x="180" y="196"/>
                </a:cxn>
                <a:cxn ang="0">
                  <a:pos x="140" y="196"/>
                </a:cxn>
                <a:cxn ang="0">
                  <a:pos x="110" y="230"/>
                </a:cxn>
                <a:cxn ang="0">
                  <a:pos x="72" y="250"/>
                </a:cxn>
                <a:cxn ang="0">
                  <a:pos x="52" y="264"/>
                </a:cxn>
                <a:cxn ang="0">
                  <a:pos x="28" y="292"/>
                </a:cxn>
                <a:cxn ang="0">
                  <a:pos x="0" y="323"/>
                </a:cxn>
                <a:cxn ang="0">
                  <a:pos x="32" y="335"/>
                </a:cxn>
                <a:cxn ang="0">
                  <a:pos x="72" y="393"/>
                </a:cxn>
                <a:cxn ang="0">
                  <a:pos x="112" y="397"/>
                </a:cxn>
                <a:cxn ang="0">
                  <a:pos x="130" y="421"/>
                </a:cxn>
                <a:cxn ang="0">
                  <a:pos x="122" y="447"/>
                </a:cxn>
                <a:cxn ang="0">
                  <a:pos x="126" y="473"/>
                </a:cxn>
                <a:cxn ang="0">
                  <a:pos x="152" y="499"/>
                </a:cxn>
                <a:cxn ang="0">
                  <a:pos x="176" y="537"/>
                </a:cxn>
                <a:cxn ang="0">
                  <a:pos x="202" y="573"/>
                </a:cxn>
                <a:cxn ang="0">
                  <a:pos x="234" y="577"/>
                </a:cxn>
                <a:cxn ang="0">
                  <a:pos x="264" y="617"/>
                </a:cxn>
              </a:cxnLst>
              <a:rect l="0" t="0" r="r" b="b"/>
              <a:pathLst>
                <a:path w="599" h="617">
                  <a:moveTo>
                    <a:pt x="264" y="617"/>
                  </a:moveTo>
                  <a:lnTo>
                    <a:pt x="288" y="591"/>
                  </a:lnTo>
                  <a:lnTo>
                    <a:pt x="314" y="581"/>
                  </a:lnTo>
                  <a:lnTo>
                    <a:pt x="332" y="581"/>
                  </a:lnTo>
                  <a:lnTo>
                    <a:pt x="332" y="547"/>
                  </a:lnTo>
                  <a:lnTo>
                    <a:pt x="352" y="525"/>
                  </a:lnTo>
                  <a:lnTo>
                    <a:pt x="387" y="521"/>
                  </a:lnTo>
                  <a:lnTo>
                    <a:pt x="469" y="517"/>
                  </a:lnTo>
                  <a:lnTo>
                    <a:pt x="509" y="521"/>
                  </a:lnTo>
                  <a:lnTo>
                    <a:pt x="541" y="505"/>
                  </a:lnTo>
                  <a:lnTo>
                    <a:pt x="563" y="505"/>
                  </a:lnTo>
                  <a:lnTo>
                    <a:pt x="581" y="495"/>
                  </a:lnTo>
                  <a:lnTo>
                    <a:pt x="599" y="483"/>
                  </a:lnTo>
                  <a:lnTo>
                    <a:pt x="585" y="453"/>
                  </a:lnTo>
                  <a:lnTo>
                    <a:pt x="573" y="465"/>
                  </a:lnTo>
                  <a:lnTo>
                    <a:pt x="559" y="461"/>
                  </a:lnTo>
                  <a:lnTo>
                    <a:pt x="541" y="453"/>
                  </a:lnTo>
                  <a:lnTo>
                    <a:pt x="551" y="413"/>
                  </a:lnTo>
                  <a:lnTo>
                    <a:pt x="563" y="401"/>
                  </a:lnTo>
                  <a:lnTo>
                    <a:pt x="561" y="383"/>
                  </a:lnTo>
                  <a:lnTo>
                    <a:pt x="529" y="343"/>
                  </a:lnTo>
                  <a:lnTo>
                    <a:pt x="503" y="313"/>
                  </a:lnTo>
                  <a:lnTo>
                    <a:pt x="473" y="292"/>
                  </a:lnTo>
                  <a:lnTo>
                    <a:pt x="473" y="268"/>
                  </a:lnTo>
                  <a:lnTo>
                    <a:pt x="479" y="236"/>
                  </a:lnTo>
                  <a:lnTo>
                    <a:pt x="487" y="196"/>
                  </a:lnTo>
                  <a:lnTo>
                    <a:pt x="467" y="172"/>
                  </a:lnTo>
                  <a:lnTo>
                    <a:pt x="475" y="112"/>
                  </a:lnTo>
                  <a:lnTo>
                    <a:pt x="465" y="30"/>
                  </a:lnTo>
                  <a:lnTo>
                    <a:pt x="435" y="4"/>
                  </a:lnTo>
                  <a:lnTo>
                    <a:pt x="421" y="0"/>
                  </a:lnTo>
                  <a:lnTo>
                    <a:pt x="375" y="26"/>
                  </a:lnTo>
                  <a:lnTo>
                    <a:pt x="352" y="4"/>
                  </a:lnTo>
                  <a:lnTo>
                    <a:pt x="336" y="18"/>
                  </a:lnTo>
                  <a:lnTo>
                    <a:pt x="344" y="40"/>
                  </a:lnTo>
                  <a:lnTo>
                    <a:pt x="324" y="94"/>
                  </a:lnTo>
                  <a:lnTo>
                    <a:pt x="298" y="128"/>
                  </a:lnTo>
                  <a:lnTo>
                    <a:pt x="302" y="152"/>
                  </a:lnTo>
                  <a:lnTo>
                    <a:pt x="246" y="184"/>
                  </a:lnTo>
                  <a:lnTo>
                    <a:pt x="230" y="156"/>
                  </a:lnTo>
                  <a:lnTo>
                    <a:pt x="182" y="164"/>
                  </a:lnTo>
                  <a:lnTo>
                    <a:pt x="180" y="196"/>
                  </a:lnTo>
                  <a:lnTo>
                    <a:pt x="140" y="196"/>
                  </a:lnTo>
                  <a:lnTo>
                    <a:pt x="110" y="230"/>
                  </a:lnTo>
                  <a:lnTo>
                    <a:pt x="72" y="250"/>
                  </a:lnTo>
                  <a:lnTo>
                    <a:pt x="52" y="264"/>
                  </a:lnTo>
                  <a:lnTo>
                    <a:pt x="28" y="292"/>
                  </a:lnTo>
                  <a:lnTo>
                    <a:pt x="0" y="323"/>
                  </a:lnTo>
                  <a:lnTo>
                    <a:pt x="32" y="335"/>
                  </a:lnTo>
                  <a:lnTo>
                    <a:pt x="72" y="393"/>
                  </a:lnTo>
                  <a:lnTo>
                    <a:pt x="112" y="397"/>
                  </a:lnTo>
                  <a:lnTo>
                    <a:pt x="130" y="421"/>
                  </a:lnTo>
                  <a:lnTo>
                    <a:pt x="122" y="447"/>
                  </a:lnTo>
                  <a:lnTo>
                    <a:pt x="126" y="473"/>
                  </a:lnTo>
                  <a:lnTo>
                    <a:pt x="152" y="499"/>
                  </a:lnTo>
                  <a:lnTo>
                    <a:pt x="176" y="537"/>
                  </a:lnTo>
                  <a:lnTo>
                    <a:pt x="202" y="573"/>
                  </a:lnTo>
                  <a:lnTo>
                    <a:pt x="234" y="577"/>
                  </a:lnTo>
                  <a:lnTo>
                    <a:pt x="264" y="617"/>
                  </a:lnTo>
                  <a:close/>
                </a:path>
              </a:pathLst>
            </a:custGeom>
            <a:solidFill>
              <a:srgbClr val="C00000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i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Freeform 22"/>
            <p:cNvSpPr>
              <a:spLocks/>
            </p:cNvSpPr>
            <p:nvPr/>
          </p:nvSpPr>
          <p:spPr bwMode="auto">
            <a:xfrm>
              <a:off x="3538" y="2026"/>
              <a:ext cx="485" cy="899"/>
            </a:xfrm>
            <a:custGeom>
              <a:avLst/>
              <a:gdLst/>
              <a:ahLst/>
              <a:cxnLst>
                <a:cxn ang="0">
                  <a:pos x="299" y="1270"/>
                </a:cxn>
                <a:cxn ang="0">
                  <a:pos x="345" y="1167"/>
                </a:cxn>
                <a:cxn ang="0">
                  <a:pos x="353" y="1097"/>
                </a:cxn>
                <a:cxn ang="0">
                  <a:pos x="435" y="1003"/>
                </a:cxn>
                <a:cxn ang="0">
                  <a:pos x="524" y="971"/>
                </a:cxn>
                <a:cxn ang="0">
                  <a:pos x="570" y="905"/>
                </a:cxn>
                <a:cxn ang="0">
                  <a:pos x="604" y="891"/>
                </a:cxn>
                <a:cxn ang="0">
                  <a:pos x="618" y="879"/>
                </a:cxn>
                <a:cxn ang="0">
                  <a:pos x="582" y="841"/>
                </a:cxn>
                <a:cxn ang="0">
                  <a:pos x="532" y="823"/>
                </a:cxn>
                <a:cxn ang="0">
                  <a:pos x="518" y="804"/>
                </a:cxn>
                <a:cxn ang="0">
                  <a:pos x="439" y="702"/>
                </a:cxn>
                <a:cxn ang="0">
                  <a:pos x="427" y="646"/>
                </a:cxn>
                <a:cxn ang="0">
                  <a:pos x="427" y="576"/>
                </a:cxn>
                <a:cxn ang="0">
                  <a:pos x="439" y="512"/>
                </a:cxn>
                <a:cxn ang="0">
                  <a:pos x="457" y="460"/>
                </a:cxn>
                <a:cxn ang="0">
                  <a:pos x="487" y="391"/>
                </a:cxn>
                <a:cxn ang="0">
                  <a:pos x="562" y="263"/>
                </a:cxn>
                <a:cxn ang="0">
                  <a:pos x="596" y="199"/>
                </a:cxn>
                <a:cxn ang="0">
                  <a:pos x="662" y="109"/>
                </a:cxn>
                <a:cxn ang="0">
                  <a:pos x="644" y="65"/>
                </a:cxn>
                <a:cxn ang="0">
                  <a:pos x="604" y="83"/>
                </a:cxn>
                <a:cxn ang="0">
                  <a:pos x="588" y="25"/>
                </a:cxn>
                <a:cxn ang="0">
                  <a:pos x="550" y="4"/>
                </a:cxn>
                <a:cxn ang="0">
                  <a:pos x="510" y="25"/>
                </a:cxn>
                <a:cxn ang="0">
                  <a:pos x="449" y="0"/>
                </a:cxn>
                <a:cxn ang="0">
                  <a:pos x="395" y="49"/>
                </a:cxn>
                <a:cxn ang="0">
                  <a:pos x="419" y="145"/>
                </a:cxn>
                <a:cxn ang="0">
                  <a:pos x="395" y="189"/>
                </a:cxn>
                <a:cxn ang="0">
                  <a:pos x="349" y="255"/>
                </a:cxn>
                <a:cxn ang="0">
                  <a:pos x="311" y="233"/>
                </a:cxn>
                <a:cxn ang="0">
                  <a:pos x="301" y="287"/>
                </a:cxn>
                <a:cxn ang="0">
                  <a:pos x="269" y="327"/>
                </a:cxn>
                <a:cxn ang="0">
                  <a:pos x="235" y="365"/>
                </a:cxn>
                <a:cxn ang="0">
                  <a:pos x="187" y="393"/>
                </a:cxn>
                <a:cxn ang="0">
                  <a:pos x="177" y="359"/>
                </a:cxn>
                <a:cxn ang="0">
                  <a:pos x="147" y="357"/>
                </a:cxn>
                <a:cxn ang="0">
                  <a:pos x="111" y="418"/>
                </a:cxn>
                <a:cxn ang="0">
                  <a:pos x="82" y="468"/>
                </a:cxn>
                <a:cxn ang="0">
                  <a:pos x="68" y="482"/>
                </a:cxn>
                <a:cxn ang="0">
                  <a:pos x="50" y="506"/>
                </a:cxn>
                <a:cxn ang="0">
                  <a:pos x="0" y="604"/>
                </a:cxn>
                <a:cxn ang="0">
                  <a:pos x="44" y="624"/>
                </a:cxn>
                <a:cxn ang="0">
                  <a:pos x="125" y="662"/>
                </a:cxn>
                <a:cxn ang="0">
                  <a:pos x="111" y="724"/>
                </a:cxn>
                <a:cxn ang="0">
                  <a:pos x="121" y="800"/>
                </a:cxn>
                <a:cxn ang="0">
                  <a:pos x="201" y="833"/>
                </a:cxn>
                <a:cxn ang="0">
                  <a:pos x="223" y="875"/>
                </a:cxn>
                <a:cxn ang="0">
                  <a:pos x="187" y="935"/>
                </a:cxn>
                <a:cxn ang="0">
                  <a:pos x="195" y="1017"/>
                </a:cxn>
                <a:cxn ang="0">
                  <a:pos x="187" y="1075"/>
                </a:cxn>
                <a:cxn ang="0">
                  <a:pos x="199" y="1139"/>
                </a:cxn>
                <a:cxn ang="0">
                  <a:pos x="191" y="1197"/>
                </a:cxn>
                <a:cxn ang="0">
                  <a:pos x="211" y="1210"/>
                </a:cxn>
                <a:cxn ang="0">
                  <a:pos x="255" y="1258"/>
                </a:cxn>
              </a:cxnLst>
              <a:rect l="0" t="0" r="r" b="b"/>
              <a:pathLst>
                <a:path w="662" h="1288">
                  <a:moveTo>
                    <a:pt x="281" y="1288"/>
                  </a:moveTo>
                  <a:lnTo>
                    <a:pt x="299" y="1270"/>
                  </a:lnTo>
                  <a:lnTo>
                    <a:pt x="303" y="1230"/>
                  </a:lnTo>
                  <a:lnTo>
                    <a:pt x="345" y="1167"/>
                  </a:lnTo>
                  <a:lnTo>
                    <a:pt x="349" y="1117"/>
                  </a:lnTo>
                  <a:lnTo>
                    <a:pt x="353" y="1097"/>
                  </a:lnTo>
                  <a:lnTo>
                    <a:pt x="367" y="1071"/>
                  </a:lnTo>
                  <a:lnTo>
                    <a:pt x="435" y="1003"/>
                  </a:lnTo>
                  <a:lnTo>
                    <a:pt x="465" y="987"/>
                  </a:lnTo>
                  <a:lnTo>
                    <a:pt x="524" y="971"/>
                  </a:lnTo>
                  <a:lnTo>
                    <a:pt x="550" y="949"/>
                  </a:lnTo>
                  <a:lnTo>
                    <a:pt x="570" y="905"/>
                  </a:lnTo>
                  <a:lnTo>
                    <a:pt x="592" y="901"/>
                  </a:lnTo>
                  <a:lnTo>
                    <a:pt x="604" y="891"/>
                  </a:lnTo>
                  <a:lnTo>
                    <a:pt x="622" y="887"/>
                  </a:lnTo>
                  <a:lnTo>
                    <a:pt x="618" y="879"/>
                  </a:lnTo>
                  <a:lnTo>
                    <a:pt x="614" y="863"/>
                  </a:lnTo>
                  <a:lnTo>
                    <a:pt x="582" y="841"/>
                  </a:lnTo>
                  <a:lnTo>
                    <a:pt x="558" y="827"/>
                  </a:lnTo>
                  <a:lnTo>
                    <a:pt x="532" y="823"/>
                  </a:lnTo>
                  <a:lnTo>
                    <a:pt x="518" y="819"/>
                  </a:lnTo>
                  <a:lnTo>
                    <a:pt x="518" y="804"/>
                  </a:lnTo>
                  <a:lnTo>
                    <a:pt x="491" y="766"/>
                  </a:lnTo>
                  <a:lnTo>
                    <a:pt x="439" y="702"/>
                  </a:lnTo>
                  <a:lnTo>
                    <a:pt x="435" y="662"/>
                  </a:lnTo>
                  <a:lnTo>
                    <a:pt x="427" y="646"/>
                  </a:lnTo>
                  <a:lnTo>
                    <a:pt x="415" y="638"/>
                  </a:lnTo>
                  <a:lnTo>
                    <a:pt x="427" y="576"/>
                  </a:lnTo>
                  <a:lnTo>
                    <a:pt x="431" y="538"/>
                  </a:lnTo>
                  <a:lnTo>
                    <a:pt x="439" y="512"/>
                  </a:lnTo>
                  <a:lnTo>
                    <a:pt x="445" y="472"/>
                  </a:lnTo>
                  <a:lnTo>
                    <a:pt x="457" y="460"/>
                  </a:lnTo>
                  <a:lnTo>
                    <a:pt x="457" y="438"/>
                  </a:lnTo>
                  <a:lnTo>
                    <a:pt x="487" y="391"/>
                  </a:lnTo>
                  <a:lnTo>
                    <a:pt x="506" y="353"/>
                  </a:lnTo>
                  <a:lnTo>
                    <a:pt x="562" y="263"/>
                  </a:lnTo>
                  <a:lnTo>
                    <a:pt x="574" y="241"/>
                  </a:lnTo>
                  <a:lnTo>
                    <a:pt x="596" y="199"/>
                  </a:lnTo>
                  <a:lnTo>
                    <a:pt x="658" y="133"/>
                  </a:lnTo>
                  <a:lnTo>
                    <a:pt x="662" y="109"/>
                  </a:lnTo>
                  <a:lnTo>
                    <a:pt x="648" y="89"/>
                  </a:lnTo>
                  <a:lnTo>
                    <a:pt x="644" y="65"/>
                  </a:lnTo>
                  <a:lnTo>
                    <a:pt x="622" y="59"/>
                  </a:lnTo>
                  <a:lnTo>
                    <a:pt x="604" y="83"/>
                  </a:lnTo>
                  <a:lnTo>
                    <a:pt x="592" y="67"/>
                  </a:lnTo>
                  <a:lnTo>
                    <a:pt x="588" y="25"/>
                  </a:lnTo>
                  <a:lnTo>
                    <a:pt x="568" y="29"/>
                  </a:lnTo>
                  <a:lnTo>
                    <a:pt x="550" y="4"/>
                  </a:lnTo>
                  <a:lnTo>
                    <a:pt x="528" y="4"/>
                  </a:lnTo>
                  <a:lnTo>
                    <a:pt x="510" y="25"/>
                  </a:lnTo>
                  <a:lnTo>
                    <a:pt x="483" y="4"/>
                  </a:lnTo>
                  <a:lnTo>
                    <a:pt x="449" y="0"/>
                  </a:lnTo>
                  <a:lnTo>
                    <a:pt x="417" y="21"/>
                  </a:lnTo>
                  <a:lnTo>
                    <a:pt x="395" y="49"/>
                  </a:lnTo>
                  <a:lnTo>
                    <a:pt x="371" y="67"/>
                  </a:lnTo>
                  <a:lnTo>
                    <a:pt x="419" y="145"/>
                  </a:lnTo>
                  <a:lnTo>
                    <a:pt x="419" y="175"/>
                  </a:lnTo>
                  <a:lnTo>
                    <a:pt x="395" y="189"/>
                  </a:lnTo>
                  <a:lnTo>
                    <a:pt x="365" y="227"/>
                  </a:lnTo>
                  <a:lnTo>
                    <a:pt x="349" y="255"/>
                  </a:lnTo>
                  <a:lnTo>
                    <a:pt x="333" y="241"/>
                  </a:lnTo>
                  <a:lnTo>
                    <a:pt x="311" y="233"/>
                  </a:lnTo>
                  <a:lnTo>
                    <a:pt x="301" y="239"/>
                  </a:lnTo>
                  <a:lnTo>
                    <a:pt x="301" y="287"/>
                  </a:lnTo>
                  <a:lnTo>
                    <a:pt x="297" y="319"/>
                  </a:lnTo>
                  <a:lnTo>
                    <a:pt x="269" y="327"/>
                  </a:lnTo>
                  <a:lnTo>
                    <a:pt x="247" y="339"/>
                  </a:lnTo>
                  <a:lnTo>
                    <a:pt x="235" y="365"/>
                  </a:lnTo>
                  <a:lnTo>
                    <a:pt x="229" y="393"/>
                  </a:lnTo>
                  <a:lnTo>
                    <a:pt x="187" y="393"/>
                  </a:lnTo>
                  <a:lnTo>
                    <a:pt x="177" y="383"/>
                  </a:lnTo>
                  <a:lnTo>
                    <a:pt x="177" y="359"/>
                  </a:lnTo>
                  <a:lnTo>
                    <a:pt x="163" y="345"/>
                  </a:lnTo>
                  <a:lnTo>
                    <a:pt x="147" y="357"/>
                  </a:lnTo>
                  <a:lnTo>
                    <a:pt x="107" y="381"/>
                  </a:lnTo>
                  <a:lnTo>
                    <a:pt x="111" y="418"/>
                  </a:lnTo>
                  <a:lnTo>
                    <a:pt x="109" y="434"/>
                  </a:lnTo>
                  <a:lnTo>
                    <a:pt x="82" y="468"/>
                  </a:lnTo>
                  <a:lnTo>
                    <a:pt x="66" y="468"/>
                  </a:lnTo>
                  <a:lnTo>
                    <a:pt x="68" y="482"/>
                  </a:lnTo>
                  <a:lnTo>
                    <a:pt x="72" y="500"/>
                  </a:lnTo>
                  <a:lnTo>
                    <a:pt x="50" y="506"/>
                  </a:lnTo>
                  <a:lnTo>
                    <a:pt x="18" y="512"/>
                  </a:lnTo>
                  <a:lnTo>
                    <a:pt x="0" y="604"/>
                  </a:lnTo>
                  <a:lnTo>
                    <a:pt x="18" y="612"/>
                  </a:lnTo>
                  <a:lnTo>
                    <a:pt x="44" y="624"/>
                  </a:lnTo>
                  <a:lnTo>
                    <a:pt x="82" y="638"/>
                  </a:lnTo>
                  <a:lnTo>
                    <a:pt x="125" y="662"/>
                  </a:lnTo>
                  <a:lnTo>
                    <a:pt x="125" y="676"/>
                  </a:lnTo>
                  <a:lnTo>
                    <a:pt x="111" y="724"/>
                  </a:lnTo>
                  <a:lnTo>
                    <a:pt x="111" y="780"/>
                  </a:lnTo>
                  <a:lnTo>
                    <a:pt x="121" y="800"/>
                  </a:lnTo>
                  <a:lnTo>
                    <a:pt x="149" y="811"/>
                  </a:lnTo>
                  <a:lnTo>
                    <a:pt x="201" y="833"/>
                  </a:lnTo>
                  <a:lnTo>
                    <a:pt x="219" y="845"/>
                  </a:lnTo>
                  <a:lnTo>
                    <a:pt x="223" y="875"/>
                  </a:lnTo>
                  <a:lnTo>
                    <a:pt x="207" y="891"/>
                  </a:lnTo>
                  <a:lnTo>
                    <a:pt x="187" y="935"/>
                  </a:lnTo>
                  <a:lnTo>
                    <a:pt x="187" y="961"/>
                  </a:lnTo>
                  <a:lnTo>
                    <a:pt x="195" y="1017"/>
                  </a:lnTo>
                  <a:lnTo>
                    <a:pt x="191" y="1039"/>
                  </a:lnTo>
                  <a:lnTo>
                    <a:pt x="187" y="1075"/>
                  </a:lnTo>
                  <a:lnTo>
                    <a:pt x="207" y="1101"/>
                  </a:lnTo>
                  <a:lnTo>
                    <a:pt x="199" y="1139"/>
                  </a:lnTo>
                  <a:lnTo>
                    <a:pt x="191" y="1171"/>
                  </a:lnTo>
                  <a:lnTo>
                    <a:pt x="191" y="1197"/>
                  </a:lnTo>
                  <a:lnTo>
                    <a:pt x="195" y="1201"/>
                  </a:lnTo>
                  <a:lnTo>
                    <a:pt x="211" y="1210"/>
                  </a:lnTo>
                  <a:lnTo>
                    <a:pt x="241" y="1236"/>
                  </a:lnTo>
                  <a:lnTo>
                    <a:pt x="255" y="1258"/>
                  </a:lnTo>
                  <a:lnTo>
                    <a:pt x="281" y="1288"/>
                  </a:lnTo>
                  <a:close/>
                </a:path>
              </a:pathLst>
            </a:custGeom>
            <a:solidFill>
              <a:srgbClr val="C00000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i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29734" name="Group 23"/>
            <p:cNvGrpSpPr>
              <a:grpSpLocks/>
            </p:cNvGrpSpPr>
            <p:nvPr/>
          </p:nvGrpSpPr>
          <p:grpSpPr bwMode="auto">
            <a:xfrm>
              <a:off x="4374" y="2159"/>
              <a:ext cx="595" cy="298"/>
              <a:chOff x="4087" y="1684"/>
              <a:chExt cx="1040" cy="664"/>
            </a:xfrm>
          </p:grpSpPr>
          <p:sp>
            <p:nvSpPr>
              <p:cNvPr id="25" name="Freeform 24"/>
              <p:cNvSpPr>
                <a:spLocks/>
              </p:cNvSpPr>
              <p:nvPr/>
            </p:nvSpPr>
            <p:spPr bwMode="auto">
              <a:xfrm>
                <a:off x="4087" y="2145"/>
                <a:ext cx="140" cy="123"/>
              </a:xfrm>
              <a:custGeom>
                <a:avLst/>
                <a:gdLst/>
                <a:ahLst/>
                <a:cxnLst>
                  <a:cxn ang="0">
                    <a:pos x="118" y="0"/>
                  </a:cxn>
                  <a:cxn ang="0">
                    <a:pos x="78" y="0"/>
                  </a:cxn>
                  <a:cxn ang="0">
                    <a:pos x="32" y="26"/>
                  </a:cxn>
                  <a:cxn ang="0">
                    <a:pos x="32" y="52"/>
                  </a:cxn>
                  <a:cxn ang="0">
                    <a:pos x="18" y="56"/>
                  </a:cxn>
                  <a:cxn ang="0">
                    <a:pos x="4" y="74"/>
                  </a:cxn>
                  <a:cxn ang="0">
                    <a:pos x="0" y="92"/>
                  </a:cxn>
                  <a:cxn ang="0">
                    <a:pos x="14" y="96"/>
                  </a:cxn>
                  <a:cxn ang="0">
                    <a:pos x="40" y="123"/>
                  </a:cxn>
                  <a:cxn ang="0">
                    <a:pos x="58" y="123"/>
                  </a:cxn>
                  <a:cxn ang="0">
                    <a:pos x="58" y="109"/>
                  </a:cxn>
                  <a:cxn ang="0">
                    <a:pos x="70" y="82"/>
                  </a:cxn>
                  <a:cxn ang="0">
                    <a:pos x="88" y="86"/>
                  </a:cxn>
                  <a:cxn ang="0">
                    <a:pos x="100" y="68"/>
                  </a:cxn>
                  <a:cxn ang="0">
                    <a:pos x="136" y="36"/>
                  </a:cxn>
                  <a:cxn ang="0">
                    <a:pos x="140" y="26"/>
                  </a:cxn>
                  <a:cxn ang="0">
                    <a:pos x="136" y="22"/>
                  </a:cxn>
                  <a:cxn ang="0">
                    <a:pos x="118" y="0"/>
                  </a:cxn>
                </a:cxnLst>
                <a:rect l="0" t="0" r="r" b="b"/>
                <a:pathLst>
                  <a:path w="140" h="123">
                    <a:moveTo>
                      <a:pt x="118" y="0"/>
                    </a:moveTo>
                    <a:lnTo>
                      <a:pt x="78" y="0"/>
                    </a:lnTo>
                    <a:lnTo>
                      <a:pt x="32" y="26"/>
                    </a:lnTo>
                    <a:lnTo>
                      <a:pt x="32" y="52"/>
                    </a:lnTo>
                    <a:lnTo>
                      <a:pt x="18" y="56"/>
                    </a:lnTo>
                    <a:lnTo>
                      <a:pt x="4" y="74"/>
                    </a:lnTo>
                    <a:lnTo>
                      <a:pt x="0" y="92"/>
                    </a:lnTo>
                    <a:lnTo>
                      <a:pt x="14" y="96"/>
                    </a:lnTo>
                    <a:lnTo>
                      <a:pt x="40" y="123"/>
                    </a:lnTo>
                    <a:lnTo>
                      <a:pt x="58" y="123"/>
                    </a:lnTo>
                    <a:lnTo>
                      <a:pt x="58" y="109"/>
                    </a:lnTo>
                    <a:lnTo>
                      <a:pt x="70" y="82"/>
                    </a:lnTo>
                    <a:lnTo>
                      <a:pt x="88" y="86"/>
                    </a:lnTo>
                    <a:lnTo>
                      <a:pt x="100" y="68"/>
                    </a:lnTo>
                    <a:lnTo>
                      <a:pt x="136" y="36"/>
                    </a:lnTo>
                    <a:lnTo>
                      <a:pt x="140" y="26"/>
                    </a:lnTo>
                    <a:lnTo>
                      <a:pt x="136" y="22"/>
                    </a:lnTo>
                    <a:lnTo>
                      <a:pt x="118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ES" i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6" name="Freeform 25"/>
              <p:cNvSpPr>
                <a:spLocks/>
              </p:cNvSpPr>
              <p:nvPr/>
            </p:nvSpPr>
            <p:spPr bwMode="auto">
              <a:xfrm>
                <a:off x="4153" y="2284"/>
                <a:ext cx="74" cy="6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14"/>
                  </a:cxn>
                  <a:cxn ang="0">
                    <a:pos x="0" y="26"/>
                  </a:cxn>
                  <a:cxn ang="0">
                    <a:pos x="0" y="46"/>
                  </a:cxn>
                  <a:cxn ang="0">
                    <a:pos x="12" y="64"/>
                  </a:cxn>
                  <a:cxn ang="0">
                    <a:pos x="26" y="52"/>
                  </a:cxn>
                  <a:cxn ang="0">
                    <a:pos x="34" y="56"/>
                  </a:cxn>
                  <a:cxn ang="0">
                    <a:pos x="56" y="64"/>
                  </a:cxn>
                  <a:cxn ang="0">
                    <a:pos x="74" y="56"/>
                  </a:cxn>
                  <a:cxn ang="0">
                    <a:pos x="70" y="42"/>
                  </a:cxn>
                  <a:cxn ang="0">
                    <a:pos x="52" y="26"/>
                  </a:cxn>
                  <a:cxn ang="0">
                    <a:pos x="38" y="22"/>
                  </a:cxn>
                  <a:cxn ang="0">
                    <a:pos x="26" y="22"/>
                  </a:cxn>
                  <a:cxn ang="0">
                    <a:pos x="12" y="0"/>
                  </a:cxn>
                </a:cxnLst>
                <a:rect l="0" t="0" r="r" b="b"/>
                <a:pathLst>
                  <a:path w="74" h="64">
                    <a:moveTo>
                      <a:pt x="12" y="0"/>
                    </a:moveTo>
                    <a:lnTo>
                      <a:pt x="12" y="14"/>
                    </a:lnTo>
                    <a:lnTo>
                      <a:pt x="0" y="26"/>
                    </a:lnTo>
                    <a:lnTo>
                      <a:pt x="0" y="46"/>
                    </a:lnTo>
                    <a:lnTo>
                      <a:pt x="12" y="64"/>
                    </a:lnTo>
                    <a:lnTo>
                      <a:pt x="26" y="52"/>
                    </a:lnTo>
                    <a:lnTo>
                      <a:pt x="34" y="56"/>
                    </a:lnTo>
                    <a:lnTo>
                      <a:pt x="56" y="64"/>
                    </a:lnTo>
                    <a:lnTo>
                      <a:pt x="74" y="56"/>
                    </a:lnTo>
                    <a:lnTo>
                      <a:pt x="70" y="42"/>
                    </a:lnTo>
                    <a:lnTo>
                      <a:pt x="52" y="26"/>
                    </a:lnTo>
                    <a:lnTo>
                      <a:pt x="38" y="22"/>
                    </a:lnTo>
                    <a:lnTo>
                      <a:pt x="26" y="2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3300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ES" i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4445" y="1728"/>
                <a:ext cx="385" cy="313"/>
              </a:xfrm>
              <a:custGeom>
                <a:avLst/>
                <a:gdLst/>
                <a:ahLst/>
                <a:cxnLst>
                  <a:cxn ang="0">
                    <a:pos x="301" y="0"/>
                  </a:cxn>
                  <a:cxn ang="0">
                    <a:pos x="271" y="22"/>
                  </a:cxn>
                  <a:cxn ang="0">
                    <a:pos x="279" y="30"/>
                  </a:cxn>
                  <a:cxn ang="0">
                    <a:pos x="295" y="30"/>
                  </a:cxn>
                  <a:cxn ang="0">
                    <a:pos x="287" y="48"/>
                  </a:cxn>
                  <a:cxn ang="0">
                    <a:pos x="265" y="68"/>
                  </a:cxn>
                  <a:cxn ang="0">
                    <a:pos x="287" y="64"/>
                  </a:cxn>
                  <a:cxn ang="0">
                    <a:pos x="297" y="74"/>
                  </a:cxn>
                  <a:cxn ang="0">
                    <a:pos x="297" y="80"/>
                  </a:cxn>
                  <a:cxn ang="0">
                    <a:pos x="315" y="96"/>
                  </a:cxn>
                  <a:cxn ang="0">
                    <a:pos x="333" y="88"/>
                  </a:cxn>
                  <a:cxn ang="0">
                    <a:pos x="341" y="64"/>
                  </a:cxn>
                  <a:cxn ang="0">
                    <a:pos x="363" y="68"/>
                  </a:cxn>
                  <a:cxn ang="0">
                    <a:pos x="377" y="80"/>
                  </a:cxn>
                  <a:cxn ang="0">
                    <a:pos x="385" y="96"/>
                  </a:cxn>
                  <a:cxn ang="0">
                    <a:pos x="371" y="114"/>
                  </a:cxn>
                  <a:cxn ang="0">
                    <a:pos x="355" y="125"/>
                  </a:cxn>
                  <a:cxn ang="0">
                    <a:pos x="367" y="145"/>
                  </a:cxn>
                  <a:cxn ang="0">
                    <a:pos x="363" y="167"/>
                  </a:cxn>
                  <a:cxn ang="0">
                    <a:pos x="359" y="193"/>
                  </a:cxn>
                  <a:cxn ang="0">
                    <a:pos x="349" y="219"/>
                  </a:cxn>
                  <a:cxn ang="0">
                    <a:pos x="319" y="223"/>
                  </a:cxn>
                  <a:cxn ang="0">
                    <a:pos x="327" y="241"/>
                  </a:cxn>
                  <a:cxn ang="0">
                    <a:pos x="341" y="261"/>
                  </a:cxn>
                  <a:cxn ang="0">
                    <a:pos x="323" y="275"/>
                  </a:cxn>
                  <a:cxn ang="0">
                    <a:pos x="315" y="299"/>
                  </a:cxn>
                  <a:cxn ang="0">
                    <a:pos x="301" y="305"/>
                  </a:cxn>
                  <a:cxn ang="0">
                    <a:pos x="291" y="295"/>
                  </a:cxn>
                  <a:cxn ang="0">
                    <a:pos x="279" y="295"/>
                  </a:cxn>
                  <a:cxn ang="0">
                    <a:pos x="253" y="313"/>
                  </a:cxn>
                  <a:cxn ang="0">
                    <a:pos x="217" y="271"/>
                  </a:cxn>
                  <a:cxn ang="0">
                    <a:pos x="187" y="279"/>
                  </a:cxn>
                  <a:cxn ang="0">
                    <a:pos x="167" y="257"/>
                  </a:cxn>
                  <a:cxn ang="0">
                    <a:pos x="157" y="231"/>
                  </a:cxn>
                  <a:cxn ang="0">
                    <a:pos x="157" y="205"/>
                  </a:cxn>
                  <a:cxn ang="0">
                    <a:pos x="131" y="197"/>
                  </a:cxn>
                  <a:cxn ang="0">
                    <a:pos x="117" y="197"/>
                  </a:cxn>
                  <a:cxn ang="0">
                    <a:pos x="109" y="183"/>
                  </a:cxn>
                  <a:cxn ang="0">
                    <a:pos x="95" y="197"/>
                  </a:cxn>
                  <a:cxn ang="0">
                    <a:pos x="87" y="219"/>
                  </a:cxn>
                  <a:cxn ang="0">
                    <a:pos x="67" y="237"/>
                  </a:cxn>
                  <a:cxn ang="0">
                    <a:pos x="41" y="205"/>
                  </a:cxn>
                  <a:cxn ang="0">
                    <a:pos x="0" y="201"/>
                  </a:cxn>
                  <a:cxn ang="0">
                    <a:pos x="9" y="183"/>
                  </a:cxn>
                  <a:cxn ang="0">
                    <a:pos x="37" y="167"/>
                  </a:cxn>
                  <a:cxn ang="0">
                    <a:pos x="41" y="145"/>
                  </a:cxn>
                  <a:cxn ang="0">
                    <a:pos x="71" y="106"/>
                  </a:cxn>
                  <a:cxn ang="0">
                    <a:pos x="105" y="102"/>
                  </a:cxn>
                  <a:cxn ang="0">
                    <a:pos x="135" y="72"/>
                  </a:cxn>
                  <a:cxn ang="0">
                    <a:pos x="145" y="56"/>
                  </a:cxn>
                  <a:cxn ang="0">
                    <a:pos x="167" y="34"/>
                  </a:cxn>
                  <a:cxn ang="0">
                    <a:pos x="179" y="44"/>
                  </a:cxn>
                  <a:cxn ang="0">
                    <a:pos x="209" y="30"/>
                  </a:cxn>
                  <a:cxn ang="0">
                    <a:pos x="217" y="8"/>
                  </a:cxn>
                  <a:cxn ang="0">
                    <a:pos x="261" y="4"/>
                  </a:cxn>
                  <a:cxn ang="0">
                    <a:pos x="301" y="0"/>
                  </a:cxn>
                </a:cxnLst>
                <a:rect l="0" t="0" r="r" b="b"/>
                <a:pathLst>
                  <a:path w="385" h="313">
                    <a:moveTo>
                      <a:pt x="301" y="0"/>
                    </a:moveTo>
                    <a:lnTo>
                      <a:pt x="271" y="22"/>
                    </a:lnTo>
                    <a:lnTo>
                      <a:pt x="279" y="30"/>
                    </a:lnTo>
                    <a:lnTo>
                      <a:pt x="295" y="30"/>
                    </a:lnTo>
                    <a:lnTo>
                      <a:pt x="287" y="48"/>
                    </a:lnTo>
                    <a:lnTo>
                      <a:pt x="265" y="68"/>
                    </a:lnTo>
                    <a:lnTo>
                      <a:pt x="287" y="64"/>
                    </a:lnTo>
                    <a:lnTo>
                      <a:pt x="297" y="74"/>
                    </a:lnTo>
                    <a:lnTo>
                      <a:pt x="297" y="80"/>
                    </a:lnTo>
                    <a:lnTo>
                      <a:pt x="315" y="96"/>
                    </a:lnTo>
                    <a:lnTo>
                      <a:pt x="333" y="88"/>
                    </a:lnTo>
                    <a:lnTo>
                      <a:pt x="341" y="64"/>
                    </a:lnTo>
                    <a:lnTo>
                      <a:pt x="363" y="68"/>
                    </a:lnTo>
                    <a:lnTo>
                      <a:pt x="377" y="80"/>
                    </a:lnTo>
                    <a:lnTo>
                      <a:pt x="385" y="96"/>
                    </a:lnTo>
                    <a:lnTo>
                      <a:pt x="371" y="114"/>
                    </a:lnTo>
                    <a:lnTo>
                      <a:pt x="355" y="125"/>
                    </a:lnTo>
                    <a:lnTo>
                      <a:pt x="367" y="145"/>
                    </a:lnTo>
                    <a:lnTo>
                      <a:pt x="363" y="167"/>
                    </a:lnTo>
                    <a:lnTo>
                      <a:pt x="359" y="193"/>
                    </a:lnTo>
                    <a:lnTo>
                      <a:pt x="349" y="219"/>
                    </a:lnTo>
                    <a:lnTo>
                      <a:pt x="319" y="223"/>
                    </a:lnTo>
                    <a:lnTo>
                      <a:pt x="327" y="241"/>
                    </a:lnTo>
                    <a:lnTo>
                      <a:pt x="341" y="261"/>
                    </a:lnTo>
                    <a:lnTo>
                      <a:pt x="323" y="275"/>
                    </a:lnTo>
                    <a:lnTo>
                      <a:pt x="315" y="299"/>
                    </a:lnTo>
                    <a:lnTo>
                      <a:pt x="301" y="305"/>
                    </a:lnTo>
                    <a:lnTo>
                      <a:pt x="291" y="295"/>
                    </a:lnTo>
                    <a:lnTo>
                      <a:pt x="279" y="295"/>
                    </a:lnTo>
                    <a:lnTo>
                      <a:pt x="253" y="313"/>
                    </a:lnTo>
                    <a:lnTo>
                      <a:pt x="217" y="271"/>
                    </a:lnTo>
                    <a:lnTo>
                      <a:pt x="187" y="279"/>
                    </a:lnTo>
                    <a:lnTo>
                      <a:pt x="167" y="257"/>
                    </a:lnTo>
                    <a:lnTo>
                      <a:pt x="157" y="231"/>
                    </a:lnTo>
                    <a:lnTo>
                      <a:pt x="157" y="205"/>
                    </a:lnTo>
                    <a:lnTo>
                      <a:pt x="131" y="197"/>
                    </a:lnTo>
                    <a:lnTo>
                      <a:pt x="117" y="197"/>
                    </a:lnTo>
                    <a:lnTo>
                      <a:pt x="109" y="183"/>
                    </a:lnTo>
                    <a:lnTo>
                      <a:pt x="95" y="197"/>
                    </a:lnTo>
                    <a:lnTo>
                      <a:pt x="87" y="219"/>
                    </a:lnTo>
                    <a:lnTo>
                      <a:pt x="67" y="237"/>
                    </a:lnTo>
                    <a:lnTo>
                      <a:pt x="41" y="205"/>
                    </a:lnTo>
                    <a:lnTo>
                      <a:pt x="0" y="201"/>
                    </a:lnTo>
                    <a:lnTo>
                      <a:pt x="9" y="183"/>
                    </a:lnTo>
                    <a:lnTo>
                      <a:pt x="37" y="167"/>
                    </a:lnTo>
                    <a:lnTo>
                      <a:pt x="41" y="145"/>
                    </a:lnTo>
                    <a:lnTo>
                      <a:pt x="71" y="106"/>
                    </a:lnTo>
                    <a:lnTo>
                      <a:pt x="105" y="102"/>
                    </a:lnTo>
                    <a:lnTo>
                      <a:pt x="135" y="72"/>
                    </a:lnTo>
                    <a:lnTo>
                      <a:pt x="145" y="56"/>
                    </a:lnTo>
                    <a:lnTo>
                      <a:pt x="167" y="34"/>
                    </a:lnTo>
                    <a:lnTo>
                      <a:pt x="179" y="44"/>
                    </a:lnTo>
                    <a:lnTo>
                      <a:pt x="209" y="30"/>
                    </a:lnTo>
                    <a:lnTo>
                      <a:pt x="217" y="8"/>
                    </a:lnTo>
                    <a:lnTo>
                      <a:pt x="261" y="4"/>
                    </a:lnTo>
                    <a:lnTo>
                      <a:pt x="301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ES" i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4947" y="1684"/>
                <a:ext cx="180" cy="12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4" y="0"/>
                  </a:cxn>
                  <a:cxn ang="0">
                    <a:pos x="54" y="8"/>
                  </a:cxn>
                  <a:cxn ang="0">
                    <a:pos x="68" y="12"/>
                  </a:cxn>
                  <a:cxn ang="0">
                    <a:pos x="84" y="8"/>
                  </a:cxn>
                  <a:cxn ang="0">
                    <a:pos x="104" y="0"/>
                  </a:cxn>
                  <a:cxn ang="0">
                    <a:pos x="128" y="4"/>
                  </a:cxn>
                  <a:cxn ang="0">
                    <a:pos x="152" y="16"/>
                  </a:cxn>
                  <a:cxn ang="0">
                    <a:pos x="166" y="48"/>
                  </a:cxn>
                  <a:cxn ang="0">
                    <a:pos x="158" y="66"/>
                  </a:cxn>
                  <a:cxn ang="0">
                    <a:pos x="170" y="88"/>
                  </a:cxn>
                  <a:cxn ang="0">
                    <a:pos x="180" y="108"/>
                  </a:cxn>
                  <a:cxn ang="0">
                    <a:pos x="176" y="128"/>
                  </a:cxn>
                  <a:cxn ang="0">
                    <a:pos x="166" y="112"/>
                  </a:cxn>
                  <a:cxn ang="0">
                    <a:pos x="138" y="82"/>
                  </a:cxn>
                  <a:cxn ang="0">
                    <a:pos x="90" y="66"/>
                  </a:cxn>
                  <a:cxn ang="0">
                    <a:pos x="54" y="62"/>
                  </a:cxn>
                  <a:cxn ang="0">
                    <a:pos x="28" y="70"/>
                  </a:cxn>
                  <a:cxn ang="0">
                    <a:pos x="16" y="58"/>
                  </a:cxn>
                  <a:cxn ang="0">
                    <a:pos x="14" y="38"/>
                  </a:cxn>
                  <a:cxn ang="0">
                    <a:pos x="0" y="30"/>
                  </a:cxn>
                  <a:cxn ang="0">
                    <a:pos x="0" y="8"/>
                  </a:cxn>
                </a:cxnLst>
                <a:rect l="0" t="0" r="r" b="b"/>
                <a:pathLst>
                  <a:path w="180" h="128">
                    <a:moveTo>
                      <a:pt x="0" y="8"/>
                    </a:moveTo>
                    <a:lnTo>
                      <a:pt x="14" y="0"/>
                    </a:lnTo>
                    <a:lnTo>
                      <a:pt x="54" y="8"/>
                    </a:lnTo>
                    <a:lnTo>
                      <a:pt x="68" y="12"/>
                    </a:lnTo>
                    <a:lnTo>
                      <a:pt x="84" y="8"/>
                    </a:lnTo>
                    <a:lnTo>
                      <a:pt x="104" y="0"/>
                    </a:lnTo>
                    <a:lnTo>
                      <a:pt x="128" y="4"/>
                    </a:lnTo>
                    <a:lnTo>
                      <a:pt x="152" y="16"/>
                    </a:lnTo>
                    <a:lnTo>
                      <a:pt x="166" y="48"/>
                    </a:lnTo>
                    <a:lnTo>
                      <a:pt x="158" y="66"/>
                    </a:lnTo>
                    <a:lnTo>
                      <a:pt x="170" y="88"/>
                    </a:lnTo>
                    <a:lnTo>
                      <a:pt x="180" y="108"/>
                    </a:lnTo>
                    <a:lnTo>
                      <a:pt x="176" y="128"/>
                    </a:lnTo>
                    <a:lnTo>
                      <a:pt x="166" y="112"/>
                    </a:lnTo>
                    <a:lnTo>
                      <a:pt x="138" y="82"/>
                    </a:lnTo>
                    <a:lnTo>
                      <a:pt x="90" y="66"/>
                    </a:lnTo>
                    <a:lnTo>
                      <a:pt x="54" y="62"/>
                    </a:lnTo>
                    <a:lnTo>
                      <a:pt x="28" y="70"/>
                    </a:lnTo>
                    <a:lnTo>
                      <a:pt x="16" y="58"/>
                    </a:lnTo>
                    <a:lnTo>
                      <a:pt x="14" y="38"/>
                    </a:lnTo>
                    <a:lnTo>
                      <a:pt x="0" y="3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ES" i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9" name="Freeform 28"/>
              <p:cNvSpPr>
                <a:spLocks/>
              </p:cNvSpPr>
              <p:nvPr/>
            </p:nvSpPr>
            <p:spPr bwMode="auto">
              <a:xfrm>
                <a:off x="4650" y="2073"/>
                <a:ext cx="60" cy="4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0" y="20"/>
                  </a:cxn>
                  <a:cxn ang="0">
                    <a:pos x="8" y="38"/>
                  </a:cxn>
                  <a:cxn ang="0">
                    <a:pos x="22" y="46"/>
                  </a:cxn>
                  <a:cxn ang="0">
                    <a:pos x="42" y="38"/>
                  </a:cxn>
                  <a:cxn ang="0">
                    <a:pos x="60" y="28"/>
                  </a:cxn>
                  <a:cxn ang="0">
                    <a:pos x="52" y="16"/>
                  </a:cxn>
                  <a:cxn ang="0">
                    <a:pos x="18" y="0"/>
                  </a:cxn>
                </a:cxnLst>
                <a:rect l="0" t="0" r="r" b="b"/>
                <a:pathLst>
                  <a:path w="60" h="46">
                    <a:moveTo>
                      <a:pt x="18" y="0"/>
                    </a:moveTo>
                    <a:lnTo>
                      <a:pt x="0" y="20"/>
                    </a:lnTo>
                    <a:lnTo>
                      <a:pt x="8" y="38"/>
                    </a:lnTo>
                    <a:lnTo>
                      <a:pt x="22" y="46"/>
                    </a:lnTo>
                    <a:lnTo>
                      <a:pt x="42" y="38"/>
                    </a:lnTo>
                    <a:lnTo>
                      <a:pt x="60" y="28"/>
                    </a:lnTo>
                    <a:lnTo>
                      <a:pt x="52" y="16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FF3300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ES" i="0">
                  <a:solidFill>
                    <a:prstClr val="white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6" name="Freeform 29"/>
            <p:cNvSpPr>
              <a:spLocks/>
            </p:cNvSpPr>
            <p:nvPr/>
          </p:nvSpPr>
          <p:spPr bwMode="auto">
            <a:xfrm>
              <a:off x="3937" y="1360"/>
              <a:ext cx="746" cy="753"/>
            </a:xfrm>
            <a:custGeom>
              <a:avLst/>
              <a:gdLst/>
              <a:ahLst/>
              <a:cxnLst>
                <a:cxn ang="0">
                  <a:pos x="180" y="251"/>
                </a:cxn>
                <a:cxn ang="0">
                  <a:pos x="158" y="331"/>
                </a:cxn>
                <a:cxn ang="0">
                  <a:pos x="152" y="411"/>
                </a:cxn>
                <a:cxn ang="0">
                  <a:pos x="42" y="543"/>
                </a:cxn>
                <a:cxn ang="0">
                  <a:pos x="68" y="582"/>
                </a:cxn>
                <a:cxn ang="0">
                  <a:pos x="56" y="698"/>
                </a:cxn>
                <a:cxn ang="0">
                  <a:pos x="44" y="780"/>
                </a:cxn>
                <a:cxn ang="0">
                  <a:pos x="30" y="838"/>
                </a:cxn>
                <a:cxn ang="0">
                  <a:pos x="14" y="904"/>
                </a:cxn>
                <a:cxn ang="0">
                  <a:pos x="0" y="950"/>
                </a:cxn>
                <a:cxn ang="0">
                  <a:pos x="46" y="979"/>
                </a:cxn>
                <a:cxn ang="0">
                  <a:pos x="60" y="1037"/>
                </a:cxn>
                <a:cxn ang="0">
                  <a:pos x="94" y="1019"/>
                </a:cxn>
                <a:cxn ang="0">
                  <a:pos x="116" y="1057"/>
                </a:cxn>
                <a:cxn ang="0">
                  <a:pos x="158" y="1019"/>
                </a:cxn>
                <a:cxn ang="0">
                  <a:pos x="180" y="989"/>
                </a:cxn>
                <a:cxn ang="0">
                  <a:pos x="238" y="971"/>
                </a:cxn>
                <a:cxn ang="0">
                  <a:pos x="250" y="928"/>
                </a:cxn>
                <a:cxn ang="0">
                  <a:pos x="206" y="906"/>
                </a:cxn>
                <a:cxn ang="0">
                  <a:pos x="300" y="816"/>
                </a:cxn>
                <a:cxn ang="0">
                  <a:pos x="481" y="738"/>
                </a:cxn>
                <a:cxn ang="0">
                  <a:pos x="623" y="672"/>
                </a:cxn>
                <a:cxn ang="0">
                  <a:pos x="703" y="576"/>
                </a:cxn>
                <a:cxn ang="0">
                  <a:pos x="844" y="503"/>
                </a:cxn>
                <a:cxn ang="0">
                  <a:pos x="996" y="341"/>
                </a:cxn>
                <a:cxn ang="0">
                  <a:pos x="940" y="239"/>
                </a:cxn>
                <a:cxn ang="0">
                  <a:pos x="944" y="207"/>
                </a:cxn>
                <a:cxn ang="0">
                  <a:pos x="1018" y="183"/>
                </a:cxn>
                <a:cxn ang="0">
                  <a:pos x="978" y="164"/>
                </a:cxn>
                <a:cxn ang="0">
                  <a:pos x="960" y="120"/>
                </a:cxn>
                <a:cxn ang="0">
                  <a:pos x="918" y="130"/>
                </a:cxn>
                <a:cxn ang="0">
                  <a:pos x="914" y="108"/>
                </a:cxn>
                <a:cxn ang="0">
                  <a:pos x="866" y="104"/>
                </a:cxn>
                <a:cxn ang="0">
                  <a:pos x="816" y="148"/>
                </a:cxn>
                <a:cxn ang="0">
                  <a:pos x="820" y="160"/>
                </a:cxn>
                <a:cxn ang="0">
                  <a:pos x="767" y="175"/>
                </a:cxn>
                <a:cxn ang="0">
                  <a:pos x="715" y="175"/>
                </a:cxn>
                <a:cxn ang="0">
                  <a:pos x="667" y="160"/>
                </a:cxn>
                <a:cxn ang="0">
                  <a:pos x="615" y="170"/>
                </a:cxn>
                <a:cxn ang="0">
                  <a:pos x="547" y="164"/>
                </a:cxn>
                <a:cxn ang="0">
                  <a:pos x="495" y="130"/>
                </a:cxn>
                <a:cxn ang="0">
                  <a:pos x="507" y="108"/>
                </a:cxn>
                <a:cxn ang="0">
                  <a:pos x="503" y="86"/>
                </a:cxn>
                <a:cxn ang="0">
                  <a:pos x="447" y="70"/>
                </a:cxn>
                <a:cxn ang="0">
                  <a:pos x="383" y="70"/>
                </a:cxn>
                <a:cxn ang="0">
                  <a:pos x="284" y="30"/>
                </a:cxn>
                <a:cxn ang="0">
                  <a:pos x="198" y="14"/>
                </a:cxn>
                <a:cxn ang="0">
                  <a:pos x="146" y="8"/>
                </a:cxn>
                <a:cxn ang="0">
                  <a:pos x="112" y="66"/>
                </a:cxn>
              </a:cxnLst>
              <a:rect l="0" t="0" r="r" b="b"/>
              <a:pathLst>
                <a:path w="1018" h="1079">
                  <a:moveTo>
                    <a:pt x="112" y="66"/>
                  </a:moveTo>
                  <a:lnTo>
                    <a:pt x="180" y="251"/>
                  </a:lnTo>
                  <a:lnTo>
                    <a:pt x="138" y="273"/>
                  </a:lnTo>
                  <a:lnTo>
                    <a:pt x="158" y="331"/>
                  </a:lnTo>
                  <a:lnTo>
                    <a:pt x="162" y="377"/>
                  </a:lnTo>
                  <a:lnTo>
                    <a:pt x="152" y="411"/>
                  </a:lnTo>
                  <a:lnTo>
                    <a:pt x="126" y="447"/>
                  </a:lnTo>
                  <a:lnTo>
                    <a:pt x="42" y="543"/>
                  </a:lnTo>
                  <a:lnTo>
                    <a:pt x="46" y="561"/>
                  </a:lnTo>
                  <a:lnTo>
                    <a:pt x="68" y="582"/>
                  </a:lnTo>
                  <a:lnTo>
                    <a:pt x="34" y="650"/>
                  </a:lnTo>
                  <a:lnTo>
                    <a:pt x="56" y="698"/>
                  </a:lnTo>
                  <a:lnTo>
                    <a:pt x="68" y="716"/>
                  </a:lnTo>
                  <a:lnTo>
                    <a:pt x="44" y="780"/>
                  </a:lnTo>
                  <a:lnTo>
                    <a:pt x="18" y="798"/>
                  </a:lnTo>
                  <a:lnTo>
                    <a:pt x="30" y="838"/>
                  </a:lnTo>
                  <a:lnTo>
                    <a:pt x="30" y="876"/>
                  </a:lnTo>
                  <a:lnTo>
                    <a:pt x="14" y="904"/>
                  </a:lnTo>
                  <a:lnTo>
                    <a:pt x="18" y="932"/>
                  </a:lnTo>
                  <a:lnTo>
                    <a:pt x="0" y="950"/>
                  </a:lnTo>
                  <a:lnTo>
                    <a:pt x="26" y="983"/>
                  </a:lnTo>
                  <a:lnTo>
                    <a:pt x="46" y="979"/>
                  </a:lnTo>
                  <a:lnTo>
                    <a:pt x="46" y="1019"/>
                  </a:lnTo>
                  <a:lnTo>
                    <a:pt x="60" y="1037"/>
                  </a:lnTo>
                  <a:lnTo>
                    <a:pt x="76" y="1015"/>
                  </a:lnTo>
                  <a:lnTo>
                    <a:pt x="94" y="1019"/>
                  </a:lnTo>
                  <a:lnTo>
                    <a:pt x="104" y="1045"/>
                  </a:lnTo>
                  <a:lnTo>
                    <a:pt x="116" y="1057"/>
                  </a:lnTo>
                  <a:lnTo>
                    <a:pt x="116" y="1079"/>
                  </a:lnTo>
                  <a:lnTo>
                    <a:pt x="158" y="1019"/>
                  </a:lnTo>
                  <a:lnTo>
                    <a:pt x="158" y="1005"/>
                  </a:lnTo>
                  <a:lnTo>
                    <a:pt x="180" y="989"/>
                  </a:lnTo>
                  <a:lnTo>
                    <a:pt x="216" y="1009"/>
                  </a:lnTo>
                  <a:lnTo>
                    <a:pt x="238" y="971"/>
                  </a:lnTo>
                  <a:lnTo>
                    <a:pt x="254" y="950"/>
                  </a:lnTo>
                  <a:lnTo>
                    <a:pt x="250" y="928"/>
                  </a:lnTo>
                  <a:lnTo>
                    <a:pt x="238" y="928"/>
                  </a:lnTo>
                  <a:lnTo>
                    <a:pt x="206" y="906"/>
                  </a:lnTo>
                  <a:lnTo>
                    <a:pt x="232" y="892"/>
                  </a:lnTo>
                  <a:lnTo>
                    <a:pt x="300" y="816"/>
                  </a:lnTo>
                  <a:lnTo>
                    <a:pt x="361" y="790"/>
                  </a:lnTo>
                  <a:lnTo>
                    <a:pt x="481" y="738"/>
                  </a:lnTo>
                  <a:lnTo>
                    <a:pt x="541" y="704"/>
                  </a:lnTo>
                  <a:lnTo>
                    <a:pt x="623" y="672"/>
                  </a:lnTo>
                  <a:lnTo>
                    <a:pt x="689" y="616"/>
                  </a:lnTo>
                  <a:lnTo>
                    <a:pt x="703" y="576"/>
                  </a:lnTo>
                  <a:lnTo>
                    <a:pt x="731" y="580"/>
                  </a:lnTo>
                  <a:lnTo>
                    <a:pt x="844" y="503"/>
                  </a:lnTo>
                  <a:lnTo>
                    <a:pt x="1000" y="363"/>
                  </a:lnTo>
                  <a:lnTo>
                    <a:pt x="996" y="341"/>
                  </a:lnTo>
                  <a:lnTo>
                    <a:pt x="974" y="277"/>
                  </a:lnTo>
                  <a:lnTo>
                    <a:pt x="940" y="239"/>
                  </a:lnTo>
                  <a:lnTo>
                    <a:pt x="936" y="221"/>
                  </a:lnTo>
                  <a:lnTo>
                    <a:pt x="944" y="207"/>
                  </a:lnTo>
                  <a:lnTo>
                    <a:pt x="966" y="199"/>
                  </a:lnTo>
                  <a:lnTo>
                    <a:pt x="1018" y="183"/>
                  </a:lnTo>
                  <a:lnTo>
                    <a:pt x="1004" y="175"/>
                  </a:lnTo>
                  <a:lnTo>
                    <a:pt x="978" y="164"/>
                  </a:lnTo>
                  <a:lnTo>
                    <a:pt x="952" y="138"/>
                  </a:lnTo>
                  <a:lnTo>
                    <a:pt x="960" y="120"/>
                  </a:lnTo>
                  <a:lnTo>
                    <a:pt x="944" y="120"/>
                  </a:lnTo>
                  <a:lnTo>
                    <a:pt x="918" y="130"/>
                  </a:lnTo>
                  <a:lnTo>
                    <a:pt x="910" y="120"/>
                  </a:lnTo>
                  <a:lnTo>
                    <a:pt x="914" y="108"/>
                  </a:lnTo>
                  <a:lnTo>
                    <a:pt x="888" y="112"/>
                  </a:lnTo>
                  <a:lnTo>
                    <a:pt x="866" y="104"/>
                  </a:lnTo>
                  <a:lnTo>
                    <a:pt x="844" y="126"/>
                  </a:lnTo>
                  <a:lnTo>
                    <a:pt x="816" y="148"/>
                  </a:lnTo>
                  <a:lnTo>
                    <a:pt x="802" y="148"/>
                  </a:lnTo>
                  <a:lnTo>
                    <a:pt x="820" y="160"/>
                  </a:lnTo>
                  <a:lnTo>
                    <a:pt x="802" y="170"/>
                  </a:lnTo>
                  <a:lnTo>
                    <a:pt x="767" y="175"/>
                  </a:lnTo>
                  <a:lnTo>
                    <a:pt x="735" y="183"/>
                  </a:lnTo>
                  <a:lnTo>
                    <a:pt x="715" y="175"/>
                  </a:lnTo>
                  <a:lnTo>
                    <a:pt x="703" y="160"/>
                  </a:lnTo>
                  <a:lnTo>
                    <a:pt x="667" y="160"/>
                  </a:lnTo>
                  <a:lnTo>
                    <a:pt x="641" y="156"/>
                  </a:lnTo>
                  <a:lnTo>
                    <a:pt x="615" y="170"/>
                  </a:lnTo>
                  <a:lnTo>
                    <a:pt x="581" y="179"/>
                  </a:lnTo>
                  <a:lnTo>
                    <a:pt x="547" y="164"/>
                  </a:lnTo>
                  <a:lnTo>
                    <a:pt x="515" y="148"/>
                  </a:lnTo>
                  <a:lnTo>
                    <a:pt x="495" y="130"/>
                  </a:lnTo>
                  <a:lnTo>
                    <a:pt x="491" y="116"/>
                  </a:lnTo>
                  <a:lnTo>
                    <a:pt x="507" y="108"/>
                  </a:lnTo>
                  <a:lnTo>
                    <a:pt x="511" y="94"/>
                  </a:lnTo>
                  <a:lnTo>
                    <a:pt x="503" y="86"/>
                  </a:lnTo>
                  <a:lnTo>
                    <a:pt x="473" y="82"/>
                  </a:lnTo>
                  <a:lnTo>
                    <a:pt x="447" y="70"/>
                  </a:lnTo>
                  <a:lnTo>
                    <a:pt x="403" y="62"/>
                  </a:lnTo>
                  <a:lnTo>
                    <a:pt x="383" y="70"/>
                  </a:lnTo>
                  <a:lnTo>
                    <a:pt x="348" y="58"/>
                  </a:lnTo>
                  <a:lnTo>
                    <a:pt x="284" y="30"/>
                  </a:lnTo>
                  <a:lnTo>
                    <a:pt x="238" y="30"/>
                  </a:lnTo>
                  <a:lnTo>
                    <a:pt x="198" y="14"/>
                  </a:lnTo>
                  <a:lnTo>
                    <a:pt x="172" y="0"/>
                  </a:lnTo>
                  <a:lnTo>
                    <a:pt x="146" y="8"/>
                  </a:lnTo>
                  <a:lnTo>
                    <a:pt x="134" y="26"/>
                  </a:lnTo>
                  <a:lnTo>
                    <a:pt x="112" y="6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i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Freeform 30"/>
            <p:cNvSpPr>
              <a:spLocks/>
            </p:cNvSpPr>
            <p:nvPr/>
          </p:nvSpPr>
          <p:spPr bwMode="auto">
            <a:xfrm>
              <a:off x="3356" y="1354"/>
              <a:ext cx="713" cy="948"/>
            </a:xfrm>
            <a:custGeom>
              <a:avLst/>
              <a:gdLst/>
              <a:ahLst/>
              <a:cxnLst>
                <a:cxn ang="0">
                  <a:pos x="972" y="261"/>
                </a:cxn>
                <a:cxn ang="0">
                  <a:pos x="946" y="319"/>
                </a:cxn>
                <a:cxn ang="0">
                  <a:pos x="950" y="407"/>
                </a:cxn>
                <a:cxn ang="0">
                  <a:pos x="890" y="485"/>
                </a:cxn>
                <a:cxn ang="0">
                  <a:pos x="838" y="571"/>
                </a:cxn>
                <a:cxn ang="0">
                  <a:pos x="822" y="660"/>
                </a:cxn>
                <a:cxn ang="0">
                  <a:pos x="860" y="724"/>
                </a:cxn>
                <a:cxn ang="0">
                  <a:pos x="834" y="788"/>
                </a:cxn>
                <a:cxn ang="0">
                  <a:pos x="822" y="850"/>
                </a:cxn>
                <a:cxn ang="0">
                  <a:pos x="810" y="910"/>
                </a:cxn>
                <a:cxn ang="0">
                  <a:pos x="792" y="958"/>
                </a:cxn>
                <a:cxn ang="0">
                  <a:pos x="774" y="970"/>
                </a:cxn>
                <a:cxn ang="0">
                  <a:pos x="752" y="979"/>
                </a:cxn>
                <a:cxn ang="0">
                  <a:pos x="701" y="962"/>
                </a:cxn>
                <a:cxn ang="0">
                  <a:pos x="631" y="1019"/>
                </a:cxn>
                <a:cxn ang="0">
                  <a:pos x="623" y="1041"/>
                </a:cxn>
                <a:cxn ang="0">
                  <a:pos x="671" y="1121"/>
                </a:cxn>
                <a:cxn ang="0">
                  <a:pos x="649" y="1149"/>
                </a:cxn>
                <a:cxn ang="0">
                  <a:pos x="597" y="1217"/>
                </a:cxn>
                <a:cxn ang="0">
                  <a:pos x="559" y="1195"/>
                </a:cxn>
                <a:cxn ang="0">
                  <a:pos x="549" y="1251"/>
                </a:cxn>
                <a:cxn ang="0">
                  <a:pos x="537" y="1281"/>
                </a:cxn>
                <a:cxn ang="0">
                  <a:pos x="489" y="1311"/>
                </a:cxn>
                <a:cxn ang="0">
                  <a:pos x="471" y="1353"/>
                </a:cxn>
                <a:cxn ang="0">
                  <a:pos x="437" y="1353"/>
                </a:cxn>
                <a:cxn ang="0">
                  <a:pos x="425" y="1319"/>
                </a:cxn>
                <a:cxn ang="0">
                  <a:pos x="389" y="1323"/>
                </a:cxn>
                <a:cxn ang="0">
                  <a:pos x="339" y="1315"/>
                </a:cxn>
                <a:cxn ang="0">
                  <a:pos x="300" y="1293"/>
                </a:cxn>
                <a:cxn ang="0">
                  <a:pos x="252" y="1255"/>
                </a:cxn>
                <a:cxn ang="0">
                  <a:pos x="198" y="1207"/>
                </a:cxn>
                <a:cxn ang="0">
                  <a:pos x="120" y="1113"/>
                </a:cxn>
                <a:cxn ang="0">
                  <a:pos x="172" y="1079"/>
                </a:cxn>
                <a:cxn ang="0">
                  <a:pos x="194" y="1041"/>
                </a:cxn>
                <a:cxn ang="0">
                  <a:pos x="220" y="1049"/>
                </a:cxn>
                <a:cxn ang="0">
                  <a:pos x="232" y="1015"/>
                </a:cxn>
                <a:cxn ang="0">
                  <a:pos x="210" y="958"/>
                </a:cxn>
                <a:cxn ang="0">
                  <a:pos x="210" y="906"/>
                </a:cxn>
                <a:cxn ang="0">
                  <a:pos x="82" y="788"/>
                </a:cxn>
                <a:cxn ang="0">
                  <a:pos x="16" y="772"/>
                </a:cxn>
                <a:cxn ang="0">
                  <a:pos x="28" y="698"/>
                </a:cxn>
                <a:cxn ang="0">
                  <a:pos x="50" y="698"/>
                </a:cxn>
                <a:cxn ang="0">
                  <a:pos x="64" y="654"/>
                </a:cxn>
                <a:cxn ang="0">
                  <a:pos x="98" y="575"/>
                </a:cxn>
                <a:cxn ang="0">
                  <a:pos x="124" y="489"/>
                </a:cxn>
                <a:cxn ang="0">
                  <a:pos x="88" y="445"/>
                </a:cxn>
                <a:cxn ang="0">
                  <a:pos x="186" y="427"/>
                </a:cxn>
                <a:cxn ang="0">
                  <a:pos x="288" y="373"/>
                </a:cxn>
                <a:cxn ang="0">
                  <a:pos x="262" y="259"/>
                </a:cxn>
                <a:cxn ang="0">
                  <a:pos x="347" y="120"/>
                </a:cxn>
                <a:cxn ang="0">
                  <a:pos x="451" y="40"/>
                </a:cxn>
                <a:cxn ang="0">
                  <a:pos x="519" y="30"/>
                </a:cxn>
                <a:cxn ang="0">
                  <a:pos x="579" y="44"/>
                </a:cxn>
                <a:cxn ang="0">
                  <a:pos x="671" y="74"/>
                </a:cxn>
                <a:cxn ang="0">
                  <a:pos x="756" y="86"/>
                </a:cxn>
                <a:cxn ang="0">
                  <a:pos x="860" y="74"/>
                </a:cxn>
              </a:cxnLst>
              <a:rect l="0" t="0" r="r" b="b"/>
              <a:pathLst>
                <a:path w="972" h="1357">
                  <a:moveTo>
                    <a:pt x="904" y="70"/>
                  </a:moveTo>
                  <a:lnTo>
                    <a:pt x="972" y="261"/>
                  </a:lnTo>
                  <a:lnTo>
                    <a:pt x="930" y="283"/>
                  </a:lnTo>
                  <a:lnTo>
                    <a:pt x="946" y="319"/>
                  </a:lnTo>
                  <a:lnTo>
                    <a:pt x="954" y="373"/>
                  </a:lnTo>
                  <a:lnTo>
                    <a:pt x="950" y="407"/>
                  </a:lnTo>
                  <a:lnTo>
                    <a:pt x="938" y="427"/>
                  </a:lnTo>
                  <a:lnTo>
                    <a:pt x="890" y="485"/>
                  </a:lnTo>
                  <a:lnTo>
                    <a:pt x="834" y="549"/>
                  </a:lnTo>
                  <a:lnTo>
                    <a:pt x="838" y="571"/>
                  </a:lnTo>
                  <a:lnTo>
                    <a:pt x="860" y="588"/>
                  </a:lnTo>
                  <a:lnTo>
                    <a:pt x="822" y="660"/>
                  </a:lnTo>
                  <a:lnTo>
                    <a:pt x="838" y="690"/>
                  </a:lnTo>
                  <a:lnTo>
                    <a:pt x="860" y="724"/>
                  </a:lnTo>
                  <a:lnTo>
                    <a:pt x="846" y="758"/>
                  </a:lnTo>
                  <a:lnTo>
                    <a:pt x="834" y="788"/>
                  </a:lnTo>
                  <a:lnTo>
                    <a:pt x="810" y="806"/>
                  </a:lnTo>
                  <a:lnTo>
                    <a:pt x="822" y="850"/>
                  </a:lnTo>
                  <a:lnTo>
                    <a:pt x="822" y="880"/>
                  </a:lnTo>
                  <a:lnTo>
                    <a:pt x="810" y="910"/>
                  </a:lnTo>
                  <a:lnTo>
                    <a:pt x="810" y="940"/>
                  </a:lnTo>
                  <a:lnTo>
                    <a:pt x="792" y="958"/>
                  </a:lnTo>
                  <a:lnTo>
                    <a:pt x="792" y="966"/>
                  </a:lnTo>
                  <a:lnTo>
                    <a:pt x="774" y="970"/>
                  </a:lnTo>
                  <a:lnTo>
                    <a:pt x="762" y="987"/>
                  </a:lnTo>
                  <a:lnTo>
                    <a:pt x="752" y="979"/>
                  </a:lnTo>
                  <a:lnTo>
                    <a:pt x="725" y="962"/>
                  </a:lnTo>
                  <a:lnTo>
                    <a:pt x="701" y="962"/>
                  </a:lnTo>
                  <a:lnTo>
                    <a:pt x="675" y="975"/>
                  </a:lnTo>
                  <a:lnTo>
                    <a:pt x="631" y="1019"/>
                  </a:lnTo>
                  <a:lnTo>
                    <a:pt x="617" y="1027"/>
                  </a:lnTo>
                  <a:lnTo>
                    <a:pt x="623" y="1041"/>
                  </a:lnTo>
                  <a:lnTo>
                    <a:pt x="665" y="1105"/>
                  </a:lnTo>
                  <a:lnTo>
                    <a:pt x="671" y="1121"/>
                  </a:lnTo>
                  <a:lnTo>
                    <a:pt x="665" y="1139"/>
                  </a:lnTo>
                  <a:lnTo>
                    <a:pt x="649" y="1149"/>
                  </a:lnTo>
                  <a:lnTo>
                    <a:pt x="613" y="1187"/>
                  </a:lnTo>
                  <a:lnTo>
                    <a:pt x="597" y="1217"/>
                  </a:lnTo>
                  <a:lnTo>
                    <a:pt x="579" y="1203"/>
                  </a:lnTo>
                  <a:lnTo>
                    <a:pt x="559" y="1195"/>
                  </a:lnTo>
                  <a:lnTo>
                    <a:pt x="549" y="1203"/>
                  </a:lnTo>
                  <a:lnTo>
                    <a:pt x="549" y="1251"/>
                  </a:lnTo>
                  <a:lnTo>
                    <a:pt x="545" y="1277"/>
                  </a:lnTo>
                  <a:lnTo>
                    <a:pt x="537" y="1281"/>
                  </a:lnTo>
                  <a:lnTo>
                    <a:pt x="497" y="1299"/>
                  </a:lnTo>
                  <a:lnTo>
                    <a:pt x="489" y="1311"/>
                  </a:lnTo>
                  <a:lnTo>
                    <a:pt x="481" y="1335"/>
                  </a:lnTo>
                  <a:lnTo>
                    <a:pt x="471" y="1353"/>
                  </a:lnTo>
                  <a:lnTo>
                    <a:pt x="459" y="1357"/>
                  </a:lnTo>
                  <a:lnTo>
                    <a:pt x="437" y="1353"/>
                  </a:lnTo>
                  <a:lnTo>
                    <a:pt x="425" y="1343"/>
                  </a:lnTo>
                  <a:lnTo>
                    <a:pt x="425" y="1319"/>
                  </a:lnTo>
                  <a:lnTo>
                    <a:pt x="411" y="1307"/>
                  </a:lnTo>
                  <a:lnTo>
                    <a:pt x="389" y="1323"/>
                  </a:lnTo>
                  <a:lnTo>
                    <a:pt x="347" y="1343"/>
                  </a:lnTo>
                  <a:lnTo>
                    <a:pt x="339" y="1315"/>
                  </a:lnTo>
                  <a:lnTo>
                    <a:pt x="316" y="1303"/>
                  </a:lnTo>
                  <a:lnTo>
                    <a:pt x="300" y="1293"/>
                  </a:lnTo>
                  <a:lnTo>
                    <a:pt x="278" y="1289"/>
                  </a:lnTo>
                  <a:lnTo>
                    <a:pt x="252" y="1255"/>
                  </a:lnTo>
                  <a:lnTo>
                    <a:pt x="220" y="1199"/>
                  </a:lnTo>
                  <a:lnTo>
                    <a:pt x="198" y="1207"/>
                  </a:lnTo>
                  <a:lnTo>
                    <a:pt x="176" y="1217"/>
                  </a:lnTo>
                  <a:lnTo>
                    <a:pt x="120" y="1113"/>
                  </a:lnTo>
                  <a:lnTo>
                    <a:pt x="136" y="1113"/>
                  </a:lnTo>
                  <a:lnTo>
                    <a:pt x="172" y="1079"/>
                  </a:lnTo>
                  <a:lnTo>
                    <a:pt x="176" y="1053"/>
                  </a:lnTo>
                  <a:lnTo>
                    <a:pt x="194" y="1041"/>
                  </a:lnTo>
                  <a:lnTo>
                    <a:pt x="206" y="1041"/>
                  </a:lnTo>
                  <a:lnTo>
                    <a:pt x="220" y="1049"/>
                  </a:lnTo>
                  <a:lnTo>
                    <a:pt x="232" y="1035"/>
                  </a:lnTo>
                  <a:lnTo>
                    <a:pt x="232" y="1015"/>
                  </a:lnTo>
                  <a:lnTo>
                    <a:pt x="206" y="1005"/>
                  </a:lnTo>
                  <a:lnTo>
                    <a:pt x="210" y="958"/>
                  </a:lnTo>
                  <a:lnTo>
                    <a:pt x="210" y="918"/>
                  </a:lnTo>
                  <a:lnTo>
                    <a:pt x="210" y="906"/>
                  </a:lnTo>
                  <a:lnTo>
                    <a:pt x="180" y="888"/>
                  </a:lnTo>
                  <a:lnTo>
                    <a:pt x="82" y="788"/>
                  </a:lnTo>
                  <a:lnTo>
                    <a:pt x="38" y="824"/>
                  </a:lnTo>
                  <a:lnTo>
                    <a:pt x="16" y="772"/>
                  </a:lnTo>
                  <a:lnTo>
                    <a:pt x="0" y="746"/>
                  </a:lnTo>
                  <a:lnTo>
                    <a:pt x="28" y="698"/>
                  </a:lnTo>
                  <a:lnTo>
                    <a:pt x="38" y="672"/>
                  </a:lnTo>
                  <a:lnTo>
                    <a:pt x="50" y="698"/>
                  </a:lnTo>
                  <a:lnTo>
                    <a:pt x="72" y="690"/>
                  </a:lnTo>
                  <a:lnTo>
                    <a:pt x="64" y="654"/>
                  </a:lnTo>
                  <a:lnTo>
                    <a:pt x="54" y="606"/>
                  </a:lnTo>
                  <a:lnTo>
                    <a:pt x="98" y="575"/>
                  </a:lnTo>
                  <a:lnTo>
                    <a:pt x="116" y="553"/>
                  </a:lnTo>
                  <a:lnTo>
                    <a:pt x="124" y="489"/>
                  </a:lnTo>
                  <a:lnTo>
                    <a:pt x="98" y="475"/>
                  </a:lnTo>
                  <a:lnTo>
                    <a:pt x="88" y="445"/>
                  </a:lnTo>
                  <a:lnTo>
                    <a:pt x="102" y="423"/>
                  </a:lnTo>
                  <a:lnTo>
                    <a:pt x="186" y="427"/>
                  </a:lnTo>
                  <a:lnTo>
                    <a:pt x="240" y="453"/>
                  </a:lnTo>
                  <a:lnTo>
                    <a:pt x="288" y="373"/>
                  </a:lnTo>
                  <a:lnTo>
                    <a:pt x="254" y="349"/>
                  </a:lnTo>
                  <a:lnTo>
                    <a:pt x="262" y="259"/>
                  </a:lnTo>
                  <a:lnTo>
                    <a:pt x="343" y="144"/>
                  </a:lnTo>
                  <a:lnTo>
                    <a:pt x="347" y="120"/>
                  </a:lnTo>
                  <a:lnTo>
                    <a:pt x="413" y="98"/>
                  </a:lnTo>
                  <a:lnTo>
                    <a:pt x="451" y="40"/>
                  </a:lnTo>
                  <a:lnTo>
                    <a:pt x="489" y="0"/>
                  </a:lnTo>
                  <a:lnTo>
                    <a:pt x="519" y="30"/>
                  </a:lnTo>
                  <a:lnTo>
                    <a:pt x="541" y="30"/>
                  </a:lnTo>
                  <a:lnTo>
                    <a:pt x="579" y="44"/>
                  </a:lnTo>
                  <a:lnTo>
                    <a:pt x="635" y="48"/>
                  </a:lnTo>
                  <a:lnTo>
                    <a:pt x="671" y="74"/>
                  </a:lnTo>
                  <a:lnTo>
                    <a:pt x="713" y="90"/>
                  </a:lnTo>
                  <a:lnTo>
                    <a:pt x="756" y="86"/>
                  </a:lnTo>
                  <a:lnTo>
                    <a:pt x="814" y="74"/>
                  </a:lnTo>
                  <a:lnTo>
                    <a:pt x="860" y="74"/>
                  </a:lnTo>
                  <a:lnTo>
                    <a:pt x="904" y="70"/>
                  </a:lnTo>
                  <a:close/>
                </a:path>
              </a:pathLst>
            </a:custGeom>
            <a:solidFill>
              <a:srgbClr val="C00000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i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Freeform 31"/>
            <p:cNvSpPr>
              <a:spLocks/>
            </p:cNvSpPr>
            <p:nvPr/>
          </p:nvSpPr>
          <p:spPr bwMode="auto">
            <a:xfrm>
              <a:off x="3296" y="1228"/>
              <a:ext cx="417" cy="444"/>
            </a:xfrm>
            <a:custGeom>
              <a:avLst/>
              <a:gdLst/>
              <a:ahLst/>
              <a:cxnLst>
                <a:cxn ang="0">
                  <a:pos x="568" y="180"/>
                </a:cxn>
                <a:cxn ang="0">
                  <a:pos x="552" y="162"/>
                </a:cxn>
                <a:cxn ang="0">
                  <a:pos x="520" y="162"/>
                </a:cxn>
                <a:cxn ang="0">
                  <a:pos x="480" y="154"/>
                </a:cxn>
                <a:cxn ang="0">
                  <a:pos x="411" y="132"/>
                </a:cxn>
                <a:cxn ang="0">
                  <a:pos x="381" y="100"/>
                </a:cxn>
                <a:cxn ang="0">
                  <a:pos x="369" y="92"/>
                </a:cxn>
                <a:cxn ang="0">
                  <a:pos x="359" y="108"/>
                </a:cxn>
                <a:cxn ang="0">
                  <a:pos x="351" y="138"/>
                </a:cxn>
                <a:cxn ang="0">
                  <a:pos x="325" y="112"/>
                </a:cxn>
                <a:cxn ang="0">
                  <a:pos x="321" y="96"/>
                </a:cxn>
                <a:cxn ang="0">
                  <a:pos x="343" y="78"/>
                </a:cxn>
                <a:cxn ang="0">
                  <a:pos x="347" y="74"/>
                </a:cxn>
                <a:cxn ang="0">
                  <a:pos x="321" y="18"/>
                </a:cxn>
                <a:cxn ang="0">
                  <a:pos x="291" y="28"/>
                </a:cxn>
                <a:cxn ang="0">
                  <a:pos x="257" y="28"/>
                </a:cxn>
                <a:cxn ang="0">
                  <a:pos x="211" y="0"/>
                </a:cxn>
                <a:cxn ang="0">
                  <a:pos x="205" y="28"/>
                </a:cxn>
                <a:cxn ang="0">
                  <a:pos x="197" y="52"/>
                </a:cxn>
                <a:cxn ang="0">
                  <a:pos x="175" y="60"/>
                </a:cxn>
                <a:cxn ang="0">
                  <a:pos x="157" y="74"/>
                </a:cxn>
                <a:cxn ang="0">
                  <a:pos x="149" y="104"/>
                </a:cxn>
                <a:cxn ang="0">
                  <a:pos x="143" y="124"/>
                </a:cxn>
                <a:cxn ang="0">
                  <a:pos x="105" y="150"/>
                </a:cxn>
                <a:cxn ang="0">
                  <a:pos x="97" y="180"/>
                </a:cxn>
                <a:cxn ang="0">
                  <a:pos x="79" y="192"/>
                </a:cxn>
                <a:cxn ang="0">
                  <a:pos x="59" y="202"/>
                </a:cxn>
                <a:cxn ang="0">
                  <a:pos x="57" y="236"/>
                </a:cxn>
                <a:cxn ang="0">
                  <a:pos x="41" y="258"/>
                </a:cxn>
                <a:cxn ang="0">
                  <a:pos x="23" y="292"/>
                </a:cxn>
                <a:cxn ang="0">
                  <a:pos x="27" y="314"/>
                </a:cxn>
                <a:cxn ang="0">
                  <a:pos x="0" y="330"/>
                </a:cxn>
                <a:cxn ang="0">
                  <a:pos x="8" y="358"/>
                </a:cxn>
                <a:cxn ang="0">
                  <a:pos x="4" y="391"/>
                </a:cxn>
                <a:cxn ang="0">
                  <a:pos x="41" y="419"/>
                </a:cxn>
                <a:cxn ang="0">
                  <a:pos x="65" y="437"/>
                </a:cxn>
                <a:cxn ang="0">
                  <a:pos x="97" y="421"/>
                </a:cxn>
                <a:cxn ang="0">
                  <a:pos x="135" y="441"/>
                </a:cxn>
                <a:cxn ang="0">
                  <a:pos x="153" y="467"/>
                </a:cxn>
                <a:cxn ang="0">
                  <a:pos x="161" y="495"/>
                </a:cxn>
                <a:cxn ang="0">
                  <a:pos x="211" y="505"/>
                </a:cxn>
                <a:cxn ang="0">
                  <a:pos x="231" y="517"/>
                </a:cxn>
                <a:cxn ang="0">
                  <a:pos x="225" y="551"/>
                </a:cxn>
                <a:cxn ang="0">
                  <a:pos x="193" y="557"/>
                </a:cxn>
                <a:cxn ang="0">
                  <a:pos x="189" y="607"/>
                </a:cxn>
                <a:cxn ang="0">
                  <a:pos x="269" y="607"/>
                </a:cxn>
                <a:cxn ang="0">
                  <a:pos x="321" y="635"/>
                </a:cxn>
                <a:cxn ang="0">
                  <a:pos x="369" y="551"/>
                </a:cxn>
                <a:cxn ang="0">
                  <a:pos x="333" y="525"/>
                </a:cxn>
                <a:cxn ang="0">
                  <a:pos x="343" y="435"/>
                </a:cxn>
                <a:cxn ang="0">
                  <a:pos x="422" y="328"/>
                </a:cxn>
                <a:cxn ang="0">
                  <a:pos x="428" y="300"/>
                </a:cxn>
                <a:cxn ang="0">
                  <a:pos x="494" y="278"/>
                </a:cxn>
                <a:cxn ang="0">
                  <a:pos x="532" y="218"/>
                </a:cxn>
                <a:cxn ang="0">
                  <a:pos x="568" y="180"/>
                </a:cxn>
              </a:cxnLst>
              <a:rect l="0" t="0" r="r" b="b"/>
              <a:pathLst>
                <a:path w="568" h="635">
                  <a:moveTo>
                    <a:pt x="568" y="180"/>
                  </a:moveTo>
                  <a:lnTo>
                    <a:pt x="552" y="162"/>
                  </a:lnTo>
                  <a:lnTo>
                    <a:pt x="520" y="162"/>
                  </a:lnTo>
                  <a:lnTo>
                    <a:pt x="480" y="154"/>
                  </a:lnTo>
                  <a:lnTo>
                    <a:pt x="411" y="132"/>
                  </a:lnTo>
                  <a:lnTo>
                    <a:pt x="381" y="100"/>
                  </a:lnTo>
                  <a:lnTo>
                    <a:pt x="369" y="92"/>
                  </a:lnTo>
                  <a:lnTo>
                    <a:pt x="359" y="108"/>
                  </a:lnTo>
                  <a:lnTo>
                    <a:pt x="351" y="138"/>
                  </a:lnTo>
                  <a:lnTo>
                    <a:pt x="325" y="112"/>
                  </a:lnTo>
                  <a:lnTo>
                    <a:pt x="321" y="96"/>
                  </a:lnTo>
                  <a:lnTo>
                    <a:pt x="343" y="78"/>
                  </a:lnTo>
                  <a:lnTo>
                    <a:pt x="347" y="74"/>
                  </a:lnTo>
                  <a:lnTo>
                    <a:pt x="321" y="18"/>
                  </a:lnTo>
                  <a:lnTo>
                    <a:pt x="291" y="28"/>
                  </a:lnTo>
                  <a:lnTo>
                    <a:pt x="257" y="28"/>
                  </a:lnTo>
                  <a:lnTo>
                    <a:pt x="211" y="0"/>
                  </a:lnTo>
                  <a:lnTo>
                    <a:pt x="205" y="28"/>
                  </a:lnTo>
                  <a:lnTo>
                    <a:pt x="197" y="52"/>
                  </a:lnTo>
                  <a:lnTo>
                    <a:pt x="175" y="60"/>
                  </a:lnTo>
                  <a:lnTo>
                    <a:pt x="157" y="74"/>
                  </a:lnTo>
                  <a:lnTo>
                    <a:pt x="149" y="104"/>
                  </a:lnTo>
                  <a:lnTo>
                    <a:pt x="143" y="124"/>
                  </a:lnTo>
                  <a:lnTo>
                    <a:pt x="105" y="150"/>
                  </a:lnTo>
                  <a:lnTo>
                    <a:pt x="97" y="180"/>
                  </a:lnTo>
                  <a:lnTo>
                    <a:pt x="79" y="192"/>
                  </a:lnTo>
                  <a:lnTo>
                    <a:pt x="59" y="202"/>
                  </a:lnTo>
                  <a:lnTo>
                    <a:pt x="57" y="236"/>
                  </a:lnTo>
                  <a:lnTo>
                    <a:pt x="41" y="258"/>
                  </a:lnTo>
                  <a:lnTo>
                    <a:pt x="23" y="292"/>
                  </a:lnTo>
                  <a:lnTo>
                    <a:pt x="27" y="314"/>
                  </a:lnTo>
                  <a:lnTo>
                    <a:pt x="0" y="330"/>
                  </a:lnTo>
                  <a:lnTo>
                    <a:pt x="8" y="358"/>
                  </a:lnTo>
                  <a:lnTo>
                    <a:pt x="4" y="391"/>
                  </a:lnTo>
                  <a:lnTo>
                    <a:pt x="41" y="419"/>
                  </a:lnTo>
                  <a:lnTo>
                    <a:pt x="65" y="437"/>
                  </a:lnTo>
                  <a:lnTo>
                    <a:pt x="97" y="421"/>
                  </a:lnTo>
                  <a:lnTo>
                    <a:pt x="135" y="441"/>
                  </a:lnTo>
                  <a:lnTo>
                    <a:pt x="153" y="467"/>
                  </a:lnTo>
                  <a:lnTo>
                    <a:pt x="161" y="495"/>
                  </a:lnTo>
                  <a:lnTo>
                    <a:pt x="211" y="505"/>
                  </a:lnTo>
                  <a:lnTo>
                    <a:pt x="231" y="517"/>
                  </a:lnTo>
                  <a:lnTo>
                    <a:pt x="225" y="551"/>
                  </a:lnTo>
                  <a:lnTo>
                    <a:pt x="193" y="557"/>
                  </a:lnTo>
                  <a:lnTo>
                    <a:pt x="189" y="607"/>
                  </a:lnTo>
                  <a:lnTo>
                    <a:pt x="269" y="607"/>
                  </a:lnTo>
                  <a:lnTo>
                    <a:pt x="321" y="635"/>
                  </a:lnTo>
                  <a:lnTo>
                    <a:pt x="369" y="551"/>
                  </a:lnTo>
                  <a:lnTo>
                    <a:pt x="333" y="525"/>
                  </a:lnTo>
                  <a:lnTo>
                    <a:pt x="343" y="435"/>
                  </a:lnTo>
                  <a:lnTo>
                    <a:pt x="422" y="328"/>
                  </a:lnTo>
                  <a:lnTo>
                    <a:pt x="428" y="300"/>
                  </a:lnTo>
                  <a:lnTo>
                    <a:pt x="494" y="278"/>
                  </a:lnTo>
                  <a:lnTo>
                    <a:pt x="532" y="218"/>
                  </a:lnTo>
                  <a:lnTo>
                    <a:pt x="568" y="180"/>
                  </a:lnTo>
                  <a:close/>
                </a:path>
              </a:pathLst>
            </a:custGeom>
            <a:solidFill>
              <a:srgbClr val="C00000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i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9" name="Freeform 32"/>
            <p:cNvSpPr>
              <a:spLocks/>
            </p:cNvSpPr>
            <p:nvPr/>
          </p:nvSpPr>
          <p:spPr bwMode="auto">
            <a:xfrm>
              <a:off x="3104" y="1196"/>
              <a:ext cx="347" cy="308"/>
            </a:xfrm>
            <a:custGeom>
              <a:avLst/>
              <a:gdLst/>
              <a:ahLst/>
              <a:cxnLst>
                <a:cxn ang="0">
                  <a:pos x="473" y="45"/>
                </a:cxn>
                <a:cxn ang="0">
                  <a:pos x="459" y="35"/>
                </a:cxn>
                <a:cxn ang="0">
                  <a:pos x="421" y="67"/>
                </a:cxn>
                <a:cxn ang="0">
                  <a:pos x="381" y="67"/>
                </a:cxn>
                <a:cxn ang="0">
                  <a:pos x="363" y="79"/>
                </a:cxn>
                <a:cxn ang="0">
                  <a:pos x="333" y="79"/>
                </a:cxn>
                <a:cxn ang="0">
                  <a:pos x="287" y="53"/>
                </a:cxn>
                <a:cxn ang="0">
                  <a:pos x="254" y="35"/>
                </a:cxn>
                <a:cxn ang="0">
                  <a:pos x="224" y="41"/>
                </a:cxn>
                <a:cxn ang="0">
                  <a:pos x="138" y="0"/>
                </a:cxn>
                <a:cxn ang="0">
                  <a:pos x="112" y="19"/>
                </a:cxn>
                <a:cxn ang="0">
                  <a:pos x="92" y="23"/>
                </a:cxn>
                <a:cxn ang="0">
                  <a:pos x="84" y="41"/>
                </a:cxn>
                <a:cxn ang="0">
                  <a:pos x="92" y="53"/>
                </a:cxn>
                <a:cxn ang="0">
                  <a:pos x="88" y="67"/>
                </a:cxn>
                <a:cxn ang="0">
                  <a:pos x="34" y="55"/>
                </a:cxn>
                <a:cxn ang="0">
                  <a:pos x="10" y="71"/>
                </a:cxn>
                <a:cxn ang="0">
                  <a:pos x="0" y="93"/>
                </a:cxn>
                <a:cxn ang="0">
                  <a:pos x="4" y="123"/>
                </a:cxn>
                <a:cxn ang="0">
                  <a:pos x="40" y="167"/>
                </a:cxn>
                <a:cxn ang="0">
                  <a:pos x="30" y="201"/>
                </a:cxn>
                <a:cxn ang="0">
                  <a:pos x="66" y="235"/>
                </a:cxn>
                <a:cxn ang="0">
                  <a:pos x="64" y="255"/>
                </a:cxn>
                <a:cxn ang="0">
                  <a:pos x="22" y="267"/>
                </a:cxn>
                <a:cxn ang="0">
                  <a:pos x="30" y="309"/>
                </a:cxn>
                <a:cxn ang="0">
                  <a:pos x="62" y="317"/>
                </a:cxn>
                <a:cxn ang="0">
                  <a:pos x="76" y="365"/>
                </a:cxn>
                <a:cxn ang="0">
                  <a:pos x="142" y="373"/>
                </a:cxn>
                <a:cxn ang="0">
                  <a:pos x="168" y="395"/>
                </a:cxn>
                <a:cxn ang="0">
                  <a:pos x="200" y="426"/>
                </a:cxn>
                <a:cxn ang="0">
                  <a:pos x="218" y="424"/>
                </a:cxn>
                <a:cxn ang="0">
                  <a:pos x="270" y="442"/>
                </a:cxn>
                <a:cxn ang="0">
                  <a:pos x="273" y="410"/>
                </a:cxn>
                <a:cxn ang="0">
                  <a:pos x="266" y="375"/>
                </a:cxn>
                <a:cxn ang="0">
                  <a:pos x="293" y="361"/>
                </a:cxn>
                <a:cxn ang="0">
                  <a:pos x="287" y="339"/>
                </a:cxn>
                <a:cxn ang="0">
                  <a:pos x="309" y="297"/>
                </a:cxn>
                <a:cxn ang="0">
                  <a:pos x="317" y="283"/>
                </a:cxn>
                <a:cxn ang="0">
                  <a:pos x="321" y="249"/>
                </a:cxn>
                <a:cxn ang="0">
                  <a:pos x="363" y="227"/>
                </a:cxn>
                <a:cxn ang="0">
                  <a:pos x="367" y="197"/>
                </a:cxn>
                <a:cxn ang="0">
                  <a:pos x="399" y="177"/>
                </a:cxn>
                <a:cxn ang="0">
                  <a:pos x="411" y="159"/>
                </a:cxn>
                <a:cxn ang="0">
                  <a:pos x="417" y="121"/>
                </a:cxn>
                <a:cxn ang="0">
                  <a:pos x="441" y="105"/>
                </a:cxn>
                <a:cxn ang="0">
                  <a:pos x="461" y="99"/>
                </a:cxn>
                <a:cxn ang="0">
                  <a:pos x="473" y="45"/>
                </a:cxn>
              </a:cxnLst>
              <a:rect l="0" t="0" r="r" b="b"/>
              <a:pathLst>
                <a:path w="473" h="442">
                  <a:moveTo>
                    <a:pt x="473" y="45"/>
                  </a:moveTo>
                  <a:lnTo>
                    <a:pt x="459" y="35"/>
                  </a:lnTo>
                  <a:lnTo>
                    <a:pt x="421" y="67"/>
                  </a:lnTo>
                  <a:lnTo>
                    <a:pt x="381" y="67"/>
                  </a:lnTo>
                  <a:lnTo>
                    <a:pt x="363" y="79"/>
                  </a:lnTo>
                  <a:lnTo>
                    <a:pt x="333" y="79"/>
                  </a:lnTo>
                  <a:lnTo>
                    <a:pt x="287" y="53"/>
                  </a:lnTo>
                  <a:lnTo>
                    <a:pt x="254" y="35"/>
                  </a:lnTo>
                  <a:lnTo>
                    <a:pt x="224" y="41"/>
                  </a:lnTo>
                  <a:lnTo>
                    <a:pt x="138" y="0"/>
                  </a:lnTo>
                  <a:lnTo>
                    <a:pt x="112" y="19"/>
                  </a:lnTo>
                  <a:lnTo>
                    <a:pt x="92" y="23"/>
                  </a:lnTo>
                  <a:lnTo>
                    <a:pt x="84" y="41"/>
                  </a:lnTo>
                  <a:lnTo>
                    <a:pt x="92" y="53"/>
                  </a:lnTo>
                  <a:lnTo>
                    <a:pt x="88" y="67"/>
                  </a:lnTo>
                  <a:lnTo>
                    <a:pt x="34" y="55"/>
                  </a:lnTo>
                  <a:lnTo>
                    <a:pt x="10" y="71"/>
                  </a:lnTo>
                  <a:lnTo>
                    <a:pt x="0" y="93"/>
                  </a:lnTo>
                  <a:lnTo>
                    <a:pt x="4" y="123"/>
                  </a:lnTo>
                  <a:lnTo>
                    <a:pt x="40" y="167"/>
                  </a:lnTo>
                  <a:lnTo>
                    <a:pt x="30" y="201"/>
                  </a:lnTo>
                  <a:lnTo>
                    <a:pt x="66" y="235"/>
                  </a:lnTo>
                  <a:lnTo>
                    <a:pt x="64" y="255"/>
                  </a:lnTo>
                  <a:lnTo>
                    <a:pt x="22" y="267"/>
                  </a:lnTo>
                  <a:lnTo>
                    <a:pt x="30" y="309"/>
                  </a:lnTo>
                  <a:lnTo>
                    <a:pt x="62" y="317"/>
                  </a:lnTo>
                  <a:lnTo>
                    <a:pt x="76" y="365"/>
                  </a:lnTo>
                  <a:lnTo>
                    <a:pt x="142" y="373"/>
                  </a:lnTo>
                  <a:lnTo>
                    <a:pt x="168" y="395"/>
                  </a:lnTo>
                  <a:lnTo>
                    <a:pt x="200" y="426"/>
                  </a:lnTo>
                  <a:lnTo>
                    <a:pt x="218" y="424"/>
                  </a:lnTo>
                  <a:lnTo>
                    <a:pt x="270" y="442"/>
                  </a:lnTo>
                  <a:lnTo>
                    <a:pt x="273" y="410"/>
                  </a:lnTo>
                  <a:lnTo>
                    <a:pt x="266" y="375"/>
                  </a:lnTo>
                  <a:lnTo>
                    <a:pt x="293" y="361"/>
                  </a:lnTo>
                  <a:lnTo>
                    <a:pt x="287" y="339"/>
                  </a:lnTo>
                  <a:lnTo>
                    <a:pt x="309" y="297"/>
                  </a:lnTo>
                  <a:lnTo>
                    <a:pt x="317" y="283"/>
                  </a:lnTo>
                  <a:lnTo>
                    <a:pt x="321" y="249"/>
                  </a:lnTo>
                  <a:lnTo>
                    <a:pt x="363" y="227"/>
                  </a:lnTo>
                  <a:lnTo>
                    <a:pt x="367" y="197"/>
                  </a:lnTo>
                  <a:lnTo>
                    <a:pt x="399" y="177"/>
                  </a:lnTo>
                  <a:lnTo>
                    <a:pt x="411" y="159"/>
                  </a:lnTo>
                  <a:lnTo>
                    <a:pt x="417" y="121"/>
                  </a:lnTo>
                  <a:lnTo>
                    <a:pt x="441" y="105"/>
                  </a:lnTo>
                  <a:lnTo>
                    <a:pt x="461" y="99"/>
                  </a:lnTo>
                  <a:lnTo>
                    <a:pt x="473" y="45"/>
                  </a:lnTo>
                  <a:close/>
                </a:path>
              </a:pathLst>
            </a:custGeom>
            <a:solidFill>
              <a:srgbClr val="C00000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i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Freeform 33"/>
            <p:cNvSpPr>
              <a:spLocks/>
            </p:cNvSpPr>
            <p:nvPr/>
          </p:nvSpPr>
          <p:spPr bwMode="auto">
            <a:xfrm>
              <a:off x="3132" y="1452"/>
              <a:ext cx="334" cy="213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100" y="6"/>
                </a:cxn>
                <a:cxn ang="0">
                  <a:pos x="130" y="28"/>
                </a:cxn>
                <a:cxn ang="0">
                  <a:pos x="158" y="59"/>
                </a:cxn>
                <a:cxn ang="0">
                  <a:pos x="182" y="59"/>
                </a:cxn>
                <a:cxn ang="0">
                  <a:pos x="237" y="75"/>
                </a:cxn>
                <a:cxn ang="0">
                  <a:pos x="289" y="117"/>
                </a:cxn>
                <a:cxn ang="0">
                  <a:pos x="321" y="99"/>
                </a:cxn>
                <a:cxn ang="0">
                  <a:pos x="365" y="121"/>
                </a:cxn>
                <a:cxn ang="0">
                  <a:pos x="377" y="147"/>
                </a:cxn>
                <a:cxn ang="0">
                  <a:pos x="387" y="175"/>
                </a:cxn>
                <a:cxn ang="0">
                  <a:pos x="437" y="183"/>
                </a:cxn>
                <a:cxn ang="0">
                  <a:pos x="455" y="197"/>
                </a:cxn>
                <a:cxn ang="0">
                  <a:pos x="447" y="233"/>
                </a:cxn>
                <a:cxn ang="0">
                  <a:pos x="417" y="239"/>
                </a:cxn>
                <a:cxn ang="0">
                  <a:pos x="413" y="279"/>
                </a:cxn>
                <a:cxn ang="0">
                  <a:pos x="391" y="305"/>
                </a:cxn>
                <a:cxn ang="0">
                  <a:pos x="365" y="305"/>
                </a:cxn>
                <a:cxn ang="0">
                  <a:pos x="333" y="291"/>
                </a:cxn>
                <a:cxn ang="0">
                  <a:pos x="329" y="245"/>
                </a:cxn>
                <a:cxn ang="0">
                  <a:pos x="325" y="227"/>
                </a:cxn>
                <a:cxn ang="0">
                  <a:pos x="200" y="227"/>
                </a:cxn>
                <a:cxn ang="0">
                  <a:pos x="186" y="259"/>
                </a:cxn>
                <a:cxn ang="0">
                  <a:pos x="170" y="283"/>
                </a:cxn>
                <a:cxn ang="0">
                  <a:pos x="138" y="291"/>
                </a:cxn>
                <a:cxn ang="0">
                  <a:pos x="122" y="283"/>
                </a:cxn>
                <a:cxn ang="0">
                  <a:pos x="122" y="245"/>
                </a:cxn>
                <a:cxn ang="0">
                  <a:pos x="116" y="227"/>
                </a:cxn>
                <a:cxn ang="0">
                  <a:pos x="100" y="223"/>
                </a:cxn>
                <a:cxn ang="0">
                  <a:pos x="78" y="243"/>
                </a:cxn>
                <a:cxn ang="0">
                  <a:pos x="78" y="279"/>
                </a:cxn>
                <a:cxn ang="0">
                  <a:pos x="54" y="291"/>
                </a:cxn>
                <a:cxn ang="0">
                  <a:pos x="34" y="291"/>
                </a:cxn>
                <a:cxn ang="0">
                  <a:pos x="36" y="233"/>
                </a:cxn>
                <a:cxn ang="0">
                  <a:pos x="18" y="189"/>
                </a:cxn>
                <a:cxn ang="0">
                  <a:pos x="0" y="163"/>
                </a:cxn>
                <a:cxn ang="0">
                  <a:pos x="8" y="137"/>
                </a:cxn>
                <a:cxn ang="0">
                  <a:pos x="36" y="115"/>
                </a:cxn>
                <a:cxn ang="0">
                  <a:pos x="30" y="77"/>
                </a:cxn>
                <a:cxn ang="0">
                  <a:pos x="12" y="43"/>
                </a:cxn>
                <a:cxn ang="0">
                  <a:pos x="14" y="26"/>
                </a:cxn>
                <a:cxn ang="0">
                  <a:pos x="38" y="0"/>
                </a:cxn>
              </a:cxnLst>
              <a:rect l="0" t="0" r="r" b="b"/>
              <a:pathLst>
                <a:path w="455" h="305">
                  <a:moveTo>
                    <a:pt x="38" y="0"/>
                  </a:moveTo>
                  <a:lnTo>
                    <a:pt x="100" y="6"/>
                  </a:lnTo>
                  <a:lnTo>
                    <a:pt x="130" y="28"/>
                  </a:lnTo>
                  <a:lnTo>
                    <a:pt x="158" y="59"/>
                  </a:lnTo>
                  <a:lnTo>
                    <a:pt x="182" y="59"/>
                  </a:lnTo>
                  <a:lnTo>
                    <a:pt x="237" y="75"/>
                  </a:lnTo>
                  <a:lnTo>
                    <a:pt x="289" y="117"/>
                  </a:lnTo>
                  <a:lnTo>
                    <a:pt x="321" y="99"/>
                  </a:lnTo>
                  <a:lnTo>
                    <a:pt x="365" y="121"/>
                  </a:lnTo>
                  <a:lnTo>
                    <a:pt x="377" y="147"/>
                  </a:lnTo>
                  <a:lnTo>
                    <a:pt x="387" y="175"/>
                  </a:lnTo>
                  <a:lnTo>
                    <a:pt x="437" y="183"/>
                  </a:lnTo>
                  <a:lnTo>
                    <a:pt x="455" y="197"/>
                  </a:lnTo>
                  <a:lnTo>
                    <a:pt x="447" y="233"/>
                  </a:lnTo>
                  <a:lnTo>
                    <a:pt x="417" y="239"/>
                  </a:lnTo>
                  <a:lnTo>
                    <a:pt x="413" y="279"/>
                  </a:lnTo>
                  <a:lnTo>
                    <a:pt x="391" y="305"/>
                  </a:lnTo>
                  <a:lnTo>
                    <a:pt x="365" y="305"/>
                  </a:lnTo>
                  <a:lnTo>
                    <a:pt x="333" y="291"/>
                  </a:lnTo>
                  <a:lnTo>
                    <a:pt x="329" y="245"/>
                  </a:lnTo>
                  <a:lnTo>
                    <a:pt x="325" y="227"/>
                  </a:lnTo>
                  <a:lnTo>
                    <a:pt x="200" y="227"/>
                  </a:lnTo>
                  <a:lnTo>
                    <a:pt x="186" y="259"/>
                  </a:lnTo>
                  <a:lnTo>
                    <a:pt x="170" y="283"/>
                  </a:lnTo>
                  <a:lnTo>
                    <a:pt x="138" y="291"/>
                  </a:lnTo>
                  <a:lnTo>
                    <a:pt x="122" y="283"/>
                  </a:lnTo>
                  <a:lnTo>
                    <a:pt x="122" y="245"/>
                  </a:lnTo>
                  <a:lnTo>
                    <a:pt x="116" y="227"/>
                  </a:lnTo>
                  <a:lnTo>
                    <a:pt x="100" y="223"/>
                  </a:lnTo>
                  <a:lnTo>
                    <a:pt x="78" y="243"/>
                  </a:lnTo>
                  <a:lnTo>
                    <a:pt x="78" y="279"/>
                  </a:lnTo>
                  <a:lnTo>
                    <a:pt x="54" y="291"/>
                  </a:lnTo>
                  <a:lnTo>
                    <a:pt x="34" y="291"/>
                  </a:lnTo>
                  <a:lnTo>
                    <a:pt x="36" y="233"/>
                  </a:lnTo>
                  <a:lnTo>
                    <a:pt x="18" y="189"/>
                  </a:lnTo>
                  <a:lnTo>
                    <a:pt x="0" y="163"/>
                  </a:lnTo>
                  <a:lnTo>
                    <a:pt x="8" y="137"/>
                  </a:lnTo>
                  <a:lnTo>
                    <a:pt x="36" y="115"/>
                  </a:lnTo>
                  <a:lnTo>
                    <a:pt x="30" y="77"/>
                  </a:lnTo>
                  <a:lnTo>
                    <a:pt x="12" y="43"/>
                  </a:lnTo>
                  <a:lnTo>
                    <a:pt x="14" y="26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C00000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i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Freeform 34"/>
            <p:cNvSpPr>
              <a:spLocks/>
            </p:cNvSpPr>
            <p:nvPr/>
          </p:nvSpPr>
          <p:spPr bwMode="auto">
            <a:xfrm>
              <a:off x="2194" y="1123"/>
              <a:ext cx="613" cy="226"/>
            </a:xfrm>
            <a:custGeom>
              <a:avLst/>
              <a:gdLst/>
              <a:ahLst/>
              <a:cxnLst>
                <a:cxn ang="0">
                  <a:pos x="58" y="18"/>
                </a:cxn>
                <a:cxn ang="0">
                  <a:pos x="62" y="38"/>
                </a:cxn>
                <a:cxn ang="0">
                  <a:pos x="38" y="58"/>
                </a:cxn>
                <a:cxn ang="0">
                  <a:pos x="16" y="90"/>
                </a:cxn>
                <a:cxn ang="0">
                  <a:pos x="0" y="145"/>
                </a:cxn>
                <a:cxn ang="0">
                  <a:pos x="30" y="187"/>
                </a:cxn>
                <a:cxn ang="0">
                  <a:pos x="36" y="219"/>
                </a:cxn>
                <a:cxn ang="0">
                  <a:pos x="30" y="251"/>
                </a:cxn>
                <a:cxn ang="0">
                  <a:pos x="22" y="271"/>
                </a:cxn>
                <a:cxn ang="0">
                  <a:pos x="28" y="297"/>
                </a:cxn>
                <a:cxn ang="0">
                  <a:pos x="44" y="321"/>
                </a:cxn>
                <a:cxn ang="0">
                  <a:pos x="100" y="321"/>
                </a:cxn>
                <a:cxn ang="0">
                  <a:pos x="162" y="323"/>
                </a:cxn>
                <a:cxn ang="0">
                  <a:pos x="194" y="309"/>
                </a:cxn>
                <a:cxn ang="0">
                  <a:pos x="216" y="269"/>
                </a:cxn>
                <a:cxn ang="0">
                  <a:pos x="236" y="277"/>
                </a:cxn>
                <a:cxn ang="0">
                  <a:pos x="258" y="293"/>
                </a:cxn>
                <a:cxn ang="0">
                  <a:pos x="307" y="263"/>
                </a:cxn>
                <a:cxn ang="0">
                  <a:pos x="333" y="275"/>
                </a:cxn>
                <a:cxn ang="0">
                  <a:pos x="369" y="301"/>
                </a:cxn>
                <a:cxn ang="0">
                  <a:pos x="397" y="309"/>
                </a:cxn>
                <a:cxn ang="0">
                  <a:pos x="461" y="267"/>
                </a:cxn>
                <a:cxn ang="0">
                  <a:pos x="485" y="273"/>
                </a:cxn>
                <a:cxn ang="0">
                  <a:pos x="529" y="289"/>
                </a:cxn>
                <a:cxn ang="0">
                  <a:pos x="553" y="279"/>
                </a:cxn>
                <a:cxn ang="0">
                  <a:pos x="581" y="267"/>
                </a:cxn>
                <a:cxn ang="0">
                  <a:pos x="613" y="277"/>
                </a:cxn>
                <a:cxn ang="0">
                  <a:pos x="645" y="263"/>
                </a:cxn>
                <a:cxn ang="0">
                  <a:pos x="673" y="245"/>
                </a:cxn>
                <a:cxn ang="0">
                  <a:pos x="698" y="225"/>
                </a:cxn>
                <a:cxn ang="0">
                  <a:pos x="738" y="247"/>
                </a:cxn>
                <a:cxn ang="0">
                  <a:pos x="746" y="217"/>
                </a:cxn>
                <a:cxn ang="0">
                  <a:pos x="752" y="191"/>
                </a:cxn>
                <a:cxn ang="0">
                  <a:pos x="786" y="183"/>
                </a:cxn>
                <a:cxn ang="0">
                  <a:pos x="836" y="169"/>
                </a:cxn>
                <a:cxn ang="0">
                  <a:pos x="836" y="149"/>
                </a:cxn>
                <a:cxn ang="0">
                  <a:pos x="836" y="117"/>
                </a:cxn>
                <a:cxn ang="0">
                  <a:pos x="710" y="86"/>
                </a:cxn>
                <a:cxn ang="0">
                  <a:pos x="589" y="52"/>
                </a:cxn>
                <a:cxn ang="0">
                  <a:pos x="565" y="58"/>
                </a:cxn>
                <a:cxn ang="0">
                  <a:pos x="431" y="0"/>
                </a:cxn>
                <a:cxn ang="0">
                  <a:pos x="383" y="18"/>
                </a:cxn>
                <a:cxn ang="0">
                  <a:pos x="325" y="36"/>
                </a:cxn>
                <a:cxn ang="0">
                  <a:pos x="250" y="36"/>
                </a:cxn>
                <a:cxn ang="0">
                  <a:pos x="228" y="40"/>
                </a:cxn>
                <a:cxn ang="0">
                  <a:pos x="220" y="22"/>
                </a:cxn>
                <a:cxn ang="0">
                  <a:pos x="200" y="40"/>
                </a:cxn>
                <a:cxn ang="0">
                  <a:pos x="160" y="36"/>
                </a:cxn>
                <a:cxn ang="0">
                  <a:pos x="116" y="18"/>
                </a:cxn>
                <a:cxn ang="0">
                  <a:pos x="96" y="14"/>
                </a:cxn>
                <a:cxn ang="0">
                  <a:pos x="58" y="18"/>
                </a:cxn>
              </a:cxnLst>
              <a:rect l="0" t="0" r="r" b="b"/>
              <a:pathLst>
                <a:path w="836" h="323">
                  <a:moveTo>
                    <a:pt x="58" y="18"/>
                  </a:moveTo>
                  <a:lnTo>
                    <a:pt x="62" y="38"/>
                  </a:lnTo>
                  <a:lnTo>
                    <a:pt x="38" y="58"/>
                  </a:lnTo>
                  <a:lnTo>
                    <a:pt x="16" y="90"/>
                  </a:lnTo>
                  <a:lnTo>
                    <a:pt x="0" y="145"/>
                  </a:lnTo>
                  <a:lnTo>
                    <a:pt x="30" y="187"/>
                  </a:lnTo>
                  <a:lnTo>
                    <a:pt x="36" y="219"/>
                  </a:lnTo>
                  <a:lnTo>
                    <a:pt x="30" y="251"/>
                  </a:lnTo>
                  <a:lnTo>
                    <a:pt x="22" y="271"/>
                  </a:lnTo>
                  <a:lnTo>
                    <a:pt x="28" y="297"/>
                  </a:lnTo>
                  <a:lnTo>
                    <a:pt x="44" y="321"/>
                  </a:lnTo>
                  <a:lnTo>
                    <a:pt x="100" y="321"/>
                  </a:lnTo>
                  <a:lnTo>
                    <a:pt x="162" y="323"/>
                  </a:lnTo>
                  <a:lnTo>
                    <a:pt x="194" y="309"/>
                  </a:lnTo>
                  <a:lnTo>
                    <a:pt x="216" y="269"/>
                  </a:lnTo>
                  <a:lnTo>
                    <a:pt x="236" y="277"/>
                  </a:lnTo>
                  <a:lnTo>
                    <a:pt x="258" y="293"/>
                  </a:lnTo>
                  <a:lnTo>
                    <a:pt x="307" y="263"/>
                  </a:lnTo>
                  <a:lnTo>
                    <a:pt x="333" y="275"/>
                  </a:lnTo>
                  <a:lnTo>
                    <a:pt x="369" y="301"/>
                  </a:lnTo>
                  <a:lnTo>
                    <a:pt x="397" y="309"/>
                  </a:lnTo>
                  <a:lnTo>
                    <a:pt x="461" y="267"/>
                  </a:lnTo>
                  <a:lnTo>
                    <a:pt x="485" y="273"/>
                  </a:lnTo>
                  <a:lnTo>
                    <a:pt x="529" y="289"/>
                  </a:lnTo>
                  <a:lnTo>
                    <a:pt x="553" y="279"/>
                  </a:lnTo>
                  <a:lnTo>
                    <a:pt x="581" y="267"/>
                  </a:lnTo>
                  <a:lnTo>
                    <a:pt x="613" y="277"/>
                  </a:lnTo>
                  <a:lnTo>
                    <a:pt x="645" y="263"/>
                  </a:lnTo>
                  <a:lnTo>
                    <a:pt x="673" y="245"/>
                  </a:lnTo>
                  <a:lnTo>
                    <a:pt x="698" y="225"/>
                  </a:lnTo>
                  <a:lnTo>
                    <a:pt x="738" y="247"/>
                  </a:lnTo>
                  <a:lnTo>
                    <a:pt x="746" y="217"/>
                  </a:lnTo>
                  <a:lnTo>
                    <a:pt x="752" y="191"/>
                  </a:lnTo>
                  <a:lnTo>
                    <a:pt x="786" y="183"/>
                  </a:lnTo>
                  <a:lnTo>
                    <a:pt x="836" y="169"/>
                  </a:lnTo>
                  <a:lnTo>
                    <a:pt x="836" y="149"/>
                  </a:lnTo>
                  <a:lnTo>
                    <a:pt x="836" y="117"/>
                  </a:lnTo>
                  <a:lnTo>
                    <a:pt x="710" y="86"/>
                  </a:lnTo>
                  <a:lnTo>
                    <a:pt x="589" y="52"/>
                  </a:lnTo>
                  <a:lnTo>
                    <a:pt x="565" y="58"/>
                  </a:lnTo>
                  <a:lnTo>
                    <a:pt x="431" y="0"/>
                  </a:lnTo>
                  <a:lnTo>
                    <a:pt x="383" y="18"/>
                  </a:lnTo>
                  <a:lnTo>
                    <a:pt x="325" y="36"/>
                  </a:lnTo>
                  <a:lnTo>
                    <a:pt x="250" y="36"/>
                  </a:lnTo>
                  <a:lnTo>
                    <a:pt x="228" y="40"/>
                  </a:lnTo>
                  <a:lnTo>
                    <a:pt x="220" y="22"/>
                  </a:lnTo>
                  <a:lnTo>
                    <a:pt x="200" y="40"/>
                  </a:lnTo>
                  <a:lnTo>
                    <a:pt x="160" y="36"/>
                  </a:lnTo>
                  <a:lnTo>
                    <a:pt x="116" y="18"/>
                  </a:lnTo>
                  <a:lnTo>
                    <a:pt x="96" y="14"/>
                  </a:lnTo>
                  <a:lnTo>
                    <a:pt x="58" y="18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i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Freeform 35"/>
            <p:cNvSpPr>
              <a:spLocks/>
            </p:cNvSpPr>
            <p:nvPr/>
          </p:nvSpPr>
          <p:spPr bwMode="auto">
            <a:xfrm>
              <a:off x="2735" y="1178"/>
              <a:ext cx="397" cy="228"/>
            </a:xfrm>
            <a:custGeom>
              <a:avLst/>
              <a:gdLst/>
              <a:ahLst/>
              <a:cxnLst>
                <a:cxn ang="0">
                  <a:pos x="98" y="34"/>
                </a:cxn>
                <a:cxn ang="0">
                  <a:pos x="98" y="91"/>
                </a:cxn>
                <a:cxn ang="0">
                  <a:pos x="14" y="117"/>
                </a:cxn>
                <a:cxn ang="0">
                  <a:pos x="0" y="169"/>
                </a:cxn>
                <a:cxn ang="0">
                  <a:pos x="14" y="219"/>
                </a:cxn>
                <a:cxn ang="0">
                  <a:pos x="34" y="235"/>
                </a:cxn>
                <a:cxn ang="0">
                  <a:pos x="64" y="227"/>
                </a:cxn>
                <a:cxn ang="0">
                  <a:pos x="108" y="219"/>
                </a:cxn>
                <a:cxn ang="0">
                  <a:pos x="138" y="277"/>
                </a:cxn>
                <a:cxn ang="0">
                  <a:pos x="160" y="269"/>
                </a:cxn>
                <a:cxn ang="0">
                  <a:pos x="214" y="311"/>
                </a:cxn>
                <a:cxn ang="0">
                  <a:pos x="234" y="327"/>
                </a:cxn>
                <a:cxn ang="0">
                  <a:pos x="260" y="319"/>
                </a:cxn>
                <a:cxn ang="0">
                  <a:pos x="284" y="311"/>
                </a:cxn>
                <a:cxn ang="0">
                  <a:pos x="304" y="309"/>
                </a:cxn>
                <a:cxn ang="0">
                  <a:pos x="314" y="301"/>
                </a:cxn>
                <a:cxn ang="0">
                  <a:pos x="318" y="257"/>
                </a:cxn>
                <a:cxn ang="0">
                  <a:pos x="306" y="235"/>
                </a:cxn>
                <a:cxn ang="0">
                  <a:pos x="306" y="219"/>
                </a:cxn>
                <a:cxn ang="0">
                  <a:pos x="322" y="205"/>
                </a:cxn>
                <a:cxn ang="0">
                  <a:pos x="354" y="189"/>
                </a:cxn>
                <a:cxn ang="0">
                  <a:pos x="377" y="185"/>
                </a:cxn>
                <a:cxn ang="0">
                  <a:pos x="395" y="203"/>
                </a:cxn>
                <a:cxn ang="0">
                  <a:pos x="417" y="185"/>
                </a:cxn>
                <a:cxn ang="0">
                  <a:pos x="437" y="169"/>
                </a:cxn>
                <a:cxn ang="0">
                  <a:pos x="473" y="159"/>
                </a:cxn>
                <a:cxn ang="0">
                  <a:pos x="493" y="153"/>
                </a:cxn>
                <a:cxn ang="0">
                  <a:pos x="511" y="155"/>
                </a:cxn>
                <a:cxn ang="0">
                  <a:pos x="503" y="151"/>
                </a:cxn>
                <a:cxn ang="0">
                  <a:pos x="503" y="121"/>
                </a:cxn>
                <a:cxn ang="0">
                  <a:pos x="515" y="101"/>
                </a:cxn>
                <a:cxn ang="0">
                  <a:pos x="533" y="87"/>
                </a:cxn>
                <a:cxn ang="0">
                  <a:pos x="541" y="83"/>
                </a:cxn>
                <a:cxn ang="0">
                  <a:pos x="537" y="69"/>
                </a:cxn>
                <a:cxn ang="0">
                  <a:pos x="521" y="61"/>
                </a:cxn>
                <a:cxn ang="0">
                  <a:pos x="499" y="51"/>
                </a:cxn>
                <a:cxn ang="0">
                  <a:pos x="477" y="47"/>
                </a:cxn>
                <a:cxn ang="0">
                  <a:pos x="451" y="47"/>
                </a:cxn>
                <a:cxn ang="0">
                  <a:pos x="437" y="47"/>
                </a:cxn>
                <a:cxn ang="0">
                  <a:pos x="433" y="39"/>
                </a:cxn>
                <a:cxn ang="0">
                  <a:pos x="433" y="26"/>
                </a:cxn>
                <a:cxn ang="0">
                  <a:pos x="447" y="20"/>
                </a:cxn>
                <a:cxn ang="0">
                  <a:pos x="459" y="20"/>
                </a:cxn>
                <a:cxn ang="0">
                  <a:pos x="459" y="8"/>
                </a:cxn>
                <a:cxn ang="0">
                  <a:pos x="443" y="0"/>
                </a:cxn>
                <a:cxn ang="0">
                  <a:pos x="407" y="4"/>
                </a:cxn>
                <a:cxn ang="0">
                  <a:pos x="371" y="12"/>
                </a:cxn>
                <a:cxn ang="0">
                  <a:pos x="348" y="12"/>
                </a:cxn>
                <a:cxn ang="0">
                  <a:pos x="318" y="12"/>
                </a:cxn>
                <a:cxn ang="0">
                  <a:pos x="306" y="4"/>
                </a:cxn>
                <a:cxn ang="0">
                  <a:pos x="292" y="8"/>
                </a:cxn>
                <a:cxn ang="0">
                  <a:pos x="276" y="20"/>
                </a:cxn>
                <a:cxn ang="0">
                  <a:pos x="254" y="26"/>
                </a:cxn>
                <a:cxn ang="0">
                  <a:pos x="224" y="20"/>
                </a:cxn>
                <a:cxn ang="0">
                  <a:pos x="210" y="30"/>
                </a:cxn>
                <a:cxn ang="0">
                  <a:pos x="188" y="47"/>
                </a:cxn>
                <a:cxn ang="0">
                  <a:pos x="180" y="47"/>
                </a:cxn>
                <a:cxn ang="0">
                  <a:pos x="152" y="39"/>
                </a:cxn>
                <a:cxn ang="0">
                  <a:pos x="126" y="39"/>
                </a:cxn>
                <a:cxn ang="0">
                  <a:pos x="98" y="34"/>
                </a:cxn>
              </a:cxnLst>
              <a:rect l="0" t="0" r="r" b="b"/>
              <a:pathLst>
                <a:path w="541" h="327">
                  <a:moveTo>
                    <a:pt x="98" y="34"/>
                  </a:moveTo>
                  <a:lnTo>
                    <a:pt x="98" y="91"/>
                  </a:lnTo>
                  <a:lnTo>
                    <a:pt x="14" y="117"/>
                  </a:lnTo>
                  <a:lnTo>
                    <a:pt x="0" y="169"/>
                  </a:lnTo>
                  <a:lnTo>
                    <a:pt x="14" y="219"/>
                  </a:lnTo>
                  <a:lnTo>
                    <a:pt x="34" y="235"/>
                  </a:lnTo>
                  <a:lnTo>
                    <a:pt x="64" y="227"/>
                  </a:lnTo>
                  <a:lnTo>
                    <a:pt x="108" y="219"/>
                  </a:lnTo>
                  <a:lnTo>
                    <a:pt x="138" y="277"/>
                  </a:lnTo>
                  <a:lnTo>
                    <a:pt x="160" y="269"/>
                  </a:lnTo>
                  <a:lnTo>
                    <a:pt x="214" y="311"/>
                  </a:lnTo>
                  <a:lnTo>
                    <a:pt x="234" y="327"/>
                  </a:lnTo>
                  <a:lnTo>
                    <a:pt x="260" y="319"/>
                  </a:lnTo>
                  <a:lnTo>
                    <a:pt x="284" y="311"/>
                  </a:lnTo>
                  <a:lnTo>
                    <a:pt x="304" y="309"/>
                  </a:lnTo>
                  <a:lnTo>
                    <a:pt x="314" y="301"/>
                  </a:lnTo>
                  <a:lnTo>
                    <a:pt x="318" y="257"/>
                  </a:lnTo>
                  <a:lnTo>
                    <a:pt x="306" y="235"/>
                  </a:lnTo>
                  <a:lnTo>
                    <a:pt x="306" y="219"/>
                  </a:lnTo>
                  <a:lnTo>
                    <a:pt x="322" y="205"/>
                  </a:lnTo>
                  <a:lnTo>
                    <a:pt x="354" y="189"/>
                  </a:lnTo>
                  <a:lnTo>
                    <a:pt x="377" y="185"/>
                  </a:lnTo>
                  <a:lnTo>
                    <a:pt x="395" y="203"/>
                  </a:lnTo>
                  <a:lnTo>
                    <a:pt x="417" y="185"/>
                  </a:lnTo>
                  <a:lnTo>
                    <a:pt x="437" y="169"/>
                  </a:lnTo>
                  <a:lnTo>
                    <a:pt x="473" y="159"/>
                  </a:lnTo>
                  <a:lnTo>
                    <a:pt x="493" y="153"/>
                  </a:lnTo>
                  <a:lnTo>
                    <a:pt x="511" y="155"/>
                  </a:lnTo>
                  <a:lnTo>
                    <a:pt x="503" y="151"/>
                  </a:lnTo>
                  <a:lnTo>
                    <a:pt x="503" y="121"/>
                  </a:lnTo>
                  <a:lnTo>
                    <a:pt x="515" y="101"/>
                  </a:lnTo>
                  <a:lnTo>
                    <a:pt x="533" y="87"/>
                  </a:lnTo>
                  <a:lnTo>
                    <a:pt x="541" y="83"/>
                  </a:lnTo>
                  <a:lnTo>
                    <a:pt x="537" y="69"/>
                  </a:lnTo>
                  <a:lnTo>
                    <a:pt x="521" y="61"/>
                  </a:lnTo>
                  <a:lnTo>
                    <a:pt x="499" y="51"/>
                  </a:lnTo>
                  <a:lnTo>
                    <a:pt x="477" y="47"/>
                  </a:lnTo>
                  <a:lnTo>
                    <a:pt x="451" y="47"/>
                  </a:lnTo>
                  <a:lnTo>
                    <a:pt x="437" y="47"/>
                  </a:lnTo>
                  <a:lnTo>
                    <a:pt x="433" y="39"/>
                  </a:lnTo>
                  <a:lnTo>
                    <a:pt x="433" y="26"/>
                  </a:lnTo>
                  <a:lnTo>
                    <a:pt x="447" y="20"/>
                  </a:lnTo>
                  <a:lnTo>
                    <a:pt x="459" y="20"/>
                  </a:lnTo>
                  <a:lnTo>
                    <a:pt x="459" y="8"/>
                  </a:lnTo>
                  <a:lnTo>
                    <a:pt x="443" y="0"/>
                  </a:lnTo>
                  <a:lnTo>
                    <a:pt x="407" y="4"/>
                  </a:lnTo>
                  <a:lnTo>
                    <a:pt x="371" y="12"/>
                  </a:lnTo>
                  <a:lnTo>
                    <a:pt x="348" y="12"/>
                  </a:lnTo>
                  <a:lnTo>
                    <a:pt x="318" y="12"/>
                  </a:lnTo>
                  <a:lnTo>
                    <a:pt x="306" y="4"/>
                  </a:lnTo>
                  <a:lnTo>
                    <a:pt x="292" y="8"/>
                  </a:lnTo>
                  <a:lnTo>
                    <a:pt x="276" y="20"/>
                  </a:lnTo>
                  <a:lnTo>
                    <a:pt x="254" y="26"/>
                  </a:lnTo>
                  <a:lnTo>
                    <a:pt x="224" y="20"/>
                  </a:lnTo>
                  <a:lnTo>
                    <a:pt x="210" y="30"/>
                  </a:lnTo>
                  <a:lnTo>
                    <a:pt x="188" y="47"/>
                  </a:lnTo>
                  <a:lnTo>
                    <a:pt x="180" y="47"/>
                  </a:lnTo>
                  <a:lnTo>
                    <a:pt x="152" y="39"/>
                  </a:lnTo>
                  <a:lnTo>
                    <a:pt x="126" y="39"/>
                  </a:lnTo>
                  <a:lnTo>
                    <a:pt x="98" y="34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i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Freeform 36"/>
            <p:cNvSpPr>
              <a:spLocks/>
            </p:cNvSpPr>
            <p:nvPr/>
          </p:nvSpPr>
          <p:spPr bwMode="auto">
            <a:xfrm>
              <a:off x="1658" y="1063"/>
              <a:ext cx="604" cy="610"/>
            </a:xfrm>
            <a:custGeom>
              <a:avLst/>
              <a:gdLst/>
              <a:ahLst/>
              <a:cxnLst>
                <a:cxn ang="0">
                  <a:pos x="780" y="134"/>
                </a:cxn>
                <a:cxn ang="0">
                  <a:pos x="732" y="221"/>
                </a:cxn>
                <a:cxn ang="0">
                  <a:pos x="762" y="289"/>
                </a:cxn>
                <a:cxn ang="0">
                  <a:pos x="754" y="353"/>
                </a:cxn>
                <a:cxn ang="0">
                  <a:pos x="788" y="433"/>
                </a:cxn>
                <a:cxn ang="0">
                  <a:pos x="724" y="555"/>
                </a:cxn>
                <a:cxn ang="0">
                  <a:pos x="766" y="595"/>
                </a:cxn>
                <a:cxn ang="0">
                  <a:pos x="816" y="664"/>
                </a:cxn>
                <a:cxn ang="0">
                  <a:pos x="802" y="698"/>
                </a:cxn>
                <a:cxn ang="0">
                  <a:pos x="740" y="798"/>
                </a:cxn>
                <a:cxn ang="0">
                  <a:pos x="676" y="802"/>
                </a:cxn>
                <a:cxn ang="0">
                  <a:pos x="672" y="874"/>
                </a:cxn>
                <a:cxn ang="0">
                  <a:pos x="593" y="840"/>
                </a:cxn>
                <a:cxn ang="0">
                  <a:pos x="499" y="828"/>
                </a:cxn>
                <a:cxn ang="0">
                  <a:pos x="413" y="802"/>
                </a:cxn>
                <a:cxn ang="0">
                  <a:pos x="349" y="832"/>
                </a:cxn>
                <a:cxn ang="0">
                  <a:pos x="349" y="702"/>
                </a:cxn>
                <a:cxn ang="0">
                  <a:pos x="323" y="680"/>
                </a:cxn>
                <a:cxn ang="0">
                  <a:pos x="225" y="728"/>
                </a:cxn>
                <a:cxn ang="0">
                  <a:pos x="154" y="754"/>
                </a:cxn>
                <a:cxn ang="0">
                  <a:pos x="108" y="770"/>
                </a:cxn>
                <a:cxn ang="0">
                  <a:pos x="94" y="712"/>
                </a:cxn>
                <a:cxn ang="0">
                  <a:pos x="154" y="636"/>
                </a:cxn>
                <a:cxn ang="0">
                  <a:pos x="142" y="604"/>
                </a:cxn>
                <a:cxn ang="0">
                  <a:pos x="198" y="573"/>
                </a:cxn>
                <a:cxn ang="0">
                  <a:pos x="154" y="555"/>
                </a:cxn>
                <a:cxn ang="0">
                  <a:pos x="134" y="503"/>
                </a:cxn>
                <a:cxn ang="0">
                  <a:pos x="176" y="469"/>
                </a:cxn>
                <a:cxn ang="0">
                  <a:pos x="120" y="473"/>
                </a:cxn>
                <a:cxn ang="0">
                  <a:pos x="76" y="447"/>
                </a:cxn>
                <a:cxn ang="0">
                  <a:pos x="104" y="395"/>
                </a:cxn>
                <a:cxn ang="0">
                  <a:pos x="64" y="395"/>
                </a:cxn>
                <a:cxn ang="0">
                  <a:pos x="22" y="337"/>
                </a:cxn>
                <a:cxn ang="0">
                  <a:pos x="14" y="255"/>
                </a:cxn>
                <a:cxn ang="0">
                  <a:pos x="76" y="207"/>
                </a:cxn>
                <a:cxn ang="0">
                  <a:pos x="116" y="190"/>
                </a:cxn>
                <a:cxn ang="0">
                  <a:pos x="211" y="176"/>
                </a:cxn>
                <a:cxn ang="0">
                  <a:pos x="281" y="160"/>
                </a:cxn>
                <a:cxn ang="0">
                  <a:pos x="313" y="148"/>
                </a:cxn>
                <a:cxn ang="0">
                  <a:pos x="361" y="152"/>
                </a:cxn>
                <a:cxn ang="0">
                  <a:pos x="349" y="90"/>
                </a:cxn>
                <a:cxn ang="0">
                  <a:pos x="435" y="64"/>
                </a:cxn>
                <a:cxn ang="0">
                  <a:pos x="461" y="14"/>
                </a:cxn>
                <a:cxn ang="0">
                  <a:pos x="511" y="22"/>
                </a:cxn>
                <a:cxn ang="0">
                  <a:pos x="555" y="18"/>
                </a:cxn>
                <a:cxn ang="0">
                  <a:pos x="650" y="52"/>
                </a:cxn>
                <a:cxn ang="0">
                  <a:pos x="698" y="82"/>
                </a:cxn>
                <a:cxn ang="0">
                  <a:pos x="788" y="98"/>
                </a:cxn>
              </a:cxnLst>
              <a:rect l="0" t="0" r="r" b="b"/>
              <a:pathLst>
                <a:path w="824" h="874">
                  <a:moveTo>
                    <a:pt x="788" y="98"/>
                  </a:moveTo>
                  <a:lnTo>
                    <a:pt x="794" y="120"/>
                  </a:lnTo>
                  <a:lnTo>
                    <a:pt x="780" y="134"/>
                  </a:lnTo>
                  <a:lnTo>
                    <a:pt x="766" y="148"/>
                  </a:lnTo>
                  <a:lnTo>
                    <a:pt x="746" y="176"/>
                  </a:lnTo>
                  <a:lnTo>
                    <a:pt x="732" y="221"/>
                  </a:lnTo>
                  <a:lnTo>
                    <a:pt x="728" y="229"/>
                  </a:lnTo>
                  <a:lnTo>
                    <a:pt x="762" y="273"/>
                  </a:lnTo>
                  <a:lnTo>
                    <a:pt x="762" y="289"/>
                  </a:lnTo>
                  <a:lnTo>
                    <a:pt x="766" y="311"/>
                  </a:lnTo>
                  <a:lnTo>
                    <a:pt x="758" y="337"/>
                  </a:lnTo>
                  <a:lnTo>
                    <a:pt x="754" y="353"/>
                  </a:lnTo>
                  <a:lnTo>
                    <a:pt x="758" y="383"/>
                  </a:lnTo>
                  <a:lnTo>
                    <a:pt x="776" y="417"/>
                  </a:lnTo>
                  <a:lnTo>
                    <a:pt x="788" y="433"/>
                  </a:lnTo>
                  <a:lnTo>
                    <a:pt x="780" y="455"/>
                  </a:lnTo>
                  <a:lnTo>
                    <a:pt x="736" y="507"/>
                  </a:lnTo>
                  <a:lnTo>
                    <a:pt x="724" y="555"/>
                  </a:lnTo>
                  <a:lnTo>
                    <a:pt x="732" y="585"/>
                  </a:lnTo>
                  <a:lnTo>
                    <a:pt x="746" y="600"/>
                  </a:lnTo>
                  <a:lnTo>
                    <a:pt x="766" y="595"/>
                  </a:lnTo>
                  <a:lnTo>
                    <a:pt x="780" y="595"/>
                  </a:lnTo>
                  <a:lnTo>
                    <a:pt x="802" y="628"/>
                  </a:lnTo>
                  <a:lnTo>
                    <a:pt x="816" y="664"/>
                  </a:lnTo>
                  <a:lnTo>
                    <a:pt x="824" y="686"/>
                  </a:lnTo>
                  <a:lnTo>
                    <a:pt x="820" y="698"/>
                  </a:lnTo>
                  <a:lnTo>
                    <a:pt x="802" y="698"/>
                  </a:lnTo>
                  <a:lnTo>
                    <a:pt x="788" y="720"/>
                  </a:lnTo>
                  <a:lnTo>
                    <a:pt x="762" y="762"/>
                  </a:lnTo>
                  <a:lnTo>
                    <a:pt x="740" y="798"/>
                  </a:lnTo>
                  <a:lnTo>
                    <a:pt x="716" y="784"/>
                  </a:lnTo>
                  <a:lnTo>
                    <a:pt x="694" y="784"/>
                  </a:lnTo>
                  <a:lnTo>
                    <a:pt x="676" y="802"/>
                  </a:lnTo>
                  <a:lnTo>
                    <a:pt x="660" y="824"/>
                  </a:lnTo>
                  <a:lnTo>
                    <a:pt x="668" y="840"/>
                  </a:lnTo>
                  <a:lnTo>
                    <a:pt x="672" y="874"/>
                  </a:lnTo>
                  <a:lnTo>
                    <a:pt x="632" y="832"/>
                  </a:lnTo>
                  <a:lnTo>
                    <a:pt x="616" y="840"/>
                  </a:lnTo>
                  <a:lnTo>
                    <a:pt x="593" y="840"/>
                  </a:lnTo>
                  <a:lnTo>
                    <a:pt x="573" y="844"/>
                  </a:lnTo>
                  <a:lnTo>
                    <a:pt x="525" y="832"/>
                  </a:lnTo>
                  <a:lnTo>
                    <a:pt x="499" y="828"/>
                  </a:lnTo>
                  <a:lnTo>
                    <a:pt x="461" y="836"/>
                  </a:lnTo>
                  <a:lnTo>
                    <a:pt x="429" y="820"/>
                  </a:lnTo>
                  <a:lnTo>
                    <a:pt x="413" y="802"/>
                  </a:lnTo>
                  <a:lnTo>
                    <a:pt x="403" y="806"/>
                  </a:lnTo>
                  <a:lnTo>
                    <a:pt x="391" y="820"/>
                  </a:lnTo>
                  <a:lnTo>
                    <a:pt x="349" y="832"/>
                  </a:lnTo>
                  <a:lnTo>
                    <a:pt x="323" y="784"/>
                  </a:lnTo>
                  <a:lnTo>
                    <a:pt x="349" y="724"/>
                  </a:lnTo>
                  <a:lnTo>
                    <a:pt x="349" y="702"/>
                  </a:lnTo>
                  <a:lnTo>
                    <a:pt x="343" y="680"/>
                  </a:lnTo>
                  <a:lnTo>
                    <a:pt x="331" y="658"/>
                  </a:lnTo>
                  <a:lnTo>
                    <a:pt x="323" y="680"/>
                  </a:lnTo>
                  <a:lnTo>
                    <a:pt x="303" y="690"/>
                  </a:lnTo>
                  <a:lnTo>
                    <a:pt x="275" y="708"/>
                  </a:lnTo>
                  <a:lnTo>
                    <a:pt x="225" y="728"/>
                  </a:lnTo>
                  <a:lnTo>
                    <a:pt x="194" y="732"/>
                  </a:lnTo>
                  <a:lnTo>
                    <a:pt x="168" y="736"/>
                  </a:lnTo>
                  <a:lnTo>
                    <a:pt x="154" y="754"/>
                  </a:lnTo>
                  <a:lnTo>
                    <a:pt x="138" y="770"/>
                  </a:lnTo>
                  <a:lnTo>
                    <a:pt x="104" y="788"/>
                  </a:lnTo>
                  <a:lnTo>
                    <a:pt x="108" y="770"/>
                  </a:lnTo>
                  <a:lnTo>
                    <a:pt x="94" y="762"/>
                  </a:lnTo>
                  <a:lnTo>
                    <a:pt x="98" y="736"/>
                  </a:lnTo>
                  <a:lnTo>
                    <a:pt x="94" y="712"/>
                  </a:lnTo>
                  <a:lnTo>
                    <a:pt x="86" y="694"/>
                  </a:lnTo>
                  <a:lnTo>
                    <a:pt x="116" y="672"/>
                  </a:lnTo>
                  <a:lnTo>
                    <a:pt x="154" y="636"/>
                  </a:lnTo>
                  <a:lnTo>
                    <a:pt x="138" y="628"/>
                  </a:lnTo>
                  <a:lnTo>
                    <a:pt x="126" y="608"/>
                  </a:lnTo>
                  <a:lnTo>
                    <a:pt x="142" y="604"/>
                  </a:lnTo>
                  <a:lnTo>
                    <a:pt x="154" y="589"/>
                  </a:lnTo>
                  <a:lnTo>
                    <a:pt x="184" y="581"/>
                  </a:lnTo>
                  <a:lnTo>
                    <a:pt x="198" y="573"/>
                  </a:lnTo>
                  <a:lnTo>
                    <a:pt x="194" y="555"/>
                  </a:lnTo>
                  <a:lnTo>
                    <a:pt x="168" y="555"/>
                  </a:lnTo>
                  <a:lnTo>
                    <a:pt x="154" y="555"/>
                  </a:lnTo>
                  <a:lnTo>
                    <a:pt x="138" y="545"/>
                  </a:lnTo>
                  <a:lnTo>
                    <a:pt x="134" y="529"/>
                  </a:lnTo>
                  <a:lnTo>
                    <a:pt x="134" y="503"/>
                  </a:lnTo>
                  <a:lnTo>
                    <a:pt x="142" y="487"/>
                  </a:lnTo>
                  <a:lnTo>
                    <a:pt x="154" y="469"/>
                  </a:lnTo>
                  <a:lnTo>
                    <a:pt x="176" y="469"/>
                  </a:lnTo>
                  <a:lnTo>
                    <a:pt x="158" y="451"/>
                  </a:lnTo>
                  <a:lnTo>
                    <a:pt x="130" y="461"/>
                  </a:lnTo>
                  <a:lnTo>
                    <a:pt x="120" y="473"/>
                  </a:lnTo>
                  <a:lnTo>
                    <a:pt x="86" y="495"/>
                  </a:lnTo>
                  <a:lnTo>
                    <a:pt x="72" y="473"/>
                  </a:lnTo>
                  <a:lnTo>
                    <a:pt x="76" y="447"/>
                  </a:lnTo>
                  <a:lnTo>
                    <a:pt x="82" y="425"/>
                  </a:lnTo>
                  <a:lnTo>
                    <a:pt x="98" y="407"/>
                  </a:lnTo>
                  <a:lnTo>
                    <a:pt x="104" y="395"/>
                  </a:lnTo>
                  <a:lnTo>
                    <a:pt x="94" y="383"/>
                  </a:lnTo>
                  <a:lnTo>
                    <a:pt x="76" y="391"/>
                  </a:lnTo>
                  <a:lnTo>
                    <a:pt x="64" y="395"/>
                  </a:lnTo>
                  <a:lnTo>
                    <a:pt x="46" y="365"/>
                  </a:lnTo>
                  <a:lnTo>
                    <a:pt x="34" y="345"/>
                  </a:lnTo>
                  <a:lnTo>
                    <a:pt x="22" y="337"/>
                  </a:lnTo>
                  <a:lnTo>
                    <a:pt x="0" y="329"/>
                  </a:lnTo>
                  <a:lnTo>
                    <a:pt x="14" y="315"/>
                  </a:lnTo>
                  <a:lnTo>
                    <a:pt x="14" y="255"/>
                  </a:lnTo>
                  <a:lnTo>
                    <a:pt x="26" y="243"/>
                  </a:lnTo>
                  <a:lnTo>
                    <a:pt x="56" y="221"/>
                  </a:lnTo>
                  <a:lnTo>
                    <a:pt x="76" y="207"/>
                  </a:lnTo>
                  <a:lnTo>
                    <a:pt x="94" y="198"/>
                  </a:lnTo>
                  <a:lnTo>
                    <a:pt x="116" y="207"/>
                  </a:lnTo>
                  <a:lnTo>
                    <a:pt x="116" y="190"/>
                  </a:lnTo>
                  <a:lnTo>
                    <a:pt x="142" y="160"/>
                  </a:lnTo>
                  <a:lnTo>
                    <a:pt x="158" y="164"/>
                  </a:lnTo>
                  <a:lnTo>
                    <a:pt x="211" y="176"/>
                  </a:lnTo>
                  <a:lnTo>
                    <a:pt x="229" y="184"/>
                  </a:lnTo>
                  <a:lnTo>
                    <a:pt x="247" y="176"/>
                  </a:lnTo>
                  <a:lnTo>
                    <a:pt x="281" y="160"/>
                  </a:lnTo>
                  <a:lnTo>
                    <a:pt x="289" y="152"/>
                  </a:lnTo>
                  <a:lnTo>
                    <a:pt x="303" y="160"/>
                  </a:lnTo>
                  <a:lnTo>
                    <a:pt x="313" y="148"/>
                  </a:lnTo>
                  <a:lnTo>
                    <a:pt x="327" y="156"/>
                  </a:lnTo>
                  <a:lnTo>
                    <a:pt x="353" y="164"/>
                  </a:lnTo>
                  <a:lnTo>
                    <a:pt x="361" y="152"/>
                  </a:lnTo>
                  <a:lnTo>
                    <a:pt x="361" y="130"/>
                  </a:lnTo>
                  <a:lnTo>
                    <a:pt x="353" y="108"/>
                  </a:lnTo>
                  <a:lnTo>
                    <a:pt x="349" y="90"/>
                  </a:lnTo>
                  <a:lnTo>
                    <a:pt x="377" y="78"/>
                  </a:lnTo>
                  <a:lnTo>
                    <a:pt x="413" y="56"/>
                  </a:lnTo>
                  <a:lnTo>
                    <a:pt x="435" y="64"/>
                  </a:lnTo>
                  <a:lnTo>
                    <a:pt x="421" y="40"/>
                  </a:lnTo>
                  <a:lnTo>
                    <a:pt x="439" y="30"/>
                  </a:lnTo>
                  <a:lnTo>
                    <a:pt x="461" y="14"/>
                  </a:lnTo>
                  <a:lnTo>
                    <a:pt x="477" y="0"/>
                  </a:lnTo>
                  <a:lnTo>
                    <a:pt x="495" y="0"/>
                  </a:lnTo>
                  <a:lnTo>
                    <a:pt x="511" y="22"/>
                  </a:lnTo>
                  <a:lnTo>
                    <a:pt x="525" y="4"/>
                  </a:lnTo>
                  <a:lnTo>
                    <a:pt x="547" y="4"/>
                  </a:lnTo>
                  <a:lnTo>
                    <a:pt x="555" y="18"/>
                  </a:lnTo>
                  <a:lnTo>
                    <a:pt x="589" y="18"/>
                  </a:lnTo>
                  <a:lnTo>
                    <a:pt x="628" y="30"/>
                  </a:lnTo>
                  <a:lnTo>
                    <a:pt x="650" y="52"/>
                  </a:lnTo>
                  <a:lnTo>
                    <a:pt x="660" y="82"/>
                  </a:lnTo>
                  <a:lnTo>
                    <a:pt x="672" y="90"/>
                  </a:lnTo>
                  <a:lnTo>
                    <a:pt x="698" y="82"/>
                  </a:lnTo>
                  <a:lnTo>
                    <a:pt x="720" y="94"/>
                  </a:lnTo>
                  <a:lnTo>
                    <a:pt x="750" y="104"/>
                  </a:lnTo>
                  <a:lnTo>
                    <a:pt x="788" y="98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i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" name="Freeform 37"/>
            <p:cNvSpPr>
              <a:spLocks/>
            </p:cNvSpPr>
            <p:nvPr/>
          </p:nvSpPr>
          <p:spPr bwMode="auto">
            <a:xfrm>
              <a:off x="2186" y="1280"/>
              <a:ext cx="1261" cy="960"/>
            </a:xfrm>
            <a:custGeom>
              <a:avLst/>
              <a:gdLst/>
              <a:ahLst/>
              <a:cxnLst>
                <a:cxn ang="0">
                  <a:pos x="94" y="387"/>
                </a:cxn>
                <a:cxn ang="0">
                  <a:pos x="46" y="284"/>
                </a:cxn>
                <a:cxn ang="0">
                  <a:pos x="12" y="188"/>
                </a:cxn>
                <a:cxn ang="0">
                  <a:pos x="94" y="92"/>
                </a:cxn>
                <a:cxn ang="0">
                  <a:pos x="228" y="56"/>
                </a:cxn>
                <a:cxn ang="0">
                  <a:pos x="319" y="38"/>
                </a:cxn>
                <a:cxn ang="0">
                  <a:pos x="433" y="72"/>
                </a:cxn>
                <a:cxn ang="0">
                  <a:pos x="593" y="42"/>
                </a:cxn>
                <a:cxn ang="0">
                  <a:pos x="710" y="0"/>
                </a:cxn>
                <a:cxn ang="0">
                  <a:pos x="784" y="88"/>
                </a:cxn>
                <a:cxn ang="0">
                  <a:pos x="910" y="118"/>
                </a:cxn>
                <a:cxn ang="0">
                  <a:pos x="1026" y="168"/>
                </a:cxn>
                <a:cxn ang="0">
                  <a:pos x="1060" y="96"/>
                </a:cxn>
                <a:cxn ang="0">
                  <a:pos x="1098" y="46"/>
                </a:cxn>
                <a:cxn ang="0">
                  <a:pos x="1187" y="22"/>
                </a:cxn>
                <a:cxn ang="0">
                  <a:pos x="1283" y="80"/>
                </a:cxn>
                <a:cxn ang="0">
                  <a:pos x="1275" y="146"/>
                </a:cxn>
                <a:cxn ang="0">
                  <a:pos x="1299" y="280"/>
                </a:cxn>
                <a:cxn ang="0">
                  <a:pos x="1295" y="383"/>
                </a:cxn>
                <a:cxn ang="0">
                  <a:pos x="1321" y="495"/>
                </a:cxn>
                <a:cxn ang="0">
                  <a:pos x="1369" y="525"/>
                </a:cxn>
                <a:cxn ang="0">
                  <a:pos x="1407" y="479"/>
                </a:cxn>
                <a:cxn ang="0">
                  <a:pos x="1459" y="529"/>
                </a:cxn>
                <a:cxn ang="0">
                  <a:pos x="1616" y="473"/>
                </a:cxn>
                <a:cxn ang="0">
                  <a:pos x="1684" y="551"/>
                </a:cxn>
                <a:cxn ang="0">
                  <a:pos x="1706" y="659"/>
                </a:cxn>
                <a:cxn ang="0">
                  <a:pos x="1668" y="792"/>
                </a:cxn>
                <a:cxn ang="0">
                  <a:pos x="1590" y="848"/>
                </a:cxn>
                <a:cxn ang="0">
                  <a:pos x="1568" y="952"/>
                </a:cxn>
                <a:cxn ang="0">
                  <a:pos x="1503" y="868"/>
                </a:cxn>
                <a:cxn ang="0">
                  <a:pos x="1339" y="818"/>
                </a:cxn>
                <a:cxn ang="0">
                  <a:pos x="1271" y="826"/>
                </a:cxn>
                <a:cxn ang="0">
                  <a:pos x="1149" y="904"/>
                </a:cxn>
                <a:cxn ang="0">
                  <a:pos x="982" y="1076"/>
                </a:cxn>
                <a:cxn ang="0">
                  <a:pos x="856" y="1185"/>
                </a:cxn>
                <a:cxn ang="0">
                  <a:pos x="818" y="1249"/>
                </a:cxn>
                <a:cxn ang="0">
                  <a:pos x="766" y="1345"/>
                </a:cxn>
                <a:cxn ang="0">
                  <a:pos x="675" y="1331"/>
                </a:cxn>
                <a:cxn ang="0">
                  <a:pos x="537" y="1357"/>
                </a:cxn>
                <a:cxn ang="0">
                  <a:pos x="433" y="1275"/>
                </a:cxn>
                <a:cxn ang="0">
                  <a:pos x="262" y="1201"/>
                </a:cxn>
                <a:cxn ang="0">
                  <a:pos x="104" y="1301"/>
                </a:cxn>
                <a:cxn ang="0">
                  <a:pos x="68" y="1219"/>
                </a:cxn>
                <a:cxn ang="0">
                  <a:pos x="72" y="1046"/>
                </a:cxn>
                <a:cxn ang="0">
                  <a:pos x="216" y="788"/>
                </a:cxn>
                <a:cxn ang="0">
                  <a:pos x="288" y="671"/>
                </a:cxn>
                <a:cxn ang="0">
                  <a:pos x="194" y="625"/>
                </a:cxn>
                <a:cxn ang="0">
                  <a:pos x="128" y="501"/>
                </a:cxn>
                <a:cxn ang="0">
                  <a:pos x="16" y="491"/>
                </a:cxn>
              </a:cxnLst>
              <a:rect l="0" t="0" r="r" b="b"/>
              <a:pathLst>
                <a:path w="1720" h="1375">
                  <a:moveTo>
                    <a:pt x="16" y="491"/>
                  </a:moveTo>
                  <a:lnTo>
                    <a:pt x="42" y="443"/>
                  </a:lnTo>
                  <a:lnTo>
                    <a:pt x="76" y="383"/>
                  </a:lnTo>
                  <a:lnTo>
                    <a:pt x="94" y="387"/>
                  </a:lnTo>
                  <a:lnTo>
                    <a:pt x="98" y="371"/>
                  </a:lnTo>
                  <a:lnTo>
                    <a:pt x="76" y="305"/>
                  </a:lnTo>
                  <a:lnTo>
                    <a:pt x="50" y="280"/>
                  </a:lnTo>
                  <a:lnTo>
                    <a:pt x="46" y="284"/>
                  </a:lnTo>
                  <a:lnTo>
                    <a:pt x="28" y="289"/>
                  </a:lnTo>
                  <a:lnTo>
                    <a:pt x="8" y="266"/>
                  </a:lnTo>
                  <a:lnTo>
                    <a:pt x="0" y="236"/>
                  </a:lnTo>
                  <a:lnTo>
                    <a:pt x="12" y="188"/>
                  </a:lnTo>
                  <a:lnTo>
                    <a:pt x="56" y="146"/>
                  </a:lnTo>
                  <a:lnTo>
                    <a:pt x="64" y="118"/>
                  </a:lnTo>
                  <a:lnTo>
                    <a:pt x="56" y="96"/>
                  </a:lnTo>
                  <a:lnTo>
                    <a:pt x="94" y="92"/>
                  </a:lnTo>
                  <a:lnTo>
                    <a:pt x="150" y="96"/>
                  </a:lnTo>
                  <a:lnTo>
                    <a:pt x="176" y="96"/>
                  </a:lnTo>
                  <a:lnTo>
                    <a:pt x="198" y="88"/>
                  </a:lnTo>
                  <a:lnTo>
                    <a:pt x="228" y="56"/>
                  </a:lnTo>
                  <a:lnTo>
                    <a:pt x="232" y="46"/>
                  </a:lnTo>
                  <a:lnTo>
                    <a:pt x="248" y="50"/>
                  </a:lnTo>
                  <a:lnTo>
                    <a:pt x="270" y="68"/>
                  </a:lnTo>
                  <a:lnTo>
                    <a:pt x="319" y="38"/>
                  </a:lnTo>
                  <a:lnTo>
                    <a:pt x="357" y="56"/>
                  </a:lnTo>
                  <a:lnTo>
                    <a:pt x="381" y="76"/>
                  </a:lnTo>
                  <a:lnTo>
                    <a:pt x="407" y="84"/>
                  </a:lnTo>
                  <a:lnTo>
                    <a:pt x="433" y="72"/>
                  </a:lnTo>
                  <a:lnTo>
                    <a:pt x="473" y="42"/>
                  </a:lnTo>
                  <a:lnTo>
                    <a:pt x="541" y="64"/>
                  </a:lnTo>
                  <a:lnTo>
                    <a:pt x="559" y="56"/>
                  </a:lnTo>
                  <a:lnTo>
                    <a:pt x="593" y="42"/>
                  </a:lnTo>
                  <a:lnTo>
                    <a:pt x="623" y="50"/>
                  </a:lnTo>
                  <a:lnTo>
                    <a:pt x="659" y="38"/>
                  </a:lnTo>
                  <a:lnTo>
                    <a:pt x="685" y="18"/>
                  </a:lnTo>
                  <a:lnTo>
                    <a:pt x="710" y="0"/>
                  </a:lnTo>
                  <a:lnTo>
                    <a:pt x="744" y="18"/>
                  </a:lnTo>
                  <a:lnTo>
                    <a:pt x="758" y="46"/>
                  </a:lnTo>
                  <a:lnTo>
                    <a:pt x="766" y="76"/>
                  </a:lnTo>
                  <a:lnTo>
                    <a:pt x="784" y="88"/>
                  </a:lnTo>
                  <a:lnTo>
                    <a:pt x="814" y="80"/>
                  </a:lnTo>
                  <a:lnTo>
                    <a:pt x="856" y="68"/>
                  </a:lnTo>
                  <a:lnTo>
                    <a:pt x="888" y="132"/>
                  </a:lnTo>
                  <a:lnTo>
                    <a:pt x="910" y="118"/>
                  </a:lnTo>
                  <a:lnTo>
                    <a:pt x="952" y="154"/>
                  </a:lnTo>
                  <a:lnTo>
                    <a:pt x="982" y="180"/>
                  </a:lnTo>
                  <a:lnTo>
                    <a:pt x="1000" y="176"/>
                  </a:lnTo>
                  <a:lnTo>
                    <a:pt x="1026" y="168"/>
                  </a:lnTo>
                  <a:lnTo>
                    <a:pt x="1050" y="162"/>
                  </a:lnTo>
                  <a:lnTo>
                    <a:pt x="1064" y="154"/>
                  </a:lnTo>
                  <a:lnTo>
                    <a:pt x="1068" y="106"/>
                  </a:lnTo>
                  <a:lnTo>
                    <a:pt x="1060" y="96"/>
                  </a:lnTo>
                  <a:lnTo>
                    <a:pt x="1050" y="80"/>
                  </a:lnTo>
                  <a:lnTo>
                    <a:pt x="1054" y="68"/>
                  </a:lnTo>
                  <a:lnTo>
                    <a:pt x="1072" y="56"/>
                  </a:lnTo>
                  <a:lnTo>
                    <a:pt x="1098" y="46"/>
                  </a:lnTo>
                  <a:lnTo>
                    <a:pt x="1125" y="38"/>
                  </a:lnTo>
                  <a:lnTo>
                    <a:pt x="1145" y="56"/>
                  </a:lnTo>
                  <a:lnTo>
                    <a:pt x="1167" y="38"/>
                  </a:lnTo>
                  <a:lnTo>
                    <a:pt x="1187" y="22"/>
                  </a:lnTo>
                  <a:lnTo>
                    <a:pt x="1227" y="14"/>
                  </a:lnTo>
                  <a:lnTo>
                    <a:pt x="1257" y="0"/>
                  </a:lnTo>
                  <a:lnTo>
                    <a:pt x="1291" y="46"/>
                  </a:lnTo>
                  <a:lnTo>
                    <a:pt x="1283" y="80"/>
                  </a:lnTo>
                  <a:lnTo>
                    <a:pt x="1317" y="114"/>
                  </a:lnTo>
                  <a:lnTo>
                    <a:pt x="1317" y="132"/>
                  </a:lnTo>
                  <a:lnTo>
                    <a:pt x="1295" y="140"/>
                  </a:lnTo>
                  <a:lnTo>
                    <a:pt x="1275" y="146"/>
                  </a:lnTo>
                  <a:lnTo>
                    <a:pt x="1279" y="184"/>
                  </a:lnTo>
                  <a:lnTo>
                    <a:pt x="1317" y="196"/>
                  </a:lnTo>
                  <a:lnTo>
                    <a:pt x="1331" y="240"/>
                  </a:lnTo>
                  <a:lnTo>
                    <a:pt x="1299" y="280"/>
                  </a:lnTo>
                  <a:lnTo>
                    <a:pt x="1317" y="317"/>
                  </a:lnTo>
                  <a:lnTo>
                    <a:pt x="1325" y="357"/>
                  </a:lnTo>
                  <a:lnTo>
                    <a:pt x="1313" y="371"/>
                  </a:lnTo>
                  <a:lnTo>
                    <a:pt x="1295" y="383"/>
                  </a:lnTo>
                  <a:lnTo>
                    <a:pt x="1291" y="405"/>
                  </a:lnTo>
                  <a:lnTo>
                    <a:pt x="1313" y="439"/>
                  </a:lnTo>
                  <a:lnTo>
                    <a:pt x="1321" y="461"/>
                  </a:lnTo>
                  <a:lnTo>
                    <a:pt x="1321" y="495"/>
                  </a:lnTo>
                  <a:lnTo>
                    <a:pt x="1321" y="525"/>
                  </a:lnTo>
                  <a:lnTo>
                    <a:pt x="1331" y="537"/>
                  </a:lnTo>
                  <a:lnTo>
                    <a:pt x="1339" y="537"/>
                  </a:lnTo>
                  <a:lnTo>
                    <a:pt x="1369" y="525"/>
                  </a:lnTo>
                  <a:lnTo>
                    <a:pt x="1369" y="491"/>
                  </a:lnTo>
                  <a:lnTo>
                    <a:pt x="1383" y="479"/>
                  </a:lnTo>
                  <a:lnTo>
                    <a:pt x="1391" y="465"/>
                  </a:lnTo>
                  <a:lnTo>
                    <a:pt x="1407" y="479"/>
                  </a:lnTo>
                  <a:lnTo>
                    <a:pt x="1411" y="517"/>
                  </a:lnTo>
                  <a:lnTo>
                    <a:pt x="1415" y="537"/>
                  </a:lnTo>
                  <a:lnTo>
                    <a:pt x="1433" y="537"/>
                  </a:lnTo>
                  <a:lnTo>
                    <a:pt x="1459" y="529"/>
                  </a:lnTo>
                  <a:lnTo>
                    <a:pt x="1473" y="513"/>
                  </a:lnTo>
                  <a:lnTo>
                    <a:pt x="1487" y="491"/>
                  </a:lnTo>
                  <a:lnTo>
                    <a:pt x="1487" y="473"/>
                  </a:lnTo>
                  <a:lnTo>
                    <a:pt x="1616" y="473"/>
                  </a:lnTo>
                  <a:lnTo>
                    <a:pt x="1620" y="505"/>
                  </a:lnTo>
                  <a:lnTo>
                    <a:pt x="1624" y="533"/>
                  </a:lnTo>
                  <a:lnTo>
                    <a:pt x="1642" y="547"/>
                  </a:lnTo>
                  <a:lnTo>
                    <a:pt x="1684" y="551"/>
                  </a:lnTo>
                  <a:lnTo>
                    <a:pt x="1690" y="573"/>
                  </a:lnTo>
                  <a:lnTo>
                    <a:pt x="1720" y="591"/>
                  </a:lnTo>
                  <a:lnTo>
                    <a:pt x="1712" y="629"/>
                  </a:lnTo>
                  <a:lnTo>
                    <a:pt x="1706" y="659"/>
                  </a:lnTo>
                  <a:lnTo>
                    <a:pt x="1680" y="690"/>
                  </a:lnTo>
                  <a:lnTo>
                    <a:pt x="1650" y="708"/>
                  </a:lnTo>
                  <a:lnTo>
                    <a:pt x="1650" y="752"/>
                  </a:lnTo>
                  <a:lnTo>
                    <a:pt x="1668" y="792"/>
                  </a:lnTo>
                  <a:lnTo>
                    <a:pt x="1642" y="804"/>
                  </a:lnTo>
                  <a:lnTo>
                    <a:pt x="1632" y="774"/>
                  </a:lnTo>
                  <a:lnTo>
                    <a:pt x="1620" y="814"/>
                  </a:lnTo>
                  <a:lnTo>
                    <a:pt x="1590" y="848"/>
                  </a:lnTo>
                  <a:lnTo>
                    <a:pt x="1616" y="890"/>
                  </a:lnTo>
                  <a:lnTo>
                    <a:pt x="1636" y="926"/>
                  </a:lnTo>
                  <a:lnTo>
                    <a:pt x="1608" y="946"/>
                  </a:lnTo>
                  <a:lnTo>
                    <a:pt x="1568" y="952"/>
                  </a:lnTo>
                  <a:lnTo>
                    <a:pt x="1534" y="946"/>
                  </a:lnTo>
                  <a:lnTo>
                    <a:pt x="1495" y="972"/>
                  </a:lnTo>
                  <a:lnTo>
                    <a:pt x="1473" y="900"/>
                  </a:lnTo>
                  <a:lnTo>
                    <a:pt x="1503" y="868"/>
                  </a:lnTo>
                  <a:lnTo>
                    <a:pt x="1429" y="856"/>
                  </a:lnTo>
                  <a:lnTo>
                    <a:pt x="1391" y="836"/>
                  </a:lnTo>
                  <a:lnTo>
                    <a:pt x="1369" y="844"/>
                  </a:lnTo>
                  <a:lnTo>
                    <a:pt x="1339" y="818"/>
                  </a:lnTo>
                  <a:lnTo>
                    <a:pt x="1331" y="840"/>
                  </a:lnTo>
                  <a:lnTo>
                    <a:pt x="1309" y="852"/>
                  </a:lnTo>
                  <a:lnTo>
                    <a:pt x="1291" y="848"/>
                  </a:lnTo>
                  <a:lnTo>
                    <a:pt x="1271" y="826"/>
                  </a:lnTo>
                  <a:lnTo>
                    <a:pt x="1249" y="836"/>
                  </a:lnTo>
                  <a:lnTo>
                    <a:pt x="1223" y="860"/>
                  </a:lnTo>
                  <a:lnTo>
                    <a:pt x="1197" y="882"/>
                  </a:lnTo>
                  <a:lnTo>
                    <a:pt x="1149" y="904"/>
                  </a:lnTo>
                  <a:lnTo>
                    <a:pt x="1129" y="912"/>
                  </a:lnTo>
                  <a:lnTo>
                    <a:pt x="1098" y="942"/>
                  </a:lnTo>
                  <a:lnTo>
                    <a:pt x="986" y="1038"/>
                  </a:lnTo>
                  <a:lnTo>
                    <a:pt x="982" y="1076"/>
                  </a:lnTo>
                  <a:lnTo>
                    <a:pt x="952" y="1072"/>
                  </a:lnTo>
                  <a:lnTo>
                    <a:pt x="934" y="1115"/>
                  </a:lnTo>
                  <a:lnTo>
                    <a:pt x="884" y="1163"/>
                  </a:lnTo>
                  <a:lnTo>
                    <a:pt x="856" y="1185"/>
                  </a:lnTo>
                  <a:lnTo>
                    <a:pt x="862" y="1197"/>
                  </a:lnTo>
                  <a:lnTo>
                    <a:pt x="866" y="1215"/>
                  </a:lnTo>
                  <a:lnTo>
                    <a:pt x="848" y="1227"/>
                  </a:lnTo>
                  <a:lnTo>
                    <a:pt x="818" y="1249"/>
                  </a:lnTo>
                  <a:lnTo>
                    <a:pt x="802" y="1255"/>
                  </a:lnTo>
                  <a:lnTo>
                    <a:pt x="798" y="1293"/>
                  </a:lnTo>
                  <a:lnTo>
                    <a:pt x="788" y="1335"/>
                  </a:lnTo>
                  <a:lnTo>
                    <a:pt x="766" y="1345"/>
                  </a:lnTo>
                  <a:lnTo>
                    <a:pt x="744" y="1297"/>
                  </a:lnTo>
                  <a:lnTo>
                    <a:pt x="718" y="1275"/>
                  </a:lnTo>
                  <a:lnTo>
                    <a:pt x="689" y="1293"/>
                  </a:lnTo>
                  <a:lnTo>
                    <a:pt x="675" y="1331"/>
                  </a:lnTo>
                  <a:lnTo>
                    <a:pt x="619" y="1335"/>
                  </a:lnTo>
                  <a:lnTo>
                    <a:pt x="589" y="1345"/>
                  </a:lnTo>
                  <a:lnTo>
                    <a:pt x="551" y="1375"/>
                  </a:lnTo>
                  <a:lnTo>
                    <a:pt x="537" y="1357"/>
                  </a:lnTo>
                  <a:lnTo>
                    <a:pt x="529" y="1305"/>
                  </a:lnTo>
                  <a:lnTo>
                    <a:pt x="515" y="1289"/>
                  </a:lnTo>
                  <a:lnTo>
                    <a:pt x="469" y="1317"/>
                  </a:lnTo>
                  <a:lnTo>
                    <a:pt x="433" y="1275"/>
                  </a:lnTo>
                  <a:lnTo>
                    <a:pt x="391" y="1283"/>
                  </a:lnTo>
                  <a:lnTo>
                    <a:pt x="359" y="1271"/>
                  </a:lnTo>
                  <a:lnTo>
                    <a:pt x="329" y="1279"/>
                  </a:lnTo>
                  <a:lnTo>
                    <a:pt x="262" y="1201"/>
                  </a:lnTo>
                  <a:lnTo>
                    <a:pt x="232" y="1201"/>
                  </a:lnTo>
                  <a:lnTo>
                    <a:pt x="184" y="1241"/>
                  </a:lnTo>
                  <a:lnTo>
                    <a:pt x="140" y="1249"/>
                  </a:lnTo>
                  <a:lnTo>
                    <a:pt x="104" y="1301"/>
                  </a:lnTo>
                  <a:lnTo>
                    <a:pt x="68" y="1279"/>
                  </a:lnTo>
                  <a:lnTo>
                    <a:pt x="8" y="1309"/>
                  </a:lnTo>
                  <a:lnTo>
                    <a:pt x="0" y="1263"/>
                  </a:lnTo>
                  <a:lnTo>
                    <a:pt x="68" y="1219"/>
                  </a:lnTo>
                  <a:lnTo>
                    <a:pt x="56" y="1193"/>
                  </a:lnTo>
                  <a:lnTo>
                    <a:pt x="46" y="1167"/>
                  </a:lnTo>
                  <a:lnTo>
                    <a:pt x="82" y="1115"/>
                  </a:lnTo>
                  <a:lnTo>
                    <a:pt x="72" y="1046"/>
                  </a:lnTo>
                  <a:lnTo>
                    <a:pt x="82" y="912"/>
                  </a:lnTo>
                  <a:lnTo>
                    <a:pt x="116" y="864"/>
                  </a:lnTo>
                  <a:lnTo>
                    <a:pt x="168" y="826"/>
                  </a:lnTo>
                  <a:lnTo>
                    <a:pt x="216" y="788"/>
                  </a:lnTo>
                  <a:lnTo>
                    <a:pt x="258" y="752"/>
                  </a:lnTo>
                  <a:lnTo>
                    <a:pt x="280" y="730"/>
                  </a:lnTo>
                  <a:lnTo>
                    <a:pt x="292" y="708"/>
                  </a:lnTo>
                  <a:lnTo>
                    <a:pt x="288" y="671"/>
                  </a:lnTo>
                  <a:lnTo>
                    <a:pt x="266" y="649"/>
                  </a:lnTo>
                  <a:lnTo>
                    <a:pt x="236" y="641"/>
                  </a:lnTo>
                  <a:lnTo>
                    <a:pt x="202" y="641"/>
                  </a:lnTo>
                  <a:lnTo>
                    <a:pt x="194" y="625"/>
                  </a:lnTo>
                  <a:lnTo>
                    <a:pt x="188" y="595"/>
                  </a:lnTo>
                  <a:lnTo>
                    <a:pt x="180" y="551"/>
                  </a:lnTo>
                  <a:lnTo>
                    <a:pt x="154" y="513"/>
                  </a:lnTo>
                  <a:lnTo>
                    <a:pt x="128" y="501"/>
                  </a:lnTo>
                  <a:lnTo>
                    <a:pt x="86" y="491"/>
                  </a:lnTo>
                  <a:lnTo>
                    <a:pt x="56" y="495"/>
                  </a:lnTo>
                  <a:lnTo>
                    <a:pt x="38" y="501"/>
                  </a:lnTo>
                  <a:lnTo>
                    <a:pt x="16" y="491"/>
                  </a:lnTo>
                  <a:close/>
                </a:path>
              </a:pathLst>
            </a:custGeom>
            <a:solidFill>
              <a:srgbClr val="C00000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ES" i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4" name="Oval 45"/>
          <p:cNvSpPr>
            <a:spLocks noChangeArrowheads="1"/>
          </p:cNvSpPr>
          <p:nvPr/>
        </p:nvSpPr>
        <p:spPr bwMode="auto">
          <a:xfrm>
            <a:off x="3276600" y="1124744"/>
            <a:ext cx="790575" cy="60960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8</a:t>
            </a:r>
            <a:r>
              <a:rPr lang="es-ES_tradnl" sz="2000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47</a:t>
            </a:r>
            <a:endParaRPr lang="es-ES_tradnl" sz="2000" b="1" i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Oval 48"/>
          <p:cNvSpPr>
            <a:spLocks noChangeArrowheads="1"/>
          </p:cNvSpPr>
          <p:nvPr/>
        </p:nvSpPr>
        <p:spPr bwMode="auto">
          <a:xfrm>
            <a:off x="7667625" y="3213894"/>
            <a:ext cx="682625" cy="609600"/>
          </a:xfrm>
          <a:prstGeom prst="ellipse">
            <a:avLst/>
          </a:prstGeom>
          <a:solidFill>
            <a:srgbClr val="C00000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8/5</a:t>
            </a:r>
            <a:endParaRPr lang="es-ES_tradnl" sz="2000" b="1" i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Oval 51"/>
          <p:cNvSpPr>
            <a:spLocks noChangeArrowheads="1"/>
          </p:cNvSpPr>
          <p:nvPr/>
        </p:nvSpPr>
        <p:spPr bwMode="auto">
          <a:xfrm>
            <a:off x="1619250" y="5733256"/>
            <a:ext cx="825500" cy="609600"/>
          </a:xfrm>
          <a:prstGeom prst="ellipse">
            <a:avLst/>
          </a:prstGeom>
          <a:solidFill>
            <a:srgbClr val="C00000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9/17</a:t>
            </a:r>
            <a:endParaRPr lang="es-ES_tradnl" sz="2000" b="1" i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9" name="Oval 60"/>
          <p:cNvSpPr>
            <a:spLocks noChangeArrowheads="1"/>
          </p:cNvSpPr>
          <p:nvPr/>
        </p:nvSpPr>
        <p:spPr bwMode="auto">
          <a:xfrm>
            <a:off x="3851275" y="2277269"/>
            <a:ext cx="936625" cy="609600"/>
          </a:xfrm>
          <a:prstGeom prst="ellipse">
            <a:avLst/>
          </a:prstGeom>
          <a:solidFill>
            <a:srgbClr val="C00000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49/35</a:t>
            </a:r>
            <a:endParaRPr lang="es-ES_tradnl" sz="2000" b="1" i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04" name="Oval 84"/>
          <p:cNvSpPr>
            <a:spLocks noChangeArrowheads="1"/>
          </p:cNvSpPr>
          <p:nvPr/>
        </p:nvSpPr>
        <p:spPr bwMode="auto">
          <a:xfrm>
            <a:off x="5670715" y="1468576"/>
            <a:ext cx="647700" cy="649287"/>
          </a:xfrm>
          <a:prstGeom prst="ellipse">
            <a:avLst/>
          </a:prstGeom>
          <a:solidFill>
            <a:srgbClr val="C00000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2/21</a:t>
            </a:r>
            <a:endParaRPr lang="es-ES_tradnl" b="1" i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704" name="Rectangle 90"/>
          <p:cNvSpPr>
            <a:spLocks noChangeArrowheads="1"/>
          </p:cNvSpPr>
          <p:nvPr/>
        </p:nvSpPr>
        <p:spPr bwMode="auto">
          <a:xfrm>
            <a:off x="7144543" y="4150821"/>
            <a:ext cx="1658581" cy="646331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it-IT" altLang="es-ES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IBEN MÁS QUE ENVÍAN</a:t>
            </a:r>
            <a:endParaRPr lang="it-IT" altLang="es-ES" b="1" i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3" name="Oval 48"/>
          <p:cNvSpPr>
            <a:spLocks noChangeArrowheads="1"/>
          </p:cNvSpPr>
          <p:nvPr/>
        </p:nvSpPr>
        <p:spPr bwMode="auto">
          <a:xfrm>
            <a:off x="6011862" y="3788569"/>
            <a:ext cx="792385" cy="609600"/>
          </a:xfrm>
          <a:prstGeom prst="ellipse">
            <a:avLst/>
          </a:prstGeom>
          <a:solidFill>
            <a:srgbClr val="C00000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5/63</a:t>
            </a:r>
            <a:endParaRPr lang="es-ES_tradnl" sz="2000" b="1" i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4" name="Oval 48"/>
          <p:cNvSpPr>
            <a:spLocks noChangeArrowheads="1"/>
          </p:cNvSpPr>
          <p:nvPr/>
        </p:nvSpPr>
        <p:spPr bwMode="auto">
          <a:xfrm>
            <a:off x="5364163" y="4725194"/>
            <a:ext cx="896937" cy="609600"/>
          </a:xfrm>
          <a:prstGeom prst="ellipse">
            <a:avLst/>
          </a:prstGeom>
          <a:solidFill>
            <a:srgbClr val="C00000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8/37</a:t>
            </a:r>
            <a:endParaRPr lang="es-ES_tradnl" sz="2000" b="1" i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5" name="Oval 48"/>
          <p:cNvSpPr>
            <a:spLocks noChangeArrowheads="1"/>
          </p:cNvSpPr>
          <p:nvPr/>
        </p:nvSpPr>
        <p:spPr bwMode="auto">
          <a:xfrm>
            <a:off x="3492500" y="5014119"/>
            <a:ext cx="863600" cy="752475"/>
          </a:xfrm>
          <a:prstGeom prst="ellipse">
            <a:avLst/>
          </a:prstGeom>
          <a:solidFill>
            <a:srgbClr val="C00000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3/48</a:t>
            </a:r>
            <a:endParaRPr lang="es-ES_tradnl" sz="2000" b="1" i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6" name="Oval 48"/>
          <p:cNvSpPr>
            <a:spLocks noChangeArrowheads="1"/>
          </p:cNvSpPr>
          <p:nvPr/>
        </p:nvSpPr>
        <p:spPr bwMode="auto">
          <a:xfrm>
            <a:off x="2195513" y="1413669"/>
            <a:ext cx="792162" cy="60960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1/91</a:t>
            </a:r>
            <a:endParaRPr lang="es-ES_tradnl" sz="2000" b="1" i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7" name="Oval 60"/>
          <p:cNvSpPr>
            <a:spLocks noChangeArrowheads="1"/>
          </p:cNvSpPr>
          <p:nvPr/>
        </p:nvSpPr>
        <p:spPr bwMode="auto">
          <a:xfrm>
            <a:off x="4265088" y="1216819"/>
            <a:ext cx="720725" cy="60960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i="0" u="sng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3/67</a:t>
            </a:r>
            <a:endParaRPr lang="es-ES_tradnl" sz="2000" b="1" i="0" u="sng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8" name="Oval 60"/>
          <p:cNvSpPr>
            <a:spLocks noChangeArrowheads="1"/>
          </p:cNvSpPr>
          <p:nvPr/>
        </p:nvSpPr>
        <p:spPr bwMode="auto">
          <a:xfrm>
            <a:off x="5003800" y="1197769"/>
            <a:ext cx="720725" cy="647700"/>
          </a:xfrm>
          <a:prstGeom prst="ellipse">
            <a:avLst/>
          </a:prstGeom>
          <a:solidFill>
            <a:srgbClr val="C00000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7/36</a:t>
            </a:r>
            <a:endParaRPr lang="es-ES_tradnl" b="1" i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9" name="Oval 60"/>
          <p:cNvSpPr>
            <a:spLocks noChangeArrowheads="1"/>
          </p:cNvSpPr>
          <p:nvPr/>
        </p:nvSpPr>
        <p:spPr bwMode="auto">
          <a:xfrm>
            <a:off x="4930775" y="1945829"/>
            <a:ext cx="682625" cy="609600"/>
          </a:xfrm>
          <a:prstGeom prst="ellipse">
            <a:avLst/>
          </a:prstGeom>
          <a:solidFill>
            <a:schemeClr val="accent6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/19</a:t>
            </a:r>
            <a:endParaRPr lang="es-ES_tradnl" sz="2000" b="1" i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0" name="Oval 45"/>
          <p:cNvSpPr>
            <a:spLocks noChangeArrowheads="1"/>
          </p:cNvSpPr>
          <p:nvPr/>
        </p:nvSpPr>
        <p:spPr bwMode="auto">
          <a:xfrm>
            <a:off x="4118588" y="2964857"/>
            <a:ext cx="1008062" cy="720725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i="0" u="sng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0/357</a:t>
            </a:r>
            <a:endParaRPr lang="es-ES_tradnl" sz="2000" b="1" i="0" u="sng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25" name="Oval 84"/>
          <p:cNvSpPr>
            <a:spLocks noChangeArrowheads="1"/>
          </p:cNvSpPr>
          <p:nvPr/>
        </p:nvSpPr>
        <p:spPr bwMode="auto">
          <a:xfrm>
            <a:off x="5724525" y="2421731"/>
            <a:ext cx="825500" cy="574675"/>
          </a:xfrm>
          <a:prstGeom prst="ellipse">
            <a:avLst/>
          </a:prstGeom>
          <a:solidFill>
            <a:srgbClr val="C00000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4/36</a:t>
            </a:r>
            <a:endParaRPr lang="es-ES_tradnl" sz="2000" b="1" i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26" name="Oval 84"/>
          <p:cNvSpPr>
            <a:spLocks noChangeArrowheads="1"/>
          </p:cNvSpPr>
          <p:nvPr/>
        </p:nvSpPr>
        <p:spPr bwMode="auto">
          <a:xfrm>
            <a:off x="7092950" y="2061369"/>
            <a:ext cx="863600" cy="681037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i="0" u="sng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6/270</a:t>
            </a:r>
            <a:endParaRPr lang="es-ES_tradnl" sz="2000" b="1" i="0" u="sng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716" name="Oval 84"/>
          <p:cNvSpPr>
            <a:spLocks noChangeArrowheads="1"/>
          </p:cNvSpPr>
          <p:nvPr/>
        </p:nvSpPr>
        <p:spPr bwMode="auto">
          <a:xfrm>
            <a:off x="4787900" y="3861594"/>
            <a:ext cx="825500" cy="609600"/>
          </a:xfrm>
          <a:prstGeom prst="ellipse">
            <a:avLst/>
          </a:prstGeom>
          <a:solidFill>
            <a:srgbClr val="C00000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lIns="91415" tIns="45709" rIns="91415" bIns="45709" anchor="ctr"/>
          <a:lstStyle>
            <a:lvl1pPr defTabSz="915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5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5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5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5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_tradnl" altLang="es-ES" sz="2000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0/19</a:t>
            </a:r>
            <a:endParaRPr lang="es-ES_tradnl" altLang="es-ES" sz="2000" b="1" i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28" name="Oval 84"/>
          <p:cNvSpPr>
            <a:spLocks noChangeArrowheads="1"/>
          </p:cNvSpPr>
          <p:nvPr/>
        </p:nvSpPr>
        <p:spPr bwMode="auto">
          <a:xfrm>
            <a:off x="2987675" y="3933031"/>
            <a:ext cx="863600" cy="609600"/>
          </a:xfrm>
          <a:prstGeom prst="ellipse">
            <a:avLst/>
          </a:prstGeom>
          <a:solidFill>
            <a:srgbClr val="C00000"/>
          </a:solidFill>
          <a:ln w="285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8/13</a:t>
            </a:r>
            <a:endParaRPr lang="es-ES_tradnl" sz="2000" b="1" i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718" name="Oval 84"/>
          <p:cNvSpPr>
            <a:spLocks noChangeArrowheads="1"/>
          </p:cNvSpPr>
          <p:nvPr/>
        </p:nvSpPr>
        <p:spPr bwMode="auto">
          <a:xfrm>
            <a:off x="3276600" y="6165056"/>
            <a:ext cx="609600" cy="609600"/>
          </a:xfrm>
          <a:prstGeom prst="ellipse">
            <a:avLst/>
          </a:prstGeom>
          <a:solidFill>
            <a:srgbClr val="C00000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lIns="91415" tIns="45709" rIns="91415" bIns="45709" anchor="ctr"/>
          <a:lstStyle>
            <a:lvl1pPr defTabSz="915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5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5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5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5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_tradnl" altLang="es-ES" sz="1700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</a:t>
            </a:r>
            <a:r>
              <a:rPr lang="es-ES_tradnl" altLang="es-ES" sz="1700" b="1" i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 -</a:t>
            </a:r>
          </a:p>
        </p:txBody>
      </p:sp>
      <p:sp>
        <p:nvSpPr>
          <p:cNvPr id="29719" name="Oval 45"/>
          <p:cNvSpPr>
            <a:spLocks noChangeArrowheads="1"/>
          </p:cNvSpPr>
          <p:nvPr/>
        </p:nvSpPr>
        <p:spPr bwMode="auto">
          <a:xfrm>
            <a:off x="4427538" y="6165056"/>
            <a:ext cx="609600" cy="609600"/>
          </a:xfrm>
          <a:prstGeom prst="ellipse">
            <a:avLst/>
          </a:prstGeom>
          <a:solidFill>
            <a:srgbClr val="C00000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lIns="91415" tIns="45709" rIns="91415" bIns="45709" anchor="ctr"/>
          <a:lstStyle>
            <a:lvl1pPr defTabSz="915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5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5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5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598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_tradnl" altLang="es-ES" sz="17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es-ES_tradnl" altLang="es-ES" sz="17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_tradnl" altLang="es-ES" sz="1700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 </a:t>
            </a:r>
            <a:r>
              <a:rPr lang="es-ES_tradnl" altLang="es-ES" sz="1700" b="1" i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85" name="84 CuadroTexto"/>
          <p:cNvSpPr txBox="1"/>
          <p:nvPr/>
        </p:nvSpPr>
        <p:spPr>
          <a:xfrm>
            <a:off x="6214622" y="5641664"/>
            <a:ext cx="2477986" cy="101566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b="1" i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TAL INTERCAMBIOS: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81 </a:t>
            </a:r>
            <a:r>
              <a:rPr lang="es-ES" b="1" i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es-ES" sz="2400" b="1" i="0" u="sng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% </a:t>
            </a:r>
            <a:r>
              <a:rPr lang="es-ES" b="1" i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 TOTAL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b="1" i="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 TRASPLANTES </a:t>
            </a:r>
          </a:p>
        </p:txBody>
      </p:sp>
      <p:sp>
        <p:nvSpPr>
          <p:cNvPr id="57" name="Text Box 137"/>
          <p:cNvSpPr txBox="1">
            <a:spLocks noChangeArrowheads="1"/>
          </p:cNvSpPr>
          <p:nvPr/>
        </p:nvSpPr>
        <p:spPr bwMode="auto">
          <a:xfrm>
            <a:off x="-128202" y="412209"/>
            <a:ext cx="9164698" cy="83099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1"/>
          </a:lnRef>
          <a:fillRef idx="1001">
            <a:schemeClr val="lt2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400" b="1" i="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cientes trasplantados gracias al intercambio entre CCAA 2018 (enviados/recibidos)</a:t>
            </a:r>
          </a:p>
        </p:txBody>
      </p:sp>
      <p:sp>
        <p:nvSpPr>
          <p:cNvPr id="60" name="CasellaDiTesto 11"/>
          <p:cNvSpPr txBox="1"/>
          <p:nvPr/>
        </p:nvSpPr>
        <p:spPr>
          <a:xfrm>
            <a:off x="139533" y="2575986"/>
            <a:ext cx="2500236" cy="2246769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" sz="20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STEMA ESPAÑOL DE DONACIÓN Y TRASPLANTE: UN EJEMPLO DE COHESIÓN EN EL SISTEMA NACIONAL DE SALUD</a:t>
            </a:r>
          </a:p>
        </p:txBody>
      </p:sp>
      <p:sp>
        <p:nvSpPr>
          <p:cNvPr id="58" name="Rectangle 90"/>
          <p:cNvSpPr>
            <a:spLocks noChangeArrowheads="1"/>
          </p:cNvSpPr>
          <p:nvPr/>
        </p:nvSpPr>
        <p:spPr bwMode="auto">
          <a:xfrm>
            <a:off x="7161891" y="4797152"/>
            <a:ext cx="1658581" cy="646331"/>
          </a:xfrm>
          <a:prstGeom prst="rect">
            <a:avLst/>
          </a:prstGeom>
          <a:solidFill>
            <a:srgbClr val="C00000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it-IT" altLang="es-ES" b="1" i="0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ÍAN </a:t>
            </a:r>
            <a:r>
              <a:rPr lang="it-IT" altLang="es-ES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ÁS QUE</a:t>
            </a:r>
            <a:r>
              <a:rPr lang="it-IT" altLang="es-ES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it-IT" altLang="es-ES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IBEN</a:t>
            </a:r>
            <a:endParaRPr lang="it-IT" altLang="es-ES" b="1" i="0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5232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441" name="Rectangle 9"/>
          <p:cNvSpPr>
            <a:spLocks noChangeArrowheads="1"/>
          </p:cNvSpPr>
          <p:nvPr/>
        </p:nvSpPr>
        <p:spPr bwMode="auto">
          <a:xfrm>
            <a:off x="1943422" y="1022539"/>
            <a:ext cx="5257156" cy="403187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 anchorCtr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sz="28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b="1" dirty="0" err="1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chas</a:t>
            </a:r>
            <a:r>
              <a:rPr lang="en-US" sz="3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acias</a:t>
            </a:r>
          </a:p>
          <a:p>
            <a:pPr algn="ctr">
              <a:lnSpc>
                <a:spcPct val="200000"/>
              </a:lnSpc>
            </a:pPr>
            <a:r>
              <a:rPr lang="en-US" sz="3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b="1" dirty="0" err="1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ltes</a:t>
            </a:r>
            <a:r>
              <a:rPr lang="en-US" sz="3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b="1" dirty="0" err="1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àcies</a:t>
            </a:r>
            <a:endParaRPr lang="en-US" sz="3200" b="1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ct val="200000"/>
              </a:lnSpc>
            </a:pPr>
            <a:r>
              <a:rPr lang="en-US" sz="3200" b="1" dirty="0" err="1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kerrik</a:t>
            </a:r>
            <a:r>
              <a:rPr lang="en-US" sz="3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b="1" dirty="0" err="1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ko</a:t>
            </a:r>
            <a:endParaRPr lang="en-US" sz="3200" b="1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ct val="200000"/>
              </a:lnSpc>
            </a:pPr>
            <a:r>
              <a:rPr lang="en-US" sz="3200" b="1" dirty="0" err="1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itas</a:t>
            </a:r>
            <a:r>
              <a:rPr lang="en-US" sz="3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b="1" dirty="0" err="1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azas</a:t>
            </a:r>
            <a:endParaRPr lang="en-US" sz="3200" b="1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Picture 1" descr="H:\Rafa\JUNIO 10\BANNER PRINCIPE DE ASURIA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541656"/>
            <a:ext cx="9144000" cy="735405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12400149"/>
              </p:ext>
            </p:extLst>
          </p:nvPr>
        </p:nvGraphicFramePr>
        <p:xfrm>
          <a:off x="179512" y="1844824"/>
          <a:ext cx="8766175" cy="45771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485" name="Line 39"/>
          <p:cNvSpPr>
            <a:spLocks noChangeShapeType="1"/>
          </p:cNvSpPr>
          <p:nvPr/>
        </p:nvSpPr>
        <p:spPr bwMode="auto">
          <a:xfrm>
            <a:off x="821856" y="3716957"/>
            <a:ext cx="0" cy="792163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3563888" y="4514962"/>
            <a:ext cx="4824536" cy="1146286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EN LOS </a:t>
            </a:r>
            <a:r>
              <a:rPr lang="es-E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INCO</a:t>
            </a:r>
            <a:r>
              <a:rPr lang="es-ES" sz="2000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 ÚLTIMOS AÑOS ESPAÑA HA REGISTRADO EL MAYOR INCREMENTO EN DONACIÓN DE SU HISTORIA </a:t>
            </a:r>
          </a:p>
        </p:txBody>
      </p:sp>
      <p:cxnSp>
        <p:nvCxnSpPr>
          <p:cNvPr id="5" name="4 Conector recto de flecha"/>
          <p:cNvCxnSpPr/>
          <p:nvPr/>
        </p:nvCxnSpPr>
        <p:spPr>
          <a:xfrm flipV="1">
            <a:off x="7164288" y="1672548"/>
            <a:ext cx="1242265" cy="1252396"/>
          </a:xfrm>
          <a:prstGeom prst="straightConnector1">
            <a:avLst/>
          </a:prstGeom>
          <a:ln w="635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5 CuadroTexto"/>
          <p:cNvSpPr txBox="1"/>
          <p:nvPr/>
        </p:nvSpPr>
        <p:spPr>
          <a:xfrm>
            <a:off x="7040299" y="1782132"/>
            <a:ext cx="702436" cy="369332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r>
              <a:rPr lang="es-ES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+37%</a:t>
            </a:r>
            <a:endParaRPr lang="es-ES" b="1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899592" y="968921"/>
            <a:ext cx="7633468" cy="40011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s-ES" sz="2000" b="1" dirty="0">
                <a:latin typeface="Calibri" panose="020F0502020204030204" pitchFamily="34" charset="0"/>
                <a:cs typeface="Calibri" panose="020F0502020204030204" pitchFamily="34" charset="0"/>
              </a:rPr>
              <a:t>550                                                                                           </a:t>
            </a:r>
            <a:r>
              <a:rPr lang="es-E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               2241</a:t>
            </a:r>
            <a:endParaRPr lang="es-E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Line 10"/>
          <p:cNvSpPr>
            <a:spLocks noChangeShapeType="1"/>
          </p:cNvSpPr>
          <p:nvPr/>
        </p:nvSpPr>
        <p:spPr bwMode="auto">
          <a:xfrm>
            <a:off x="1475854" y="1196752"/>
            <a:ext cx="6265863" cy="0"/>
          </a:xfrm>
          <a:prstGeom prst="line">
            <a:avLst/>
          </a:prstGeom>
          <a:noFill/>
          <a:ln w="9525">
            <a:solidFill>
              <a:schemeClr val="bg1"/>
            </a:solidFill>
            <a:prstDash val="sysDot"/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2169650" y="653787"/>
            <a:ext cx="4922630" cy="83099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algn="ctr" eaLnBrk="0" hangingPunct="0"/>
            <a:r>
              <a:rPr lang="es-ES_tradnl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NANTES DE ÓRGANOS EN ESPAÑA</a:t>
            </a:r>
          </a:p>
          <a:p>
            <a:pPr algn="ctr" eaLnBrk="0" hangingPunct="0"/>
            <a:r>
              <a:rPr lang="es-ES_tradnl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DE EL INICIO DE LA O.N.T.</a:t>
            </a:r>
          </a:p>
        </p:txBody>
      </p:sp>
      <p:sp>
        <p:nvSpPr>
          <p:cNvPr id="13" name="12 CuadroTexto"/>
          <p:cNvSpPr txBox="1"/>
          <p:nvPr/>
        </p:nvSpPr>
        <p:spPr>
          <a:xfrm>
            <a:off x="179512" y="6421978"/>
            <a:ext cx="8040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i="0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Fuente: Organización Nacional de Trasplantes</a:t>
            </a:r>
            <a:endParaRPr lang="es-ES" sz="1600" i="0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9" name="Imagen 18"/>
          <p:cNvPicPr>
            <a:picLocks noChangeAspect="1"/>
          </p:cNvPicPr>
          <p:nvPr/>
        </p:nvPicPr>
        <p:blipFill rotWithShape="1">
          <a:blip r:embed="rId4"/>
          <a:srcRect t="2157" r="25397" b="1"/>
          <a:stretch/>
        </p:blipFill>
        <p:spPr>
          <a:xfrm>
            <a:off x="821856" y="2405650"/>
            <a:ext cx="2309984" cy="604578"/>
          </a:xfrm>
          <a:prstGeom prst="rect">
            <a:avLst/>
          </a:prstGeom>
        </p:spPr>
      </p:pic>
      <p:pic>
        <p:nvPicPr>
          <p:cNvPr id="21" name="Picture 1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1" t="29927" r="3946" b="26886"/>
          <a:stretch>
            <a:fillRect/>
          </a:stretch>
        </p:blipFill>
        <p:spPr bwMode="auto">
          <a:xfrm>
            <a:off x="835042" y="3062411"/>
            <a:ext cx="1547812" cy="58261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3646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6"/>
          <p:cNvGrpSpPr>
            <a:grpSpLocks/>
          </p:cNvGrpSpPr>
          <p:nvPr/>
        </p:nvGrpSpPr>
        <p:grpSpPr bwMode="auto">
          <a:xfrm>
            <a:off x="750424" y="1127238"/>
            <a:ext cx="7924800" cy="5638800"/>
            <a:chOff x="1200" y="1063"/>
            <a:chExt cx="3761" cy="2681"/>
          </a:xfrm>
        </p:grpSpPr>
        <p:grpSp>
          <p:nvGrpSpPr>
            <p:cNvPr id="74" name="Group 7"/>
            <p:cNvGrpSpPr>
              <a:grpSpLocks/>
            </p:cNvGrpSpPr>
            <p:nvPr/>
          </p:nvGrpSpPr>
          <p:grpSpPr bwMode="auto">
            <a:xfrm>
              <a:off x="1198" y="3418"/>
              <a:ext cx="844" cy="337"/>
              <a:chOff x="3591" y="3218"/>
              <a:chExt cx="1801" cy="696"/>
            </a:xfrm>
          </p:grpSpPr>
          <p:sp>
            <p:nvSpPr>
              <p:cNvPr id="102" name="Freeform 8"/>
              <p:cNvSpPr>
                <a:spLocks/>
              </p:cNvSpPr>
              <p:nvPr/>
            </p:nvSpPr>
            <p:spPr bwMode="auto">
              <a:xfrm>
                <a:off x="3678" y="3398"/>
                <a:ext cx="96" cy="157"/>
              </a:xfrm>
              <a:custGeom>
                <a:avLst/>
                <a:gdLst/>
                <a:ahLst/>
                <a:cxnLst>
                  <a:cxn ang="0">
                    <a:pos x="96" y="107"/>
                  </a:cxn>
                  <a:cxn ang="0">
                    <a:pos x="86" y="0"/>
                  </a:cxn>
                  <a:cxn ang="0">
                    <a:pos x="24" y="0"/>
                  </a:cxn>
                  <a:cxn ang="0">
                    <a:pos x="0" y="34"/>
                  </a:cxn>
                  <a:cxn ang="0">
                    <a:pos x="38" y="147"/>
                  </a:cxn>
                  <a:cxn ang="0">
                    <a:pos x="68" y="157"/>
                  </a:cxn>
                  <a:cxn ang="0">
                    <a:pos x="96" y="107"/>
                  </a:cxn>
                </a:cxnLst>
                <a:rect l="0" t="0" r="r" b="b"/>
                <a:pathLst>
                  <a:path w="96" h="157">
                    <a:moveTo>
                      <a:pt x="96" y="107"/>
                    </a:moveTo>
                    <a:lnTo>
                      <a:pt x="86" y="0"/>
                    </a:lnTo>
                    <a:lnTo>
                      <a:pt x="24" y="0"/>
                    </a:lnTo>
                    <a:lnTo>
                      <a:pt x="0" y="34"/>
                    </a:lnTo>
                    <a:lnTo>
                      <a:pt x="38" y="147"/>
                    </a:lnTo>
                    <a:lnTo>
                      <a:pt x="68" y="157"/>
                    </a:lnTo>
                    <a:lnTo>
                      <a:pt x="96" y="107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3" name="Freeform 9"/>
              <p:cNvSpPr>
                <a:spLocks/>
              </p:cNvSpPr>
              <p:nvPr/>
            </p:nvSpPr>
            <p:spPr bwMode="auto">
              <a:xfrm>
                <a:off x="5237" y="3218"/>
                <a:ext cx="155" cy="174"/>
              </a:xfrm>
              <a:custGeom>
                <a:avLst/>
                <a:gdLst/>
                <a:ahLst/>
                <a:cxnLst>
                  <a:cxn ang="0">
                    <a:pos x="145" y="96"/>
                  </a:cxn>
                  <a:cxn ang="0">
                    <a:pos x="155" y="0"/>
                  </a:cxn>
                  <a:cxn ang="0">
                    <a:pos x="123" y="8"/>
                  </a:cxn>
                  <a:cxn ang="0">
                    <a:pos x="119" y="42"/>
                  </a:cxn>
                  <a:cxn ang="0">
                    <a:pos x="22" y="68"/>
                  </a:cxn>
                  <a:cxn ang="0">
                    <a:pos x="0" y="164"/>
                  </a:cxn>
                  <a:cxn ang="0">
                    <a:pos x="53" y="174"/>
                  </a:cxn>
                  <a:cxn ang="0">
                    <a:pos x="75" y="130"/>
                  </a:cxn>
                  <a:cxn ang="0">
                    <a:pos x="145" y="96"/>
                  </a:cxn>
                </a:cxnLst>
                <a:rect l="0" t="0" r="r" b="b"/>
                <a:pathLst>
                  <a:path w="155" h="174">
                    <a:moveTo>
                      <a:pt x="145" y="96"/>
                    </a:moveTo>
                    <a:lnTo>
                      <a:pt x="155" y="0"/>
                    </a:lnTo>
                    <a:lnTo>
                      <a:pt x="123" y="8"/>
                    </a:lnTo>
                    <a:lnTo>
                      <a:pt x="119" y="42"/>
                    </a:lnTo>
                    <a:lnTo>
                      <a:pt x="22" y="68"/>
                    </a:lnTo>
                    <a:lnTo>
                      <a:pt x="0" y="164"/>
                    </a:lnTo>
                    <a:lnTo>
                      <a:pt x="53" y="174"/>
                    </a:lnTo>
                    <a:lnTo>
                      <a:pt x="75" y="130"/>
                    </a:lnTo>
                    <a:lnTo>
                      <a:pt x="145" y="96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4" name="Freeform 10"/>
              <p:cNvSpPr>
                <a:spLocks/>
              </p:cNvSpPr>
              <p:nvPr/>
            </p:nvSpPr>
            <p:spPr bwMode="auto">
              <a:xfrm>
                <a:off x="3916" y="3673"/>
                <a:ext cx="96" cy="80"/>
              </a:xfrm>
              <a:custGeom>
                <a:avLst/>
                <a:gdLst/>
                <a:ahLst/>
                <a:cxnLst>
                  <a:cxn ang="0">
                    <a:pos x="96" y="32"/>
                  </a:cxn>
                  <a:cxn ang="0">
                    <a:pos x="34" y="0"/>
                  </a:cxn>
                  <a:cxn ang="0">
                    <a:pos x="0" y="28"/>
                  </a:cxn>
                  <a:cxn ang="0">
                    <a:pos x="28" y="80"/>
                  </a:cxn>
                  <a:cxn ang="0">
                    <a:pos x="78" y="80"/>
                  </a:cxn>
                  <a:cxn ang="0">
                    <a:pos x="96" y="32"/>
                  </a:cxn>
                </a:cxnLst>
                <a:rect l="0" t="0" r="r" b="b"/>
                <a:pathLst>
                  <a:path w="96" h="80">
                    <a:moveTo>
                      <a:pt x="96" y="32"/>
                    </a:moveTo>
                    <a:lnTo>
                      <a:pt x="34" y="0"/>
                    </a:lnTo>
                    <a:lnTo>
                      <a:pt x="0" y="28"/>
                    </a:lnTo>
                    <a:lnTo>
                      <a:pt x="28" y="80"/>
                    </a:lnTo>
                    <a:lnTo>
                      <a:pt x="78" y="80"/>
                    </a:lnTo>
                    <a:lnTo>
                      <a:pt x="96" y="32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5" name="Freeform 11"/>
              <p:cNvSpPr>
                <a:spLocks/>
              </p:cNvSpPr>
              <p:nvPr/>
            </p:nvSpPr>
            <p:spPr bwMode="auto">
              <a:xfrm>
                <a:off x="3591" y="3825"/>
                <a:ext cx="123" cy="89"/>
              </a:xfrm>
              <a:custGeom>
                <a:avLst/>
                <a:gdLst/>
                <a:ahLst/>
                <a:cxnLst>
                  <a:cxn ang="0">
                    <a:pos x="77" y="89"/>
                  </a:cxn>
                  <a:cxn ang="0">
                    <a:pos x="123" y="7"/>
                  </a:cxn>
                  <a:cxn ang="0">
                    <a:pos x="81" y="0"/>
                  </a:cxn>
                  <a:cxn ang="0">
                    <a:pos x="57" y="27"/>
                  </a:cxn>
                  <a:cxn ang="0">
                    <a:pos x="16" y="27"/>
                  </a:cxn>
                  <a:cxn ang="0">
                    <a:pos x="0" y="53"/>
                  </a:cxn>
                  <a:cxn ang="0">
                    <a:pos x="77" y="89"/>
                  </a:cxn>
                </a:cxnLst>
                <a:rect l="0" t="0" r="r" b="b"/>
                <a:pathLst>
                  <a:path w="123" h="89">
                    <a:moveTo>
                      <a:pt x="77" y="89"/>
                    </a:moveTo>
                    <a:lnTo>
                      <a:pt x="123" y="7"/>
                    </a:lnTo>
                    <a:lnTo>
                      <a:pt x="81" y="0"/>
                    </a:lnTo>
                    <a:lnTo>
                      <a:pt x="57" y="27"/>
                    </a:lnTo>
                    <a:lnTo>
                      <a:pt x="16" y="27"/>
                    </a:lnTo>
                    <a:lnTo>
                      <a:pt x="0" y="53"/>
                    </a:lnTo>
                    <a:lnTo>
                      <a:pt x="77" y="8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6" name="Freeform 12"/>
              <p:cNvSpPr>
                <a:spLocks/>
              </p:cNvSpPr>
              <p:nvPr/>
            </p:nvSpPr>
            <p:spPr bwMode="auto">
              <a:xfrm>
                <a:off x="4502" y="3691"/>
                <a:ext cx="172" cy="183"/>
              </a:xfrm>
              <a:custGeom>
                <a:avLst/>
                <a:gdLst/>
                <a:ahLst/>
                <a:cxnLst>
                  <a:cxn ang="0">
                    <a:pos x="172" y="151"/>
                  </a:cxn>
                  <a:cxn ang="0">
                    <a:pos x="158" y="22"/>
                  </a:cxn>
                  <a:cxn ang="0">
                    <a:pos x="46" y="0"/>
                  </a:cxn>
                  <a:cxn ang="0">
                    <a:pos x="36" y="54"/>
                  </a:cxn>
                  <a:cxn ang="0">
                    <a:pos x="0" y="68"/>
                  </a:cxn>
                  <a:cxn ang="0">
                    <a:pos x="14" y="157"/>
                  </a:cxn>
                  <a:cxn ang="0">
                    <a:pos x="84" y="183"/>
                  </a:cxn>
                  <a:cxn ang="0">
                    <a:pos x="172" y="151"/>
                  </a:cxn>
                </a:cxnLst>
                <a:rect l="0" t="0" r="r" b="b"/>
                <a:pathLst>
                  <a:path w="172" h="183">
                    <a:moveTo>
                      <a:pt x="172" y="151"/>
                    </a:moveTo>
                    <a:lnTo>
                      <a:pt x="158" y="22"/>
                    </a:lnTo>
                    <a:lnTo>
                      <a:pt x="46" y="0"/>
                    </a:lnTo>
                    <a:lnTo>
                      <a:pt x="36" y="54"/>
                    </a:lnTo>
                    <a:lnTo>
                      <a:pt x="0" y="68"/>
                    </a:lnTo>
                    <a:lnTo>
                      <a:pt x="14" y="157"/>
                    </a:lnTo>
                    <a:lnTo>
                      <a:pt x="84" y="183"/>
                    </a:lnTo>
                    <a:lnTo>
                      <a:pt x="172" y="15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7" name="Freeform 13"/>
              <p:cNvSpPr>
                <a:spLocks/>
              </p:cNvSpPr>
              <p:nvPr/>
            </p:nvSpPr>
            <p:spPr bwMode="auto">
              <a:xfrm>
                <a:off x="4083" y="3533"/>
                <a:ext cx="264" cy="232"/>
              </a:xfrm>
              <a:custGeom>
                <a:avLst/>
                <a:gdLst/>
                <a:ahLst/>
                <a:cxnLst>
                  <a:cxn ang="0">
                    <a:pos x="142" y="222"/>
                  </a:cxn>
                  <a:cxn ang="0">
                    <a:pos x="190" y="164"/>
                  </a:cxn>
                  <a:cxn ang="0">
                    <a:pos x="216" y="78"/>
                  </a:cxn>
                  <a:cxn ang="0">
                    <a:pos x="264" y="20"/>
                  </a:cxn>
                  <a:cxn ang="0">
                    <a:pos x="220" y="0"/>
                  </a:cxn>
                  <a:cxn ang="0">
                    <a:pos x="162" y="50"/>
                  </a:cxn>
                  <a:cxn ang="0">
                    <a:pos x="0" y="84"/>
                  </a:cxn>
                  <a:cxn ang="0">
                    <a:pos x="78" y="232"/>
                  </a:cxn>
                  <a:cxn ang="0">
                    <a:pos x="142" y="222"/>
                  </a:cxn>
                </a:cxnLst>
                <a:rect l="0" t="0" r="r" b="b"/>
                <a:pathLst>
                  <a:path w="264" h="232">
                    <a:moveTo>
                      <a:pt x="142" y="222"/>
                    </a:moveTo>
                    <a:lnTo>
                      <a:pt x="190" y="164"/>
                    </a:lnTo>
                    <a:lnTo>
                      <a:pt x="216" y="78"/>
                    </a:lnTo>
                    <a:lnTo>
                      <a:pt x="264" y="20"/>
                    </a:lnTo>
                    <a:lnTo>
                      <a:pt x="220" y="0"/>
                    </a:lnTo>
                    <a:lnTo>
                      <a:pt x="162" y="50"/>
                    </a:lnTo>
                    <a:lnTo>
                      <a:pt x="0" y="84"/>
                    </a:lnTo>
                    <a:lnTo>
                      <a:pt x="78" y="232"/>
                    </a:lnTo>
                    <a:lnTo>
                      <a:pt x="142" y="222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8" name="Freeform 14"/>
              <p:cNvSpPr>
                <a:spLocks/>
              </p:cNvSpPr>
              <p:nvPr/>
            </p:nvSpPr>
            <p:spPr bwMode="auto">
              <a:xfrm>
                <a:off x="5007" y="3428"/>
                <a:ext cx="252" cy="313"/>
              </a:xfrm>
              <a:custGeom>
                <a:avLst/>
                <a:gdLst/>
                <a:ahLst/>
                <a:cxnLst>
                  <a:cxn ang="0">
                    <a:pos x="214" y="239"/>
                  </a:cxn>
                  <a:cxn ang="0">
                    <a:pos x="252" y="101"/>
                  </a:cxn>
                  <a:cxn ang="0">
                    <a:pos x="238" y="0"/>
                  </a:cxn>
                  <a:cxn ang="0">
                    <a:pos x="190" y="4"/>
                  </a:cxn>
                  <a:cxn ang="0">
                    <a:pos x="130" y="131"/>
                  </a:cxn>
                  <a:cxn ang="0">
                    <a:pos x="102" y="233"/>
                  </a:cxn>
                  <a:cxn ang="0">
                    <a:pos x="68" y="275"/>
                  </a:cxn>
                  <a:cxn ang="0">
                    <a:pos x="0" y="299"/>
                  </a:cxn>
                  <a:cxn ang="0">
                    <a:pos x="72" y="313"/>
                  </a:cxn>
                  <a:cxn ang="0">
                    <a:pos x="130" y="245"/>
                  </a:cxn>
                  <a:cxn ang="0">
                    <a:pos x="214" y="239"/>
                  </a:cxn>
                </a:cxnLst>
                <a:rect l="0" t="0" r="r" b="b"/>
                <a:pathLst>
                  <a:path w="252" h="313">
                    <a:moveTo>
                      <a:pt x="214" y="239"/>
                    </a:moveTo>
                    <a:lnTo>
                      <a:pt x="252" y="101"/>
                    </a:lnTo>
                    <a:lnTo>
                      <a:pt x="238" y="0"/>
                    </a:lnTo>
                    <a:lnTo>
                      <a:pt x="190" y="4"/>
                    </a:lnTo>
                    <a:lnTo>
                      <a:pt x="130" y="131"/>
                    </a:lnTo>
                    <a:lnTo>
                      <a:pt x="102" y="233"/>
                    </a:lnTo>
                    <a:lnTo>
                      <a:pt x="68" y="275"/>
                    </a:lnTo>
                    <a:lnTo>
                      <a:pt x="0" y="299"/>
                    </a:lnTo>
                    <a:lnTo>
                      <a:pt x="72" y="313"/>
                    </a:lnTo>
                    <a:lnTo>
                      <a:pt x="130" y="245"/>
                    </a:lnTo>
                    <a:lnTo>
                      <a:pt x="214" y="23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75" name="Line 15"/>
            <p:cNvSpPr>
              <a:spLocks noChangeShapeType="1"/>
            </p:cNvSpPr>
            <p:nvPr/>
          </p:nvSpPr>
          <p:spPr bwMode="auto">
            <a:xfrm>
              <a:off x="2317" y="3518"/>
              <a:ext cx="1" cy="1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prstDash val="lgDashDotDot"/>
              <a:round/>
              <a:headEnd/>
              <a:tailEnd/>
            </a:ln>
          </p:spPr>
          <p:txBody>
            <a:bodyPr/>
            <a:lstStyle/>
            <a:p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6" name="Line 16"/>
            <p:cNvSpPr>
              <a:spLocks noChangeShapeType="1"/>
            </p:cNvSpPr>
            <p:nvPr/>
          </p:nvSpPr>
          <p:spPr bwMode="auto">
            <a:xfrm>
              <a:off x="3410" y="3641"/>
              <a:ext cx="1" cy="0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prstDash val="lgDashDotDot"/>
              <a:round/>
              <a:headEnd/>
              <a:tailEnd/>
            </a:ln>
          </p:spPr>
          <p:txBody>
            <a:bodyPr/>
            <a:lstStyle/>
            <a:p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7" name="Freeform 17"/>
            <p:cNvSpPr>
              <a:spLocks/>
            </p:cNvSpPr>
            <p:nvPr/>
          </p:nvSpPr>
          <p:spPr bwMode="auto">
            <a:xfrm>
              <a:off x="2771" y="1917"/>
              <a:ext cx="371" cy="375"/>
            </a:xfrm>
            <a:custGeom>
              <a:avLst/>
              <a:gdLst/>
              <a:ahLst/>
              <a:cxnLst>
                <a:cxn ang="0">
                  <a:pos x="0" y="423"/>
                </a:cxn>
                <a:cxn ang="0">
                  <a:pos x="8" y="351"/>
                </a:cxn>
                <a:cxn ang="0">
                  <a:pos x="72" y="307"/>
                </a:cxn>
                <a:cxn ang="0">
                  <a:pos x="64" y="277"/>
                </a:cxn>
                <a:cxn ang="0">
                  <a:pos x="140" y="207"/>
                </a:cxn>
                <a:cxn ang="0">
                  <a:pos x="154" y="164"/>
                </a:cxn>
                <a:cxn ang="0">
                  <a:pos x="190" y="164"/>
                </a:cxn>
                <a:cxn ang="0">
                  <a:pos x="194" y="138"/>
                </a:cxn>
                <a:cxn ang="0">
                  <a:pos x="292" y="40"/>
                </a:cxn>
                <a:cxn ang="0">
                  <a:pos x="339" y="0"/>
                </a:cxn>
                <a:cxn ang="0">
                  <a:pos x="391" y="52"/>
                </a:cxn>
                <a:cxn ang="0">
                  <a:pos x="381" y="82"/>
                </a:cxn>
                <a:cxn ang="0">
                  <a:pos x="373" y="108"/>
                </a:cxn>
                <a:cxn ang="0">
                  <a:pos x="413" y="243"/>
                </a:cxn>
                <a:cxn ang="0">
                  <a:pos x="443" y="251"/>
                </a:cxn>
                <a:cxn ang="0">
                  <a:pos x="473" y="397"/>
                </a:cxn>
                <a:cxn ang="0">
                  <a:pos x="507" y="423"/>
                </a:cxn>
                <a:cxn ang="0">
                  <a:pos x="507" y="449"/>
                </a:cxn>
                <a:cxn ang="0">
                  <a:pos x="463" y="463"/>
                </a:cxn>
                <a:cxn ang="0">
                  <a:pos x="473" y="487"/>
                </a:cxn>
                <a:cxn ang="0">
                  <a:pos x="409" y="463"/>
                </a:cxn>
                <a:cxn ang="0">
                  <a:pos x="314" y="537"/>
                </a:cxn>
                <a:cxn ang="0">
                  <a:pos x="302" y="509"/>
                </a:cxn>
                <a:cxn ang="0">
                  <a:pos x="329" y="479"/>
                </a:cxn>
                <a:cxn ang="0">
                  <a:pos x="325" y="449"/>
                </a:cxn>
                <a:cxn ang="0">
                  <a:pos x="228" y="435"/>
                </a:cxn>
                <a:cxn ang="0">
                  <a:pos x="136" y="377"/>
                </a:cxn>
                <a:cxn ang="0">
                  <a:pos x="78" y="409"/>
                </a:cxn>
                <a:cxn ang="0">
                  <a:pos x="0" y="423"/>
                </a:cxn>
              </a:cxnLst>
              <a:rect l="0" t="0" r="r" b="b"/>
              <a:pathLst>
                <a:path w="507" h="537">
                  <a:moveTo>
                    <a:pt x="0" y="423"/>
                  </a:moveTo>
                  <a:lnTo>
                    <a:pt x="8" y="351"/>
                  </a:lnTo>
                  <a:lnTo>
                    <a:pt x="72" y="307"/>
                  </a:lnTo>
                  <a:lnTo>
                    <a:pt x="64" y="277"/>
                  </a:lnTo>
                  <a:lnTo>
                    <a:pt x="140" y="207"/>
                  </a:lnTo>
                  <a:lnTo>
                    <a:pt x="154" y="164"/>
                  </a:lnTo>
                  <a:lnTo>
                    <a:pt x="190" y="164"/>
                  </a:lnTo>
                  <a:lnTo>
                    <a:pt x="194" y="138"/>
                  </a:lnTo>
                  <a:lnTo>
                    <a:pt x="292" y="40"/>
                  </a:lnTo>
                  <a:lnTo>
                    <a:pt x="339" y="0"/>
                  </a:lnTo>
                  <a:lnTo>
                    <a:pt x="391" y="52"/>
                  </a:lnTo>
                  <a:lnTo>
                    <a:pt x="381" y="82"/>
                  </a:lnTo>
                  <a:lnTo>
                    <a:pt x="373" y="108"/>
                  </a:lnTo>
                  <a:lnTo>
                    <a:pt x="413" y="243"/>
                  </a:lnTo>
                  <a:lnTo>
                    <a:pt x="443" y="251"/>
                  </a:lnTo>
                  <a:lnTo>
                    <a:pt x="473" y="397"/>
                  </a:lnTo>
                  <a:lnTo>
                    <a:pt x="507" y="423"/>
                  </a:lnTo>
                  <a:lnTo>
                    <a:pt x="507" y="449"/>
                  </a:lnTo>
                  <a:lnTo>
                    <a:pt x="463" y="463"/>
                  </a:lnTo>
                  <a:lnTo>
                    <a:pt x="473" y="487"/>
                  </a:lnTo>
                  <a:lnTo>
                    <a:pt x="409" y="463"/>
                  </a:lnTo>
                  <a:lnTo>
                    <a:pt x="314" y="537"/>
                  </a:lnTo>
                  <a:lnTo>
                    <a:pt x="302" y="509"/>
                  </a:lnTo>
                  <a:lnTo>
                    <a:pt x="329" y="479"/>
                  </a:lnTo>
                  <a:lnTo>
                    <a:pt x="325" y="449"/>
                  </a:lnTo>
                  <a:lnTo>
                    <a:pt x="228" y="435"/>
                  </a:lnTo>
                  <a:lnTo>
                    <a:pt x="136" y="377"/>
                  </a:lnTo>
                  <a:lnTo>
                    <a:pt x="78" y="409"/>
                  </a:lnTo>
                  <a:lnTo>
                    <a:pt x="0" y="423"/>
                  </a:lnTo>
                  <a:close/>
                </a:path>
              </a:pathLst>
            </a:custGeom>
            <a:solidFill>
              <a:schemeClr val="accent4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8" name="Freeform 18"/>
            <p:cNvSpPr>
              <a:spLocks/>
            </p:cNvSpPr>
            <p:nvPr/>
          </p:nvSpPr>
          <p:spPr bwMode="auto">
            <a:xfrm>
              <a:off x="2010" y="2121"/>
              <a:ext cx="739" cy="773"/>
            </a:xfrm>
            <a:custGeom>
              <a:avLst/>
              <a:gdLst/>
              <a:ahLst/>
              <a:cxnLst>
                <a:cxn ang="0">
                  <a:pos x="313" y="74"/>
                </a:cxn>
                <a:cxn ang="0">
                  <a:pos x="355" y="92"/>
                </a:cxn>
                <a:cxn ang="0">
                  <a:pos x="429" y="36"/>
                </a:cxn>
                <a:cxn ang="0">
                  <a:pos x="507" y="0"/>
                </a:cxn>
                <a:cxn ang="0">
                  <a:pos x="612" y="66"/>
                </a:cxn>
                <a:cxn ang="0">
                  <a:pos x="674" y="74"/>
                </a:cxn>
                <a:cxn ang="0">
                  <a:pos x="760" y="88"/>
                </a:cxn>
                <a:cxn ang="0">
                  <a:pos x="782" y="156"/>
                </a:cxn>
                <a:cxn ang="0">
                  <a:pos x="760" y="212"/>
                </a:cxn>
                <a:cxn ang="0">
                  <a:pos x="846" y="315"/>
                </a:cxn>
                <a:cxn ang="0">
                  <a:pos x="828" y="357"/>
                </a:cxn>
                <a:cxn ang="0">
                  <a:pos x="876" y="417"/>
                </a:cxn>
                <a:cxn ang="0">
                  <a:pos x="924" y="479"/>
                </a:cxn>
                <a:cxn ang="0">
                  <a:pos x="1007" y="483"/>
                </a:cxn>
                <a:cxn ang="0">
                  <a:pos x="993" y="547"/>
                </a:cxn>
                <a:cxn ang="0">
                  <a:pos x="898" y="595"/>
                </a:cxn>
                <a:cxn ang="0">
                  <a:pos x="910" y="667"/>
                </a:cxn>
                <a:cxn ang="0">
                  <a:pos x="876" y="734"/>
                </a:cxn>
                <a:cxn ang="0">
                  <a:pos x="816" y="754"/>
                </a:cxn>
                <a:cxn ang="0">
                  <a:pos x="798" y="798"/>
                </a:cxn>
                <a:cxn ang="0">
                  <a:pos x="682" y="876"/>
                </a:cxn>
                <a:cxn ang="0">
                  <a:pos x="694" y="968"/>
                </a:cxn>
                <a:cxn ang="0">
                  <a:pos x="612" y="972"/>
                </a:cxn>
                <a:cxn ang="0">
                  <a:pos x="546" y="1028"/>
                </a:cxn>
                <a:cxn ang="0">
                  <a:pos x="542" y="1089"/>
                </a:cxn>
                <a:cxn ang="0">
                  <a:pos x="489" y="1099"/>
                </a:cxn>
                <a:cxn ang="0">
                  <a:pos x="389" y="1064"/>
                </a:cxn>
                <a:cxn ang="0">
                  <a:pos x="231" y="964"/>
                </a:cxn>
                <a:cxn ang="0">
                  <a:pos x="157" y="964"/>
                </a:cxn>
                <a:cxn ang="0">
                  <a:pos x="139" y="956"/>
                </a:cxn>
                <a:cxn ang="0">
                  <a:pos x="116" y="918"/>
                </a:cxn>
                <a:cxn ang="0">
                  <a:pos x="66" y="862"/>
                </a:cxn>
                <a:cxn ang="0">
                  <a:pos x="36" y="806"/>
                </a:cxn>
                <a:cxn ang="0">
                  <a:pos x="78" y="730"/>
                </a:cxn>
                <a:cxn ang="0">
                  <a:pos x="130" y="655"/>
                </a:cxn>
                <a:cxn ang="0">
                  <a:pos x="161" y="617"/>
                </a:cxn>
                <a:cxn ang="0">
                  <a:pos x="153" y="551"/>
                </a:cxn>
                <a:cxn ang="0">
                  <a:pos x="108" y="521"/>
                </a:cxn>
                <a:cxn ang="0">
                  <a:pos x="104" y="457"/>
                </a:cxn>
                <a:cxn ang="0">
                  <a:pos x="66" y="397"/>
                </a:cxn>
                <a:cxn ang="0">
                  <a:pos x="36" y="345"/>
                </a:cxn>
                <a:cxn ang="0">
                  <a:pos x="0" y="301"/>
                </a:cxn>
                <a:cxn ang="0">
                  <a:pos x="201" y="240"/>
                </a:cxn>
                <a:cxn ang="0">
                  <a:pos x="239" y="224"/>
                </a:cxn>
                <a:cxn ang="0">
                  <a:pos x="265" y="156"/>
                </a:cxn>
              </a:cxnLst>
              <a:rect l="0" t="0" r="r" b="b"/>
              <a:pathLst>
                <a:path w="1007" h="1107">
                  <a:moveTo>
                    <a:pt x="251" y="104"/>
                  </a:moveTo>
                  <a:lnTo>
                    <a:pt x="313" y="74"/>
                  </a:lnTo>
                  <a:lnTo>
                    <a:pt x="347" y="100"/>
                  </a:lnTo>
                  <a:lnTo>
                    <a:pt x="355" y="92"/>
                  </a:lnTo>
                  <a:lnTo>
                    <a:pt x="381" y="48"/>
                  </a:lnTo>
                  <a:lnTo>
                    <a:pt x="429" y="36"/>
                  </a:lnTo>
                  <a:lnTo>
                    <a:pt x="475" y="0"/>
                  </a:lnTo>
                  <a:lnTo>
                    <a:pt x="507" y="0"/>
                  </a:lnTo>
                  <a:lnTo>
                    <a:pt x="572" y="74"/>
                  </a:lnTo>
                  <a:lnTo>
                    <a:pt x="612" y="66"/>
                  </a:lnTo>
                  <a:lnTo>
                    <a:pt x="640" y="84"/>
                  </a:lnTo>
                  <a:lnTo>
                    <a:pt x="674" y="74"/>
                  </a:lnTo>
                  <a:lnTo>
                    <a:pt x="712" y="112"/>
                  </a:lnTo>
                  <a:lnTo>
                    <a:pt x="760" y="88"/>
                  </a:lnTo>
                  <a:lnTo>
                    <a:pt x="778" y="100"/>
                  </a:lnTo>
                  <a:lnTo>
                    <a:pt x="782" y="156"/>
                  </a:lnTo>
                  <a:lnTo>
                    <a:pt x="794" y="178"/>
                  </a:lnTo>
                  <a:lnTo>
                    <a:pt x="760" y="212"/>
                  </a:lnTo>
                  <a:lnTo>
                    <a:pt x="764" y="236"/>
                  </a:lnTo>
                  <a:lnTo>
                    <a:pt x="846" y="315"/>
                  </a:lnTo>
                  <a:lnTo>
                    <a:pt x="858" y="327"/>
                  </a:lnTo>
                  <a:lnTo>
                    <a:pt x="828" y="357"/>
                  </a:lnTo>
                  <a:lnTo>
                    <a:pt x="846" y="389"/>
                  </a:lnTo>
                  <a:lnTo>
                    <a:pt x="876" y="417"/>
                  </a:lnTo>
                  <a:lnTo>
                    <a:pt x="894" y="479"/>
                  </a:lnTo>
                  <a:lnTo>
                    <a:pt x="924" y="479"/>
                  </a:lnTo>
                  <a:lnTo>
                    <a:pt x="989" y="465"/>
                  </a:lnTo>
                  <a:lnTo>
                    <a:pt x="1007" y="483"/>
                  </a:lnTo>
                  <a:lnTo>
                    <a:pt x="1003" y="529"/>
                  </a:lnTo>
                  <a:lnTo>
                    <a:pt x="993" y="547"/>
                  </a:lnTo>
                  <a:lnTo>
                    <a:pt x="949" y="559"/>
                  </a:lnTo>
                  <a:lnTo>
                    <a:pt x="898" y="595"/>
                  </a:lnTo>
                  <a:lnTo>
                    <a:pt x="898" y="633"/>
                  </a:lnTo>
                  <a:lnTo>
                    <a:pt x="910" y="667"/>
                  </a:lnTo>
                  <a:lnTo>
                    <a:pt x="876" y="712"/>
                  </a:lnTo>
                  <a:lnTo>
                    <a:pt x="876" y="734"/>
                  </a:lnTo>
                  <a:lnTo>
                    <a:pt x="854" y="758"/>
                  </a:lnTo>
                  <a:lnTo>
                    <a:pt x="816" y="754"/>
                  </a:lnTo>
                  <a:lnTo>
                    <a:pt x="798" y="772"/>
                  </a:lnTo>
                  <a:lnTo>
                    <a:pt x="798" y="798"/>
                  </a:lnTo>
                  <a:lnTo>
                    <a:pt x="730" y="824"/>
                  </a:lnTo>
                  <a:lnTo>
                    <a:pt x="682" y="876"/>
                  </a:lnTo>
                  <a:lnTo>
                    <a:pt x="678" y="906"/>
                  </a:lnTo>
                  <a:lnTo>
                    <a:pt x="694" y="968"/>
                  </a:lnTo>
                  <a:lnTo>
                    <a:pt x="656" y="1008"/>
                  </a:lnTo>
                  <a:lnTo>
                    <a:pt x="612" y="972"/>
                  </a:lnTo>
                  <a:lnTo>
                    <a:pt x="596" y="972"/>
                  </a:lnTo>
                  <a:lnTo>
                    <a:pt x="546" y="1028"/>
                  </a:lnTo>
                  <a:lnTo>
                    <a:pt x="556" y="1069"/>
                  </a:lnTo>
                  <a:lnTo>
                    <a:pt x="542" y="1089"/>
                  </a:lnTo>
                  <a:lnTo>
                    <a:pt x="511" y="1077"/>
                  </a:lnTo>
                  <a:lnTo>
                    <a:pt x="489" y="1099"/>
                  </a:lnTo>
                  <a:lnTo>
                    <a:pt x="475" y="1107"/>
                  </a:lnTo>
                  <a:lnTo>
                    <a:pt x="389" y="1064"/>
                  </a:lnTo>
                  <a:lnTo>
                    <a:pt x="265" y="1020"/>
                  </a:lnTo>
                  <a:lnTo>
                    <a:pt x="231" y="964"/>
                  </a:lnTo>
                  <a:lnTo>
                    <a:pt x="179" y="990"/>
                  </a:lnTo>
                  <a:lnTo>
                    <a:pt x="157" y="964"/>
                  </a:lnTo>
                  <a:lnTo>
                    <a:pt x="130" y="972"/>
                  </a:lnTo>
                  <a:lnTo>
                    <a:pt x="139" y="956"/>
                  </a:lnTo>
                  <a:lnTo>
                    <a:pt x="122" y="930"/>
                  </a:lnTo>
                  <a:lnTo>
                    <a:pt x="116" y="918"/>
                  </a:lnTo>
                  <a:lnTo>
                    <a:pt x="66" y="876"/>
                  </a:lnTo>
                  <a:lnTo>
                    <a:pt x="66" y="862"/>
                  </a:lnTo>
                  <a:lnTo>
                    <a:pt x="36" y="834"/>
                  </a:lnTo>
                  <a:lnTo>
                    <a:pt x="36" y="806"/>
                  </a:lnTo>
                  <a:lnTo>
                    <a:pt x="58" y="764"/>
                  </a:lnTo>
                  <a:lnTo>
                    <a:pt x="78" y="730"/>
                  </a:lnTo>
                  <a:lnTo>
                    <a:pt x="78" y="700"/>
                  </a:lnTo>
                  <a:lnTo>
                    <a:pt x="130" y="655"/>
                  </a:lnTo>
                  <a:lnTo>
                    <a:pt x="153" y="645"/>
                  </a:lnTo>
                  <a:lnTo>
                    <a:pt x="161" y="617"/>
                  </a:lnTo>
                  <a:lnTo>
                    <a:pt x="171" y="563"/>
                  </a:lnTo>
                  <a:lnTo>
                    <a:pt x="153" y="551"/>
                  </a:lnTo>
                  <a:lnTo>
                    <a:pt x="126" y="555"/>
                  </a:lnTo>
                  <a:lnTo>
                    <a:pt x="108" y="521"/>
                  </a:lnTo>
                  <a:lnTo>
                    <a:pt x="104" y="469"/>
                  </a:lnTo>
                  <a:lnTo>
                    <a:pt x="104" y="457"/>
                  </a:lnTo>
                  <a:lnTo>
                    <a:pt x="70" y="435"/>
                  </a:lnTo>
                  <a:lnTo>
                    <a:pt x="66" y="397"/>
                  </a:lnTo>
                  <a:lnTo>
                    <a:pt x="52" y="375"/>
                  </a:lnTo>
                  <a:lnTo>
                    <a:pt x="36" y="345"/>
                  </a:lnTo>
                  <a:lnTo>
                    <a:pt x="0" y="311"/>
                  </a:lnTo>
                  <a:lnTo>
                    <a:pt x="0" y="301"/>
                  </a:lnTo>
                  <a:lnTo>
                    <a:pt x="153" y="301"/>
                  </a:lnTo>
                  <a:lnTo>
                    <a:pt x="201" y="240"/>
                  </a:lnTo>
                  <a:lnTo>
                    <a:pt x="231" y="244"/>
                  </a:lnTo>
                  <a:lnTo>
                    <a:pt x="239" y="224"/>
                  </a:lnTo>
                  <a:lnTo>
                    <a:pt x="251" y="186"/>
                  </a:lnTo>
                  <a:lnTo>
                    <a:pt x="265" y="156"/>
                  </a:lnTo>
                  <a:lnTo>
                    <a:pt x="251" y="104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9" name="Freeform 19"/>
            <p:cNvSpPr>
              <a:spLocks/>
            </p:cNvSpPr>
            <p:nvPr/>
          </p:nvSpPr>
          <p:spPr bwMode="auto">
            <a:xfrm>
              <a:off x="2563" y="1857"/>
              <a:ext cx="1138" cy="1025"/>
            </a:xfrm>
            <a:custGeom>
              <a:avLst/>
              <a:gdLst/>
              <a:ahLst/>
              <a:cxnLst>
                <a:cxn ang="0">
                  <a:pos x="126" y="505"/>
                </a:cxn>
                <a:cxn ang="0">
                  <a:pos x="217" y="453"/>
                </a:cxn>
                <a:cxn ang="0">
                  <a:pos x="283" y="509"/>
                </a:cxn>
                <a:cxn ang="0">
                  <a:pos x="507" y="517"/>
                </a:cxn>
                <a:cxn ang="0">
                  <a:pos x="606" y="565"/>
                </a:cxn>
                <a:cxn ang="0">
                  <a:pos x="686" y="549"/>
                </a:cxn>
                <a:cxn ang="0">
                  <a:pos x="784" y="535"/>
                </a:cxn>
                <a:cxn ang="0">
                  <a:pos x="720" y="341"/>
                </a:cxn>
                <a:cxn ang="0">
                  <a:pos x="652" y="190"/>
                </a:cxn>
                <a:cxn ang="0">
                  <a:pos x="682" y="60"/>
                </a:cxn>
                <a:cxn ang="0">
                  <a:pos x="776" y="26"/>
                </a:cxn>
                <a:cxn ang="0">
                  <a:pos x="850" y="22"/>
                </a:cxn>
                <a:cxn ang="0">
                  <a:pos x="992" y="46"/>
                </a:cxn>
                <a:cxn ang="0">
                  <a:pos x="1015" y="130"/>
                </a:cxn>
                <a:cxn ang="0">
                  <a:pos x="1159" y="72"/>
                </a:cxn>
                <a:cxn ang="0">
                  <a:pos x="1287" y="285"/>
                </a:cxn>
                <a:cxn ang="0">
                  <a:pos x="1299" y="329"/>
                </a:cxn>
                <a:cxn ang="0">
                  <a:pos x="1255" y="333"/>
                </a:cxn>
                <a:cxn ang="0">
                  <a:pos x="1225" y="389"/>
                </a:cxn>
                <a:cxn ang="0">
                  <a:pos x="1255" y="497"/>
                </a:cxn>
                <a:cxn ang="0">
                  <a:pos x="1383" y="573"/>
                </a:cxn>
                <a:cxn ang="0">
                  <a:pos x="1440" y="672"/>
                </a:cxn>
                <a:cxn ang="0">
                  <a:pos x="1401" y="740"/>
                </a:cxn>
                <a:cxn ang="0">
                  <a:pos x="1369" y="866"/>
                </a:cxn>
                <a:cxn ang="0">
                  <a:pos x="1458" y="914"/>
                </a:cxn>
                <a:cxn ang="0">
                  <a:pos x="1450" y="1042"/>
                </a:cxn>
                <a:cxn ang="0">
                  <a:pos x="1552" y="1117"/>
                </a:cxn>
                <a:cxn ang="0">
                  <a:pos x="1514" y="1181"/>
                </a:cxn>
                <a:cxn ang="0">
                  <a:pos x="1436" y="1167"/>
                </a:cxn>
                <a:cxn ang="0">
                  <a:pos x="1385" y="1163"/>
                </a:cxn>
                <a:cxn ang="0">
                  <a:pos x="1347" y="1275"/>
                </a:cxn>
                <a:cxn ang="0">
                  <a:pos x="1283" y="1305"/>
                </a:cxn>
                <a:cxn ang="0">
                  <a:pos x="1229" y="1343"/>
                </a:cxn>
                <a:cxn ang="0">
                  <a:pos x="1109" y="1403"/>
                </a:cxn>
                <a:cxn ang="0">
                  <a:pos x="988" y="1443"/>
                </a:cxn>
                <a:cxn ang="0">
                  <a:pos x="950" y="1267"/>
                </a:cxn>
                <a:cxn ang="0">
                  <a:pos x="868" y="1275"/>
                </a:cxn>
                <a:cxn ang="0">
                  <a:pos x="780" y="1275"/>
                </a:cxn>
                <a:cxn ang="0">
                  <a:pos x="652" y="1301"/>
                </a:cxn>
                <a:cxn ang="0">
                  <a:pos x="545" y="1285"/>
                </a:cxn>
                <a:cxn ang="0">
                  <a:pos x="385" y="1313"/>
                </a:cxn>
                <a:cxn ang="0">
                  <a:pos x="174" y="1203"/>
                </a:cxn>
                <a:cxn ang="0">
                  <a:pos x="116" y="1083"/>
                </a:cxn>
                <a:cxn ang="0">
                  <a:pos x="138" y="974"/>
                </a:cxn>
                <a:cxn ang="0">
                  <a:pos x="243" y="904"/>
                </a:cxn>
                <a:cxn ang="0">
                  <a:pos x="199" y="848"/>
                </a:cxn>
                <a:cxn ang="0">
                  <a:pos x="120" y="818"/>
                </a:cxn>
                <a:cxn ang="0">
                  <a:pos x="74" y="736"/>
                </a:cxn>
                <a:cxn ang="0">
                  <a:pos x="4" y="599"/>
                </a:cxn>
              </a:cxnLst>
              <a:rect l="0" t="0" r="r" b="b"/>
              <a:pathLst>
                <a:path w="1552" h="1468">
                  <a:moveTo>
                    <a:pt x="40" y="553"/>
                  </a:moveTo>
                  <a:lnTo>
                    <a:pt x="82" y="517"/>
                  </a:lnTo>
                  <a:lnTo>
                    <a:pt x="126" y="505"/>
                  </a:lnTo>
                  <a:lnTo>
                    <a:pt x="170" y="499"/>
                  </a:lnTo>
                  <a:lnTo>
                    <a:pt x="182" y="467"/>
                  </a:lnTo>
                  <a:lnTo>
                    <a:pt x="217" y="453"/>
                  </a:lnTo>
                  <a:lnTo>
                    <a:pt x="239" y="483"/>
                  </a:lnTo>
                  <a:lnTo>
                    <a:pt x="251" y="517"/>
                  </a:lnTo>
                  <a:lnTo>
                    <a:pt x="283" y="509"/>
                  </a:lnTo>
                  <a:lnTo>
                    <a:pt x="347" y="495"/>
                  </a:lnTo>
                  <a:lnTo>
                    <a:pt x="419" y="463"/>
                  </a:lnTo>
                  <a:lnTo>
                    <a:pt x="507" y="517"/>
                  </a:lnTo>
                  <a:lnTo>
                    <a:pt x="597" y="535"/>
                  </a:lnTo>
                  <a:lnTo>
                    <a:pt x="606" y="557"/>
                  </a:lnTo>
                  <a:lnTo>
                    <a:pt x="606" y="565"/>
                  </a:lnTo>
                  <a:lnTo>
                    <a:pt x="579" y="595"/>
                  </a:lnTo>
                  <a:lnTo>
                    <a:pt x="597" y="627"/>
                  </a:lnTo>
                  <a:lnTo>
                    <a:pt x="686" y="549"/>
                  </a:lnTo>
                  <a:lnTo>
                    <a:pt x="750" y="579"/>
                  </a:lnTo>
                  <a:lnTo>
                    <a:pt x="746" y="549"/>
                  </a:lnTo>
                  <a:lnTo>
                    <a:pt x="784" y="535"/>
                  </a:lnTo>
                  <a:lnTo>
                    <a:pt x="784" y="509"/>
                  </a:lnTo>
                  <a:lnTo>
                    <a:pt x="750" y="479"/>
                  </a:lnTo>
                  <a:lnTo>
                    <a:pt x="720" y="341"/>
                  </a:lnTo>
                  <a:lnTo>
                    <a:pt x="716" y="333"/>
                  </a:lnTo>
                  <a:lnTo>
                    <a:pt x="700" y="333"/>
                  </a:lnTo>
                  <a:lnTo>
                    <a:pt x="652" y="190"/>
                  </a:lnTo>
                  <a:lnTo>
                    <a:pt x="668" y="138"/>
                  </a:lnTo>
                  <a:lnTo>
                    <a:pt x="618" y="86"/>
                  </a:lnTo>
                  <a:lnTo>
                    <a:pt x="682" y="60"/>
                  </a:lnTo>
                  <a:lnTo>
                    <a:pt x="730" y="18"/>
                  </a:lnTo>
                  <a:lnTo>
                    <a:pt x="764" y="4"/>
                  </a:lnTo>
                  <a:lnTo>
                    <a:pt x="776" y="26"/>
                  </a:lnTo>
                  <a:lnTo>
                    <a:pt x="798" y="26"/>
                  </a:lnTo>
                  <a:lnTo>
                    <a:pt x="834" y="0"/>
                  </a:lnTo>
                  <a:lnTo>
                    <a:pt x="850" y="22"/>
                  </a:lnTo>
                  <a:lnTo>
                    <a:pt x="876" y="18"/>
                  </a:lnTo>
                  <a:lnTo>
                    <a:pt x="932" y="38"/>
                  </a:lnTo>
                  <a:lnTo>
                    <a:pt x="992" y="46"/>
                  </a:lnTo>
                  <a:lnTo>
                    <a:pt x="954" y="72"/>
                  </a:lnTo>
                  <a:lnTo>
                    <a:pt x="984" y="146"/>
                  </a:lnTo>
                  <a:lnTo>
                    <a:pt x="1015" y="130"/>
                  </a:lnTo>
                  <a:lnTo>
                    <a:pt x="1089" y="126"/>
                  </a:lnTo>
                  <a:lnTo>
                    <a:pt x="1123" y="104"/>
                  </a:lnTo>
                  <a:lnTo>
                    <a:pt x="1159" y="72"/>
                  </a:lnTo>
                  <a:lnTo>
                    <a:pt x="1255" y="166"/>
                  </a:lnTo>
                  <a:lnTo>
                    <a:pt x="1289" y="184"/>
                  </a:lnTo>
                  <a:lnTo>
                    <a:pt x="1287" y="285"/>
                  </a:lnTo>
                  <a:lnTo>
                    <a:pt x="1313" y="297"/>
                  </a:lnTo>
                  <a:lnTo>
                    <a:pt x="1311" y="321"/>
                  </a:lnTo>
                  <a:lnTo>
                    <a:pt x="1299" y="329"/>
                  </a:lnTo>
                  <a:lnTo>
                    <a:pt x="1283" y="317"/>
                  </a:lnTo>
                  <a:lnTo>
                    <a:pt x="1271" y="321"/>
                  </a:lnTo>
                  <a:lnTo>
                    <a:pt x="1255" y="333"/>
                  </a:lnTo>
                  <a:lnTo>
                    <a:pt x="1253" y="359"/>
                  </a:lnTo>
                  <a:lnTo>
                    <a:pt x="1239" y="375"/>
                  </a:lnTo>
                  <a:lnTo>
                    <a:pt x="1225" y="389"/>
                  </a:lnTo>
                  <a:lnTo>
                    <a:pt x="1205" y="397"/>
                  </a:lnTo>
                  <a:lnTo>
                    <a:pt x="1225" y="441"/>
                  </a:lnTo>
                  <a:lnTo>
                    <a:pt x="1255" y="497"/>
                  </a:lnTo>
                  <a:lnTo>
                    <a:pt x="1299" y="481"/>
                  </a:lnTo>
                  <a:lnTo>
                    <a:pt x="1355" y="567"/>
                  </a:lnTo>
                  <a:lnTo>
                    <a:pt x="1383" y="573"/>
                  </a:lnTo>
                  <a:lnTo>
                    <a:pt x="1415" y="595"/>
                  </a:lnTo>
                  <a:lnTo>
                    <a:pt x="1436" y="627"/>
                  </a:lnTo>
                  <a:lnTo>
                    <a:pt x="1440" y="672"/>
                  </a:lnTo>
                  <a:lnTo>
                    <a:pt x="1411" y="710"/>
                  </a:lnTo>
                  <a:lnTo>
                    <a:pt x="1397" y="714"/>
                  </a:lnTo>
                  <a:lnTo>
                    <a:pt x="1401" y="740"/>
                  </a:lnTo>
                  <a:lnTo>
                    <a:pt x="1347" y="754"/>
                  </a:lnTo>
                  <a:lnTo>
                    <a:pt x="1329" y="844"/>
                  </a:lnTo>
                  <a:lnTo>
                    <a:pt x="1369" y="866"/>
                  </a:lnTo>
                  <a:lnTo>
                    <a:pt x="1405" y="874"/>
                  </a:lnTo>
                  <a:lnTo>
                    <a:pt x="1444" y="896"/>
                  </a:lnTo>
                  <a:lnTo>
                    <a:pt x="1458" y="914"/>
                  </a:lnTo>
                  <a:lnTo>
                    <a:pt x="1440" y="964"/>
                  </a:lnTo>
                  <a:lnTo>
                    <a:pt x="1440" y="1016"/>
                  </a:lnTo>
                  <a:lnTo>
                    <a:pt x="1450" y="1042"/>
                  </a:lnTo>
                  <a:lnTo>
                    <a:pt x="1532" y="1073"/>
                  </a:lnTo>
                  <a:lnTo>
                    <a:pt x="1548" y="1087"/>
                  </a:lnTo>
                  <a:lnTo>
                    <a:pt x="1552" y="1117"/>
                  </a:lnTo>
                  <a:lnTo>
                    <a:pt x="1536" y="1137"/>
                  </a:lnTo>
                  <a:lnTo>
                    <a:pt x="1524" y="1163"/>
                  </a:lnTo>
                  <a:lnTo>
                    <a:pt x="1514" y="1181"/>
                  </a:lnTo>
                  <a:lnTo>
                    <a:pt x="1488" y="1151"/>
                  </a:lnTo>
                  <a:lnTo>
                    <a:pt x="1470" y="1147"/>
                  </a:lnTo>
                  <a:lnTo>
                    <a:pt x="1436" y="1167"/>
                  </a:lnTo>
                  <a:lnTo>
                    <a:pt x="1420" y="1177"/>
                  </a:lnTo>
                  <a:lnTo>
                    <a:pt x="1401" y="1151"/>
                  </a:lnTo>
                  <a:lnTo>
                    <a:pt x="1385" y="1163"/>
                  </a:lnTo>
                  <a:lnTo>
                    <a:pt x="1389" y="1199"/>
                  </a:lnTo>
                  <a:lnTo>
                    <a:pt x="1369" y="1249"/>
                  </a:lnTo>
                  <a:lnTo>
                    <a:pt x="1347" y="1275"/>
                  </a:lnTo>
                  <a:lnTo>
                    <a:pt x="1351" y="1301"/>
                  </a:lnTo>
                  <a:lnTo>
                    <a:pt x="1295" y="1331"/>
                  </a:lnTo>
                  <a:lnTo>
                    <a:pt x="1283" y="1305"/>
                  </a:lnTo>
                  <a:lnTo>
                    <a:pt x="1269" y="1305"/>
                  </a:lnTo>
                  <a:lnTo>
                    <a:pt x="1229" y="1313"/>
                  </a:lnTo>
                  <a:lnTo>
                    <a:pt x="1229" y="1343"/>
                  </a:lnTo>
                  <a:lnTo>
                    <a:pt x="1193" y="1343"/>
                  </a:lnTo>
                  <a:lnTo>
                    <a:pt x="1157" y="1377"/>
                  </a:lnTo>
                  <a:lnTo>
                    <a:pt x="1109" y="1403"/>
                  </a:lnTo>
                  <a:lnTo>
                    <a:pt x="1049" y="1468"/>
                  </a:lnTo>
                  <a:lnTo>
                    <a:pt x="992" y="1456"/>
                  </a:lnTo>
                  <a:lnTo>
                    <a:pt x="988" y="1443"/>
                  </a:lnTo>
                  <a:lnTo>
                    <a:pt x="1041" y="1359"/>
                  </a:lnTo>
                  <a:lnTo>
                    <a:pt x="972" y="1259"/>
                  </a:lnTo>
                  <a:lnTo>
                    <a:pt x="950" y="1267"/>
                  </a:lnTo>
                  <a:lnTo>
                    <a:pt x="896" y="1245"/>
                  </a:lnTo>
                  <a:lnTo>
                    <a:pt x="884" y="1255"/>
                  </a:lnTo>
                  <a:lnTo>
                    <a:pt x="868" y="1275"/>
                  </a:lnTo>
                  <a:lnTo>
                    <a:pt x="838" y="1267"/>
                  </a:lnTo>
                  <a:lnTo>
                    <a:pt x="812" y="1305"/>
                  </a:lnTo>
                  <a:lnTo>
                    <a:pt x="780" y="1275"/>
                  </a:lnTo>
                  <a:lnTo>
                    <a:pt x="734" y="1285"/>
                  </a:lnTo>
                  <a:lnTo>
                    <a:pt x="686" y="1267"/>
                  </a:lnTo>
                  <a:lnTo>
                    <a:pt x="652" y="1301"/>
                  </a:lnTo>
                  <a:lnTo>
                    <a:pt x="614" y="1285"/>
                  </a:lnTo>
                  <a:lnTo>
                    <a:pt x="583" y="1317"/>
                  </a:lnTo>
                  <a:lnTo>
                    <a:pt x="545" y="1285"/>
                  </a:lnTo>
                  <a:lnTo>
                    <a:pt x="519" y="1297"/>
                  </a:lnTo>
                  <a:lnTo>
                    <a:pt x="423" y="1313"/>
                  </a:lnTo>
                  <a:lnTo>
                    <a:pt x="385" y="1313"/>
                  </a:lnTo>
                  <a:lnTo>
                    <a:pt x="373" y="1327"/>
                  </a:lnTo>
                  <a:lnTo>
                    <a:pt x="213" y="1211"/>
                  </a:lnTo>
                  <a:lnTo>
                    <a:pt x="174" y="1203"/>
                  </a:lnTo>
                  <a:lnTo>
                    <a:pt x="98" y="1137"/>
                  </a:lnTo>
                  <a:lnTo>
                    <a:pt x="116" y="1105"/>
                  </a:lnTo>
                  <a:lnTo>
                    <a:pt x="116" y="1083"/>
                  </a:lnTo>
                  <a:lnTo>
                    <a:pt x="152" y="1051"/>
                  </a:lnTo>
                  <a:lnTo>
                    <a:pt x="138" y="1012"/>
                  </a:lnTo>
                  <a:lnTo>
                    <a:pt x="138" y="974"/>
                  </a:lnTo>
                  <a:lnTo>
                    <a:pt x="195" y="938"/>
                  </a:lnTo>
                  <a:lnTo>
                    <a:pt x="235" y="926"/>
                  </a:lnTo>
                  <a:lnTo>
                    <a:pt x="243" y="904"/>
                  </a:lnTo>
                  <a:lnTo>
                    <a:pt x="251" y="862"/>
                  </a:lnTo>
                  <a:lnTo>
                    <a:pt x="235" y="844"/>
                  </a:lnTo>
                  <a:lnTo>
                    <a:pt x="199" y="848"/>
                  </a:lnTo>
                  <a:lnTo>
                    <a:pt x="170" y="858"/>
                  </a:lnTo>
                  <a:lnTo>
                    <a:pt x="138" y="858"/>
                  </a:lnTo>
                  <a:lnTo>
                    <a:pt x="120" y="818"/>
                  </a:lnTo>
                  <a:lnTo>
                    <a:pt x="120" y="796"/>
                  </a:lnTo>
                  <a:lnTo>
                    <a:pt x="86" y="766"/>
                  </a:lnTo>
                  <a:lnTo>
                    <a:pt x="74" y="736"/>
                  </a:lnTo>
                  <a:lnTo>
                    <a:pt x="98" y="706"/>
                  </a:lnTo>
                  <a:lnTo>
                    <a:pt x="8" y="615"/>
                  </a:lnTo>
                  <a:lnTo>
                    <a:pt x="4" y="599"/>
                  </a:lnTo>
                  <a:lnTo>
                    <a:pt x="0" y="591"/>
                  </a:lnTo>
                  <a:lnTo>
                    <a:pt x="40" y="553"/>
                  </a:lnTo>
                  <a:close/>
                </a:path>
              </a:pathLst>
            </a:custGeom>
            <a:solidFill>
              <a:schemeClr val="accent4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0" name="Freeform 20"/>
            <p:cNvSpPr>
              <a:spLocks/>
            </p:cNvSpPr>
            <p:nvPr/>
          </p:nvSpPr>
          <p:spPr bwMode="auto">
            <a:xfrm>
              <a:off x="1968" y="2640"/>
              <a:ext cx="1564" cy="834"/>
            </a:xfrm>
            <a:custGeom>
              <a:avLst/>
              <a:gdLst/>
              <a:ahLst/>
              <a:cxnLst>
                <a:cxn ang="0">
                  <a:pos x="243" y="236"/>
                </a:cxn>
                <a:cxn ang="0">
                  <a:pos x="329" y="268"/>
                </a:cxn>
                <a:cxn ang="0">
                  <a:pos x="559" y="343"/>
                </a:cxn>
                <a:cxn ang="0">
                  <a:pos x="620" y="310"/>
                </a:cxn>
                <a:cxn ang="0">
                  <a:pos x="658" y="220"/>
                </a:cxn>
                <a:cxn ang="0">
                  <a:pos x="762" y="214"/>
                </a:cxn>
                <a:cxn ang="0">
                  <a:pos x="748" y="120"/>
                </a:cxn>
                <a:cxn ang="0">
                  <a:pos x="862" y="46"/>
                </a:cxn>
                <a:cxn ang="0">
                  <a:pos x="900" y="2"/>
                </a:cxn>
                <a:cxn ang="0">
                  <a:pos x="1035" y="80"/>
                </a:cxn>
                <a:cxn ang="0">
                  <a:pos x="1255" y="180"/>
                </a:cxn>
                <a:cxn ang="0">
                  <a:pos x="1363" y="152"/>
                </a:cxn>
                <a:cxn ang="0">
                  <a:pos x="1472" y="170"/>
                </a:cxn>
                <a:cxn ang="0">
                  <a:pos x="1598" y="142"/>
                </a:cxn>
                <a:cxn ang="0">
                  <a:pos x="1686" y="142"/>
                </a:cxn>
                <a:cxn ang="0">
                  <a:pos x="1790" y="128"/>
                </a:cxn>
                <a:cxn ang="0">
                  <a:pos x="1810" y="323"/>
                </a:cxn>
                <a:cxn ang="0">
                  <a:pos x="1899" y="349"/>
                </a:cxn>
                <a:cxn ang="0">
                  <a:pos x="1999" y="437"/>
                </a:cxn>
                <a:cxn ang="0">
                  <a:pos x="2019" y="513"/>
                </a:cxn>
                <a:cxn ang="0">
                  <a:pos x="2119" y="617"/>
                </a:cxn>
                <a:cxn ang="0">
                  <a:pos x="2101" y="655"/>
                </a:cxn>
                <a:cxn ang="0">
                  <a:pos x="2035" y="794"/>
                </a:cxn>
                <a:cxn ang="0">
                  <a:pos x="1971" y="908"/>
                </a:cxn>
                <a:cxn ang="0">
                  <a:pos x="1893" y="870"/>
                </a:cxn>
                <a:cxn ang="0">
                  <a:pos x="1750" y="922"/>
                </a:cxn>
                <a:cxn ang="0">
                  <a:pos x="1676" y="896"/>
                </a:cxn>
                <a:cxn ang="0">
                  <a:pos x="1582" y="896"/>
                </a:cxn>
                <a:cxn ang="0">
                  <a:pos x="1496" y="918"/>
                </a:cxn>
                <a:cxn ang="0">
                  <a:pos x="1397" y="890"/>
                </a:cxn>
                <a:cxn ang="0">
                  <a:pos x="1281" y="908"/>
                </a:cxn>
                <a:cxn ang="0">
                  <a:pos x="1139" y="904"/>
                </a:cxn>
                <a:cxn ang="0">
                  <a:pos x="974" y="1008"/>
                </a:cxn>
                <a:cxn ang="0">
                  <a:pos x="874" y="1024"/>
                </a:cxn>
                <a:cxn ang="0">
                  <a:pos x="802" y="1129"/>
                </a:cxn>
                <a:cxn ang="0">
                  <a:pos x="762" y="1137"/>
                </a:cxn>
                <a:cxn ang="0">
                  <a:pos x="676" y="1195"/>
                </a:cxn>
                <a:cxn ang="0">
                  <a:pos x="489" y="1046"/>
                </a:cxn>
                <a:cxn ang="0">
                  <a:pos x="485" y="990"/>
                </a:cxn>
                <a:cxn ang="0">
                  <a:pos x="475" y="930"/>
                </a:cxn>
                <a:cxn ang="0">
                  <a:pos x="393" y="878"/>
                </a:cxn>
                <a:cxn ang="0">
                  <a:pos x="411" y="816"/>
                </a:cxn>
                <a:cxn ang="0">
                  <a:pos x="329" y="726"/>
                </a:cxn>
                <a:cxn ang="0">
                  <a:pos x="194" y="659"/>
                </a:cxn>
                <a:cxn ang="0">
                  <a:pos x="36" y="639"/>
                </a:cxn>
                <a:cxn ang="0">
                  <a:pos x="30" y="523"/>
                </a:cxn>
                <a:cxn ang="0">
                  <a:pos x="52" y="411"/>
                </a:cxn>
                <a:cxn ang="0">
                  <a:pos x="168" y="254"/>
                </a:cxn>
              </a:cxnLst>
              <a:rect l="0" t="0" r="r" b="b"/>
              <a:pathLst>
                <a:path w="2133" h="1195">
                  <a:moveTo>
                    <a:pt x="194" y="214"/>
                  </a:moveTo>
                  <a:lnTo>
                    <a:pt x="223" y="210"/>
                  </a:lnTo>
                  <a:lnTo>
                    <a:pt x="243" y="236"/>
                  </a:lnTo>
                  <a:lnTo>
                    <a:pt x="285" y="214"/>
                  </a:lnTo>
                  <a:lnTo>
                    <a:pt x="303" y="218"/>
                  </a:lnTo>
                  <a:lnTo>
                    <a:pt x="329" y="268"/>
                  </a:lnTo>
                  <a:lnTo>
                    <a:pt x="437" y="304"/>
                  </a:lnTo>
                  <a:lnTo>
                    <a:pt x="539" y="353"/>
                  </a:lnTo>
                  <a:lnTo>
                    <a:pt x="559" y="343"/>
                  </a:lnTo>
                  <a:lnTo>
                    <a:pt x="573" y="323"/>
                  </a:lnTo>
                  <a:lnTo>
                    <a:pt x="606" y="333"/>
                  </a:lnTo>
                  <a:lnTo>
                    <a:pt x="620" y="310"/>
                  </a:lnTo>
                  <a:lnTo>
                    <a:pt x="610" y="292"/>
                  </a:lnTo>
                  <a:lnTo>
                    <a:pt x="606" y="274"/>
                  </a:lnTo>
                  <a:lnTo>
                    <a:pt x="658" y="220"/>
                  </a:lnTo>
                  <a:lnTo>
                    <a:pt x="678" y="218"/>
                  </a:lnTo>
                  <a:lnTo>
                    <a:pt x="722" y="254"/>
                  </a:lnTo>
                  <a:lnTo>
                    <a:pt x="762" y="214"/>
                  </a:lnTo>
                  <a:lnTo>
                    <a:pt x="746" y="172"/>
                  </a:lnTo>
                  <a:lnTo>
                    <a:pt x="742" y="150"/>
                  </a:lnTo>
                  <a:lnTo>
                    <a:pt x="748" y="120"/>
                  </a:lnTo>
                  <a:lnTo>
                    <a:pt x="768" y="100"/>
                  </a:lnTo>
                  <a:lnTo>
                    <a:pt x="794" y="72"/>
                  </a:lnTo>
                  <a:lnTo>
                    <a:pt x="862" y="46"/>
                  </a:lnTo>
                  <a:lnTo>
                    <a:pt x="862" y="16"/>
                  </a:lnTo>
                  <a:lnTo>
                    <a:pt x="880" y="0"/>
                  </a:lnTo>
                  <a:lnTo>
                    <a:pt x="900" y="2"/>
                  </a:lnTo>
                  <a:lnTo>
                    <a:pt x="922" y="8"/>
                  </a:lnTo>
                  <a:lnTo>
                    <a:pt x="990" y="70"/>
                  </a:lnTo>
                  <a:lnTo>
                    <a:pt x="1035" y="80"/>
                  </a:lnTo>
                  <a:lnTo>
                    <a:pt x="1191" y="194"/>
                  </a:lnTo>
                  <a:lnTo>
                    <a:pt x="1205" y="180"/>
                  </a:lnTo>
                  <a:lnTo>
                    <a:pt x="1255" y="180"/>
                  </a:lnTo>
                  <a:lnTo>
                    <a:pt x="1277" y="174"/>
                  </a:lnTo>
                  <a:lnTo>
                    <a:pt x="1339" y="166"/>
                  </a:lnTo>
                  <a:lnTo>
                    <a:pt x="1363" y="152"/>
                  </a:lnTo>
                  <a:lnTo>
                    <a:pt x="1401" y="184"/>
                  </a:lnTo>
                  <a:lnTo>
                    <a:pt x="1432" y="152"/>
                  </a:lnTo>
                  <a:lnTo>
                    <a:pt x="1472" y="170"/>
                  </a:lnTo>
                  <a:lnTo>
                    <a:pt x="1504" y="134"/>
                  </a:lnTo>
                  <a:lnTo>
                    <a:pt x="1548" y="152"/>
                  </a:lnTo>
                  <a:lnTo>
                    <a:pt x="1598" y="142"/>
                  </a:lnTo>
                  <a:lnTo>
                    <a:pt x="1630" y="170"/>
                  </a:lnTo>
                  <a:lnTo>
                    <a:pt x="1656" y="134"/>
                  </a:lnTo>
                  <a:lnTo>
                    <a:pt x="1686" y="142"/>
                  </a:lnTo>
                  <a:lnTo>
                    <a:pt x="1710" y="110"/>
                  </a:lnTo>
                  <a:lnTo>
                    <a:pt x="1762" y="134"/>
                  </a:lnTo>
                  <a:lnTo>
                    <a:pt x="1790" y="128"/>
                  </a:lnTo>
                  <a:lnTo>
                    <a:pt x="1859" y="228"/>
                  </a:lnTo>
                  <a:lnTo>
                    <a:pt x="1808" y="306"/>
                  </a:lnTo>
                  <a:lnTo>
                    <a:pt x="1810" y="323"/>
                  </a:lnTo>
                  <a:lnTo>
                    <a:pt x="1822" y="327"/>
                  </a:lnTo>
                  <a:lnTo>
                    <a:pt x="1867" y="335"/>
                  </a:lnTo>
                  <a:lnTo>
                    <a:pt x="1899" y="349"/>
                  </a:lnTo>
                  <a:lnTo>
                    <a:pt x="1939" y="407"/>
                  </a:lnTo>
                  <a:lnTo>
                    <a:pt x="1977" y="409"/>
                  </a:lnTo>
                  <a:lnTo>
                    <a:pt x="1999" y="437"/>
                  </a:lnTo>
                  <a:lnTo>
                    <a:pt x="1989" y="461"/>
                  </a:lnTo>
                  <a:lnTo>
                    <a:pt x="1991" y="485"/>
                  </a:lnTo>
                  <a:lnTo>
                    <a:pt x="2019" y="513"/>
                  </a:lnTo>
                  <a:lnTo>
                    <a:pt x="2069" y="589"/>
                  </a:lnTo>
                  <a:lnTo>
                    <a:pt x="2101" y="591"/>
                  </a:lnTo>
                  <a:lnTo>
                    <a:pt x="2119" y="617"/>
                  </a:lnTo>
                  <a:lnTo>
                    <a:pt x="2133" y="629"/>
                  </a:lnTo>
                  <a:lnTo>
                    <a:pt x="2123" y="647"/>
                  </a:lnTo>
                  <a:lnTo>
                    <a:pt x="2101" y="655"/>
                  </a:lnTo>
                  <a:lnTo>
                    <a:pt x="2075" y="685"/>
                  </a:lnTo>
                  <a:lnTo>
                    <a:pt x="2057" y="738"/>
                  </a:lnTo>
                  <a:lnTo>
                    <a:pt x="2035" y="794"/>
                  </a:lnTo>
                  <a:lnTo>
                    <a:pt x="2001" y="868"/>
                  </a:lnTo>
                  <a:lnTo>
                    <a:pt x="1989" y="890"/>
                  </a:lnTo>
                  <a:lnTo>
                    <a:pt x="1971" y="908"/>
                  </a:lnTo>
                  <a:lnTo>
                    <a:pt x="1945" y="908"/>
                  </a:lnTo>
                  <a:lnTo>
                    <a:pt x="1927" y="896"/>
                  </a:lnTo>
                  <a:lnTo>
                    <a:pt x="1893" y="870"/>
                  </a:lnTo>
                  <a:lnTo>
                    <a:pt x="1798" y="870"/>
                  </a:lnTo>
                  <a:lnTo>
                    <a:pt x="1772" y="908"/>
                  </a:lnTo>
                  <a:lnTo>
                    <a:pt x="1750" y="922"/>
                  </a:lnTo>
                  <a:lnTo>
                    <a:pt x="1720" y="926"/>
                  </a:lnTo>
                  <a:lnTo>
                    <a:pt x="1702" y="908"/>
                  </a:lnTo>
                  <a:lnTo>
                    <a:pt x="1676" y="896"/>
                  </a:lnTo>
                  <a:lnTo>
                    <a:pt x="1646" y="900"/>
                  </a:lnTo>
                  <a:lnTo>
                    <a:pt x="1620" y="912"/>
                  </a:lnTo>
                  <a:lnTo>
                    <a:pt x="1582" y="896"/>
                  </a:lnTo>
                  <a:lnTo>
                    <a:pt x="1556" y="900"/>
                  </a:lnTo>
                  <a:lnTo>
                    <a:pt x="1522" y="918"/>
                  </a:lnTo>
                  <a:lnTo>
                    <a:pt x="1496" y="918"/>
                  </a:lnTo>
                  <a:lnTo>
                    <a:pt x="1452" y="922"/>
                  </a:lnTo>
                  <a:lnTo>
                    <a:pt x="1424" y="908"/>
                  </a:lnTo>
                  <a:lnTo>
                    <a:pt x="1397" y="890"/>
                  </a:lnTo>
                  <a:lnTo>
                    <a:pt x="1385" y="900"/>
                  </a:lnTo>
                  <a:lnTo>
                    <a:pt x="1321" y="900"/>
                  </a:lnTo>
                  <a:lnTo>
                    <a:pt x="1281" y="908"/>
                  </a:lnTo>
                  <a:lnTo>
                    <a:pt x="1247" y="900"/>
                  </a:lnTo>
                  <a:lnTo>
                    <a:pt x="1147" y="900"/>
                  </a:lnTo>
                  <a:lnTo>
                    <a:pt x="1139" y="904"/>
                  </a:lnTo>
                  <a:lnTo>
                    <a:pt x="1061" y="982"/>
                  </a:lnTo>
                  <a:lnTo>
                    <a:pt x="1008" y="1012"/>
                  </a:lnTo>
                  <a:lnTo>
                    <a:pt x="974" y="1008"/>
                  </a:lnTo>
                  <a:lnTo>
                    <a:pt x="944" y="1012"/>
                  </a:lnTo>
                  <a:lnTo>
                    <a:pt x="900" y="1016"/>
                  </a:lnTo>
                  <a:lnTo>
                    <a:pt x="874" y="1024"/>
                  </a:lnTo>
                  <a:lnTo>
                    <a:pt x="832" y="1064"/>
                  </a:lnTo>
                  <a:lnTo>
                    <a:pt x="814" y="1086"/>
                  </a:lnTo>
                  <a:lnTo>
                    <a:pt x="802" y="1129"/>
                  </a:lnTo>
                  <a:lnTo>
                    <a:pt x="776" y="1165"/>
                  </a:lnTo>
                  <a:lnTo>
                    <a:pt x="772" y="1137"/>
                  </a:lnTo>
                  <a:lnTo>
                    <a:pt x="762" y="1137"/>
                  </a:lnTo>
                  <a:lnTo>
                    <a:pt x="750" y="1151"/>
                  </a:lnTo>
                  <a:lnTo>
                    <a:pt x="750" y="1169"/>
                  </a:lnTo>
                  <a:lnTo>
                    <a:pt x="676" y="1195"/>
                  </a:lnTo>
                  <a:lnTo>
                    <a:pt x="656" y="1173"/>
                  </a:lnTo>
                  <a:lnTo>
                    <a:pt x="493" y="1082"/>
                  </a:lnTo>
                  <a:lnTo>
                    <a:pt x="489" y="1046"/>
                  </a:lnTo>
                  <a:lnTo>
                    <a:pt x="453" y="1002"/>
                  </a:lnTo>
                  <a:lnTo>
                    <a:pt x="457" y="978"/>
                  </a:lnTo>
                  <a:lnTo>
                    <a:pt x="485" y="990"/>
                  </a:lnTo>
                  <a:lnTo>
                    <a:pt x="497" y="978"/>
                  </a:lnTo>
                  <a:lnTo>
                    <a:pt x="489" y="956"/>
                  </a:lnTo>
                  <a:lnTo>
                    <a:pt x="475" y="930"/>
                  </a:lnTo>
                  <a:lnTo>
                    <a:pt x="453" y="918"/>
                  </a:lnTo>
                  <a:lnTo>
                    <a:pt x="441" y="926"/>
                  </a:lnTo>
                  <a:lnTo>
                    <a:pt x="393" y="878"/>
                  </a:lnTo>
                  <a:lnTo>
                    <a:pt x="399" y="868"/>
                  </a:lnTo>
                  <a:lnTo>
                    <a:pt x="415" y="850"/>
                  </a:lnTo>
                  <a:lnTo>
                    <a:pt x="411" y="816"/>
                  </a:lnTo>
                  <a:lnTo>
                    <a:pt x="385" y="764"/>
                  </a:lnTo>
                  <a:lnTo>
                    <a:pt x="359" y="744"/>
                  </a:lnTo>
                  <a:lnTo>
                    <a:pt x="329" y="726"/>
                  </a:lnTo>
                  <a:lnTo>
                    <a:pt x="261" y="685"/>
                  </a:lnTo>
                  <a:lnTo>
                    <a:pt x="217" y="655"/>
                  </a:lnTo>
                  <a:lnTo>
                    <a:pt x="194" y="659"/>
                  </a:lnTo>
                  <a:lnTo>
                    <a:pt x="152" y="625"/>
                  </a:lnTo>
                  <a:lnTo>
                    <a:pt x="48" y="625"/>
                  </a:lnTo>
                  <a:lnTo>
                    <a:pt x="36" y="639"/>
                  </a:lnTo>
                  <a:lnTo>
                    <a:pt x="26" y="613"/>
                  </a:lnTo>
                  <a:lnTo>
                    <a:pt x="30" y="569"/>
                  </a:lnTo>
                  <a:lnTo>
                    <a:pt x="30" y="523"/>
                  </a:lnTo>
                  <a:lnTo>
                    <a:pt x="14" y="479"/>
                  </a:lnTo>
                  <a:lnTo>
                    <a:pt x="0" y="457"/>
                  </a:lnTo>
                  <a:lnTo>
                    <a:pt x="52" y="411"/>
                  </a:lnTo>
                  <a:lnTo>
                    <a:pt x="120" y="327"/>
                  </a:lnTo>
                  <a:lnTo>
                    <a:pt x="126" y="296"/>
                  </a:lnTo>
                  <a:lnTo>
                    <a:pt x="168" y="254"/>
                  </a:lnTo>
                  <a:lnTo>
                    <a:pt x="199" y="254"/>
                  </a:lnTo>
                  <a:lnTo>
                    <a:pt x="194" y="214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1" name="Freeform 21"/>
            <p:cNvSpPr>
              <a:spLocks/>
            </p:cNvSpPr>
            <p:nvPr/>
          </p:nvSpPr>
          <p:spPr bwMode="auto">
            <a:xfrm>
              <a:off x="3312" y="2638"/>
              <a:ext cx="493" cy="464"/>
            </a:xfrm>
            <a:custGeom>
              <a:avLst/>
              <a:gdLst/>
              <a:ahLst/>
              <a:cxnLst>
                <a:cxn ang="0">
                  <a:pos x="264" y="617"/>
                </a:cxn>
                <a:cxn ang="0">
                  <a:pos x="288" y="591"/>
                </a:cxn>
                <a:cxn ang="0">
                  <a:pos x="314" y="581"/>
                </a:cxn>
                <a:cxn ang="0">
                  <a:pos x="332" y="581"/>
                </a:cxn>
                <a:cxn ang="0">
                  <a:pos x="332" y="547"/>
                </a:cxn>
                <a:cxn ang="0">
                  <a:pos x="352" y="525"/>
                </a:cxn>
                <a:cxn ang="0">
                  <a:pos x="387" y="521"/>
                </a:cxn>
                <a:cxn ang="0">
                  <a:pos x="469" y="517"/>
                </a:cxn>
                <a:cxn ang="0">
                  <a:pos x="509" y="521"/>
                </a:cxn>
                <a:cxn ang="0">
                  <a:pos x="541" y="505"/>
                </a:cxn>
                <a:cxn ang="0">
                  <a:pos x="563" y="505"/>
                </a:cxn>
                <a:cxn ang="0">
                  <a:pos x="581" y="495"/>
                </a:cxn>
                <a:cxn ang="0">
                  <a:pos x="599" y="483"/>
                </a:cxn>
                <a:cxn ang="0">
                  <a:pos x="585" y="453"/>
                </a:cxn>
                <a:cxn ang="0">
                  <a:pos x="573" y="465"/>
                </a:cxn>
                <a:cxn ang="0">
                  <a:pos x="559" y="461"/>
                </a:cxn>
                <a:cxn ang="0">
                  <a:pos x="541" y="453"/>
                </a:cxn>
                <a:cxn ang="0">
                  <a:pos x="551" y="413"/>
                </a:cxn>
                <a:cxn ang="0">
                  <a:pos x="563" y="401"/>
                </a:cxn>
                <a:cxn ang="0">
                  <a:pos x="561" y="383"/>
                </a:cxn>
                <a:cxn ang="0">
                  <a:pos x="529" y="343"/>
                </a:cxn>
                <a:cxn ang="0">
                  <a:pos x="503" y="313"/>
                </a:cxn>
                <a:cxn ang="0">
                  <a:pos x="473" y="292"/>
                </a:cxn>
                <a:cxn ang="0">
                  <a:pos x="473" y="268"/>
                </a:cxn>
                <a:cxn ang="0">
                  <a:pos x="479" y="236"/>
                </a:cxn>
                <a:cxn ang="0">
                  <a:pos x="487" y="196"/>
                </a:cxn>
                <a:cxn ang="0">
                  <a:pos x="467" y="172"/>
                </a:cxn>
                <a:cxn ang="0">
                  <a:pos x="475" y="112"/>
                </a:cxn>
                <a:cxn ang="0">
                  <a:pos x="465" y="30"/>
                </a:cxn>
                <a:cxn ang="0">
                  <a:pos x="435" y="4"/>
                </a:cxn>
                <a:cxn ang="0">
                  <a:pos x="421" y="0"/>
                </a:cxn>
                <a:cxn ang="0">
                  <a:pos x="375" y="26"/>
                </a:cxn>
                <a:cxn ang="0">
                  <a:pos x="352" y="4"/>
                </a:cxn>
                <a:cxn ang="0">
                  <a:pos x="336" y="18"/>
                </a:cxn>
                <a:cxn ang="0">
                  <a:pos x="344" y="40"/>
                </a:cxn>
                <a:cxn ang="0">
                  <a:pos x="324" y="94"/>
                </a:cxn>
                <a:cxn ang="0">
                  <a:pos x="298" y="128"/>
                </a:cxn>
                <a:cxn ang="0">
                  <a:pos x="302" y="152"/>
                </a:cxn>
                <a:cxn ang="0">
                  <a:pos x="246" y="184"/>
                </a:cxn>
                <a:cxn ang="0">
                  <a:pos x="230" y="156"/>
                </a:cxn>
                <a:cxn ang="0">
                  <a:pos x="182" y="164"/>
                </a:cxn>
                <a:cxn ang="0">
                  <a:pos x="180" y="196"/>
                </a:cxn>
                <a:cxn ang="0">
                  <a:pos x="140" y="196"/>
                </a:cxn>
                <a:cxn ang="0">
                  <a:pos x="110" y="230"/>
                </a:cxn>
                <a:cxn ang="0">
                  <a:pos x="72" y="250"/>
                </a:cxn>
                <a:cxn ang="0">
                  <a:pos x="52" y="264"/>
                </a:cxn>
                <a:cxn ang="0">
                  <a:pos x="28" y="292"/>
                </a:cxn>
                <a:cxn ang="0">
                  <a:pos x="0" y="323"/>
                </a:cxn>
                <a:cxn ang="0">
                  <a:pos x="32" y="335"/>
                </a:cxn>
                <a:cxn ang="0">
                  <a:pos x="72" y="393"/>
                </a:cxn>
                <a:cxn ang="0">
                  <a:pos x="112" y="397"/>
                </a:cxn>
                <a:cxn ang="0">
                  <a:pos x="130" y="421"/>
                </a:cxn>
                <a:cxn ang="0">
                  <a:pos x="122" y="447"/>
                </a:cxn>
                <a:cxn ang="0">
                  <a:pos x="126" y="473"/>
                </a:cxn>
                <a:cxn ang="0">
                  <a:pos x="152" y="499"/>
                </a:cxn>
                <a:cxn ang="0">
                  <a:pos x="176" y="537"/>
                </a:cxn>
                <a:cxn ang="0">
                  <a:pos x="202" y="573"/>
                </a:cxn>
                <a:cxn ang="0">
                  <a:pos x="234" y="577"/>
                </a:cxn>
                <a:cxn ang="0">
                  <a:pos x="264" y="617"/>
                </a:cxn>
              </a:cxnLst>
              <a:rect l="0" t="0" r="r" b="b"/>
              <a:pathLst>
                <a:path w="599" h="617">
                  <a:moveTo>
                    <a:pt x="264" y="617"/>
                  </a:moveTo>
                  <a:lnTo>
                    <a:pt x="288" y="591"/>
                  </a:lnTo>
                  <a:lnTo>
                    <a:pt x="314" y="581"/>
                  </a:lnTo>
                  <a:lnTo>
                    <a:pt x="332" y="581"/>
                  </a:lnTo>
                  <a:lnTo>
                    <a:pt x="332" y="547"/>
                  </a:lnTo>
                  <a:lnTo>
                    <a:pt x="352" y="525"/>
                  </a:lnTo>
                  <a:lnTo>
                    <a:pt x="387" y="521"/>
                  </a:lnTo>
                  <a:lnTo>
                    <a:pt x="469" y="517"/>
                  </a:lnTo>
                  <a:lnTo>
                    <a:pt x="509" y="521"/>
                  </a:lnTo>
                  <a:lnTo>
                    <a:pt x="541" y="505"/>
                  </a:lnTo>
                  <a:lnTo>
                    <a:pt x="563" y="505"/>
                  </a:lnTo>
                  <a:lnTo>
                    <a:pt x="581" y="495"/>
                  </a:lnTo>
                  <a:lnTo>
                    <a:pt x="599" y="483"/>
                  </a:lnTo>
                  <a:lnTo>
                    <a:pt x="585" y="453"/>
                  </a:lnTo>
                  <a:lnTo>
                    <a:pt x="573" y="465"/>
                  </a:lnTo>
                  <a:lnTo>
                    <a:pt x="559" y="461"/>
                  </a:lnTo>
                  <a:lnTo>
                    <a:pt x="541" y="453"/>
                  </a:lnTo>
                  <a:lnTo>
                    <a:pt x="551" y="413"/>
                  </a:lnTo>
                  <a:lnTo>
                    <a:pt x="563" y="401"/>
                  </a:lnTo>
                  <a:lnTo>
                    <a:pt x="561" y="383"/>
                  </a:lnTo>
                  <a:lnTo>
                    <a:pt x="529" y="343"/>
                  </a:lnTo>
                  <a:lnTo>
                    <a:pt x="503" y="313"/>
                  </a:lnTo>
                  <a:lnTo>
                    <a:pt x="473" y="292"/>
                  </a:lnTo>
                  <a:lnTo>
                    <a:pt x="473" y="268"/>
                  </a:lnTo>
                  <a:lnTo>
                    <a:pt x="479" y="236"/>
                  </a:lnTo>
                  <a:lnTo>
                    <a:pt x="487" y="196"/>
                  </a:lnTo>
                  <a:lnTo>
                    <a:pt x="467" y="172"/>
                  </a:lnTo>
                  <a:lnTo>
                    <a:pt x="475" y="112"/>
                  </a:lnTo>
                  <a:lnTo>
                    <a:pt x="465" y="30"/>
                  </a:lnTo>
                  <a:lnTo>
                    <a:pt x="435" y="4"/>
                  </a:lnTo>
                  <a:lnTo>
                    <a:pt x="421" y="0"/>
                  </a:lnTo>
                  <a:lnTo>
                    <a:pt x="375" y="26"/>
                  </a:lnTo>
                  <a:lnTo>
                    <a:pt x="352" y="4"/>
                  </a:lnTo>
                  <a:lnTo>
                    <a:pt x="336" y="18"/>
                  </a:lnTo>
                  <a:lnTo>
                    <a:pt x="344" y="40"/>
                  </a:lnTo>
                  <a:lnTo>
                    <a:pt x="324" y="94"/>
                  </a:lnTo>
                  <a:lnTo>
                    <a:pt x="298" y="128"/>
                  </a:lnTo>
                  <a:lnTo>
                    <a:pt x="302" y="152"/>
                  </a:lnTo>
                  <a:lnTo>
                    <a:pt x="246" y="184"/>
                  </a:lnTo>
                  <a:lnTo>
                    <a:pt x="230" y="156"/>
                  </a:lnTo>
                  <a:lnTo>
                    <a:pt x="182" y="164"/>
                  </a:lnTo>
                  <a:lnTo>
                    <a:pt x="180" y="196"/>
                  </a:lnTo>
                  <a:lnTo>
                    <a:pt x="140" y="196"/>
                  </a:lnTo>
                  <a:lnTo>
                    <a:pt x="110" y="230"/>
                  </a:lnTo>
                  <a:lnTo>
                    <a:pt x="72" y="250"/>
                  </a:lnTo>
                  <a:lnTo>
                    <a:pt x="52" y="264"/>
                  </a:lnTo>
                  <a:lnTo>
                    <a:pt x="28" y="292"/>
                  </a:lnTo>
                  <a:lnTo>
                    <a:pt x="0" y="323"/>
                  </a:lnTo>
                  <a:lnTo>
                    <a:pt x="32" y="335"/>
                  </a:lnTo>
                  <a:lnTo>
                    <a:pt x="72" y="393"/>
                  </a:lnTo>
                  <a:lnTo>
                    <a:pt x="112" y="397"/>
                  </a:lnTo>
                  <a:lnTo>
                    <a:pt x="130" y="421"/>
                  </a:lnTo>
                  <a:lnTo>
                    <a:pt x="122" y="447"/>
                  </a:lnTo>
                  <a:lnTo>
                    <a:pt x="126" y="473"/>
                  </a:lnTo>
                  <a:lnTo>
                    <a:pt x="152" y="499"/>
                  </a:lnTo>
                  <a:lnTo>
                    <a:pt x="176" y="537"/>
                  </a:lnTo>
                  <a:lnTo>
                    <a:pt x="202" y="573"/>
                  </a:lnTo>
                  <a:lnTo>
                    <a:pt x="234" y="577"/>
                  </a:lnTo>
                  <a:lnTo>
                    <a:pt x="264" y="617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2" name="Freeform 22"/>
            <p:cNvSpPr>
              <a:spLocks/>
            </p:cNvSpPr>
            <p:nvPr/>
          </p:nvSpPr>
          <p:spPr bwMode="auto">
            <a:xfrm>
              <a:off x="3538" y="2026"/>
              <a:ext cx="485" cy="899"/>
            </a:xfrm>
            <a:custGeom>
              <a:avLst/>
              <a:gdLst/>
              <a:ahLst/>
              <a:cxnLst>
                <a:cxn ang="0">
                  <a:pos x="299" y="1270"/>
                </a:cxn>
                <a:cxn ang="0">
                  <a:pos x="345" y="1167"/>
                </a:cxn>
                <a:cxn ang="0">
                  <a:pos x="353" y="1097"/>
                </a:cxn>
                <a:cxn ang="0">
                  <a:pos x="435" y="1003"/>
                </a:cxn>
                <a:cxn ang="0">
                  <a:pos x="524" y="971"/>
                </a:cxn>
                <a:cxn ang="0">
                  <a:pos x="570" y="905"/>
                </a:cxn>
                <a:cxn ang="0">
                  <a:pos x="604" y="891"/>
                </a:cxn>
                <a:cxn ang="0">
                  <a:pos x="618" y="879"/>
                </a:cxn>
                <a:cxn ang="0">
                  <a:pos x="582" y="841"/>
                </a:cxn>
                <a:cxn ang="0">
                  <a:pos x="532" y="823"/>
                </a:cxn>
                <a:cxn ang="0">
                  <a:pos x="518" y="804"/>
                </a:cxn>
                <a:cxn ang="0">
                  <a:pos x="439" y="702"/>
                </a:cxn>
                <a:cxn ang="0">
                  <a:pos x="427" y="646"/>
                </a:cxn>
                <a:cxn ang="0">
                  <a:pos x="427" y="576"/>
                </a:cxn>
                <a:cxn ang="0">
                  <a:pos x="439" y="512"/>
                </a:cxn>
                <a:cxn ang="0">
                  <a:pos x="457" y="460"/>
                </a:cxn>
                <a:cxn ang="0">
                  <a:pos x="487" y="391"/>
                </a:cxn>
                <a:cxn ang="0">
                  <a:pos x="562" y="263"/>
                </a:cxn>
                <a:cxn ang="0">
                  <a:pos x="596" y="199"/>
                </a:cxn>
                <a:cxn ang="0">
                  <a:pos x="662" y="109"/>
                </a:cxn>
                <a:cxn ang="0">
                  <a:pos x="644" y="65"/>
                </a:cxn>
                <a:cxn ang="0">
                  <a:pos x="604" y="83"/>
                </a:cxn>
                <a:cxn ang="0">
                  <a:pos x="588" y="25"/>
                </a:cxn>
                <a:cxn ang="0">
                  <a:pos x="550" y="4"/>
                </a:cxn>
                <a:cxn ang="0">
                  <a:pos x="510" y="25"/>
                </a:cxn>
                <a:cxn ang="0">
                  <a:pos x="449" y="0"/>
                </a:cxn>
                <a:cxn ang="0">
                  <a:pos x="395" y="49"/>
                </a:cxn>
                <a:cxn ang="0">
                  <a:pos x="419" y="145"/>
                </a:cxn>
                <a:cxn ang="0">
                  <a:pos x="395" y="189"/>
                </a:cxn>
                <a:cxn ang="0">
                  <a:pos x="349" y="255"/>
                </a:cxn>
                <a:cxn ang="0">
                  <a:pos x="311" y="233"/>
                </a:cxn>
                <a:cxn ang="0">
                  <a:pos x="301" y="287"/>
                </a:cxn>
                <a:cxn ang="0">
                  <a:pos x="269" y="327"/>
                </a:cxn>
                <a:cxn ang="0">
                  <a:pos x="235" y="365"/>
                </a:cxn>
                <a:cxn ang="0">
                  <a:pos x="187" y="393"/>
                </a:cxn>
                <a:cxn ang="0">
                  <a:pos x="177" y="359"/>
                </a:cxn>
                <a:cxn ang="0">
                  <a:pos x="147" y="357"/>
                </a:cxn>
                <a:cxn ang="0">
                  <a:pos x="111" y="418"/>
                </a:cxn>
                <a:cxn ang="0">
                  <a:pos x="82" y="468"/>
                </a:cxn>
                <a:cxn ang="0">
                  <a:pos x="68" y="482"/>
                </a:cxn>
                <a:cxn ang="0">
                  <a:pos x="50" y="506"/>
                </a:cxn>
                <a:cxn ang="0">
                  <a:pos x="0" y="604"/>
                </a:cxn>
                <a:cxn ang="0">
                  <a:pos x="44" y="624"/>
                </a:cxn>
                <a:cxn ang="0">
                  <a:pos x="125" y="662"/>
                </a:cxn>
                <a:cxn ang="0">
                  <a:pos x="111" y="724"/>
                </a:cxn>
                <a:cxn ang="0">
                  <a:pos x="121" y="800"/>
                </a:cxn>
                <a:cxn ang="0">
                  <a:pos x="201" y="833"/>
                </a:cxn>
                <a:cxn ang="0">
                  <a:pos x="223" y="875"/>
                </a:cxn>
                <a:cxn ang="0">
                  <a:pos x="187" y="935"/>
                </a:cxn>
                <a:cxn ang="0">
                  <a:pos x="195" y="1017"/>
                </a:cxn>
                <a:cxn ang="0">
                  <a:pos x="187" y="1075"/>
                </a:cxn>
                <a:cxn ang="0">
                  <a:pos x="199" y="1139"/>
                </a:cxn>
                <a:cxn ang="0">
                  <a:pos x="191" y="1197"/>
                </a:cxn>
                <a:cxn ang="0">
                  <a:pos x="211" y="1210"/>
                </a:cxn>
                <a:cxn ang="0">
                  <a:pos x="255" y="1258"/>
                </a:cxn>
              </a:cxnLst>
              <a:rect l="0" t="0" r="r" b="b"/>
              <a:pathLst>
                <a:path w="662" h="1288">
                  <a:moveTo>
                    <a:pt x="281" y="1288"/>
                  </a:moveTo>
                  <a:lnTo>
                    <a:pt x="299" y="1270"/>
                  </a:lnTo>
                  <a:lnTo>
                    <a:pt x="303" y="1230"/>
                  </a:lnTo>
                  <a:lnTo>
                    <a:pt x="345" y="1167"/>
                  </a:lnTo>
                  <a:lnTo>
                    <a:pt x="349" y="1117"/>
                  </a:lnTo>
                  <a:lnTo>
                    <a:pt x="353" y="1097"/>
                  </a:lnTo>
                  <a:lnTo>
                    <a:pt x="367" y="1071"/>
                  </a:lnTo>
                  <a:lnTo>
                    <a:pt x="435" y="1003"/>
                  </a:lnTo>
                  <a:lnTo>
                    <a:pt x="465" y="987"/>
                  </a:lnTo>
                  <a:lnTo>
                    <a:pt x="524" y="971"/>
                  </a:lnTo>
                  <a:lnTo>
                    <a:pt x="550" y="949"/>
                  </a:lnTo>
                  <a:lnTo>
                    <a:pt x="570" y="905"/>
                  </a:lnTo>
                  <a:lnTo>
                    <a:pt x="592" y="901"/>
                  </a:lnTo>
                  <a:lnTo>
                    <a:pt x="604" y="891"/>
                  </a:lnTo>
                  <a:lnTo>
                    <a:pt x="622" y="887"/>
                  </a:lnTo>
                  <a:lnTo>
                    <a:pt x="618" y="879"/>
                  </a:lnTo>
                  <a:lnTo>
                    <a:pt x="614" y="863"/>
                  </a:lnTo>
                  <a:lnTo>
                    <a:pt x="582" y="841"/>
                  </a:lnTo>
                  <a:lnTo>
                    <a:pt x="558" y="827"/>
                  </a:lnTo>
                  <a:lnTo>
                    <a:pt x="532" y="823"/>
                  </a:lnTo>
                  <a:lnTo>
                    <a:pt x="518" y="819"/>
                  </a:lnTo>
                  <a:lnTo>
                    <a:pt x="518" y="804"/>
                  </a:lnTo>
                  <a:lnTo>
                    <a:pt x="491" y="766"/>
                  </a:lnTo>
                  <a:lnTo>
                    <a:pt x="439" y="702"/>
                  </a:lnTo>
                  <a:lnTo>
                    <a:pt x="435" y="662"/>
                  </a:lnTo>
                  <a:lnTo>
                    <a:pt x="427" y="646"/>
                  </a:lnTo>
                  <a:lnTo>
                    <a:pt x="415" y="638"/>
                  </a:lnTo>
                  <a:lnTo>
                    <a:pt x="427" y="576"/>
                  </a:lnTo>
                  <a:lnTo>
                    <a:pt x="431" y="538"/>
                  </a:lnTo>
                  <a:lnTo>
                    <a:pt x="439" y="512"/>
                  </a:lnTo>
                  <a:lnTo>
                    <a:pt x="445" y="472"/>
                  </a:lnTo>
                  <a:lnTo>
                    <a:pt x="457" y="460"/>
                  </a:lnTo>
                  <a:lnTo>
                    <a:pt x="457" y="438"/>
                  </a:lnTo>
                  <a:lnTo>
                    <a:pt x="487" y="391"/>
                  </a:lnTo>
                  <a:lnTo>
                    <a:pt x="506" y="353"/>
                  </a:lnTo>
                  <a:lnTo>
                    <a:pt x="562" y="263"/>
                  </a:lnTo>
                  <a:lnTo>
                    <a:pt x="574" y="241"/>
                  </a:lnTo>
                  <a:lnTo>
                    <a:pt x="596" y="199"/>
                  </a:lnTo>
                  <a:lnTo>
                    <a:pt x="658" y="133"/>
                  </a:lnTo>
                  <a:lnTo>
                    <a:pt x="662" y="109"/>
                  </a:lnTo>
                  <a:lnTo>
                    <a:pt x="648" y="89"/>
                  </a:lnTo>
                  <a:lnTo>
                    <a:pt x="644" y="65"/>
                  </a:lnTo>
                  <a:lnTo>
                    <a:pt x="622" y="59"/>
                  </a:lnTo>
                  <a:lnTo>
                    <a:pt x="604" y="83"/>
                  </a:lnTo>
                  <a:lnTo>
                    <a:pt x="592" y="67"/>
                  </a:lnTo>
                  <a:lnTo>
                    <a:pt x="588" y="25"/>
                  </a:lnTo>
                  <a:lnTo>
                    <a:pt x="568" y="29"/>
                  </a:lnTo>
                  <a:lnTo>
                    <a:pt x="550" y="4"/>
                  </a:lnTo>
                  <a:lnTo>
                    <a:pt x="528" y="4"/>
                  </a:lnTo>
                  <a:lnTo>
                    <a:pt x="510" y="25"/>
                  </a:lnTo>
                  <a:lnTo>
                    <a:pt x="483" y="4"/>
                  </a:lnTo>
                  <a:lnTo>
                    <a:pt x="449" y="0"/>
                  </a:lnTo>
                  <a:lnTo>
                    <a:pt x="417" y="21"/>
                  </a:lnTo>
                  <a:lnTo>
                    <a:pt x="395" y="49"/>
                  </a:lnTo>
                  <a:lnTo>
                    <a:pt x="371" y="67"/>
                  </a:lnTo>
                  <a:lnTo>
                    <a:pt x="419" y="145"/>
                  </a:lnTo>
                  <a:lnTo>
                    <a:pt x="419" y="175"/>
                  </a:lnTo>
                  <a:lnTo>
                    <a:pt x="395" y="189"/>
                  </a:lnTo>
                  <a:lnTo>
                    <a:pt x="365" y="227"/>
                  </a:lnTo>
                  <a:lnTo>
                    <a:pt x="349" y="255"/>
                  </a:lnTo>
                  <a:lnTo>
                    <a:pt x="333" y="241"/>
                  </a:lnTo>
                  <a:lnTo>
                    <a:pt x="311" y="233"/>
                  </a:lnTo>
                  <a:lnTo>
                    <a:pt x="301" y="239"/>
                  </a:lnTo>
                  <a:lnTo>
                    <a:pt x="301" y="287"/>
                  </a:lnTo>
                  <a:lnTo>
                    <a:pt x="297" y="319"/>
                  </a:lnTo>
                  <a:lnTo>
                    <a:pt x="269" y="327"/>
                  </a:lnTo>
                  <a:lnTo>
                    <a:pt x="247" y="339"/>
                  </a:lnTo>
                  <a:lnTo>
                    <a:pt x="235" y="365"/>
                  </a:lnTo>
                  <a:lnTo>
                    <a:pt x="229" y="393"/>
                  </a:lnTo>
                  <a:lnTo>
                    <a:pt x="187" y="393"/>
                  </a:lnTo>
                  <a:lnTo>
                    <a:pt x="177" y="383"/>
                  </a:lnTo>
                  <a:lnTo>
                    <a:pt x="177" y="359"/>
                  </a:lnTo>
                  <a:lnTo>
                    <a:pt x="163" y="345"/>
                  </a:lnTo>
                  <a:lnTo>
                    <a:pt x="147" y="357"/>
                  </a:lnTo>
                  <a:lnTo>
                    <a:pt x="107" y="381"/>
                  </a:lnTo>
                  <a:lnTo>
                    <a:pt x="111" y="418"/>
                  </a:lnTo>
                  <a:lnTo>
                    <a:pt x="109" y="434"/>
                  </a:lnTo>
                  <a:lnTo>
                    <a:pt x="82" y="468"/>
                  </a:lnTo>
                  <a:lnTo>
                    <a:pt x="66" y="468"/>
                  </a:lnTo>
                  <a:lnTo>
                    <a:pt x="68" y="482"/>
                  </a:lnTo>
                  <a:lnTo>
                    <a:pt x="72" y="500"/>
                  </a:lnTo>
                  <a:lnTo>
                    <a:pt x="50" y="506"/>
                  </a:lnTo>
                  <a:lnTo>
                    <a:pt x="18" y="512"/>
                  </a:lnTo>
                  <a:lnTo>
                    <a:pt x="0" y="604"/>
                  </a:lnTo>
                  <a:lnTo>
                    <a:pt x="18" y="612"/>
                  </a:lnTo>
                  <a:lnTo>
                    <a:pt x="44" y="624"/>
                  </a:lnTo>
                  <a:lnTo>
                    <a:pt x="82" y="638"/>
                  </a:lnTo>
                  <a:lnTo>
                    <a:pt x="125" y="662"/>
                  </a:lnTo>
                  <a:lnTo>
                    <a:pt x="125" y="676"/>
                  </a:lnTo>
                  <a:lnTo>
                    <a:pt x="111" y="724"/>
                  </a:lnTo>
                  <a:lnTo>
                    <a:pt x="111" y="780"/>
                  </a:lnTo>
                  <a:lnTo>
                    <a:pt x="121" y="800"/>
                  </a:lnTo>
                  <a:lnTo>
                    <a:pt x="149" y="811"/>
                  </a:lnTo>
                  <a:lnTo>
                    <a:pt x="201" y="833"/>
                  </a:lnTo>
                  <a:lnTo>
                    <a:pt x="219" y="845"/>
                  </a:lnTo>
                  <a:lnTo>
                    <a:pt x="223" y="875"/>
                  </a:lnTo>
                  <a:lnTo>
                    <a:pt x="207" y="891"/>
                  </a:lnTo>
                  <a:lnTo>
                    <a:pt x="187" y="935"/>
                  </a:lnTo>
                  <a:lnTo>
                    <a:pt x="187" y="961"/>
                  </a:lnTo>
                  <a:lnTo>
                    <a:pt x="195" y="1017"/>
                  </a:lnTo>
                  <a:lnTo>
                    <a:pt x="191" y="1039"/>
                  </a:lnTo>
                  <a:lnTo>
                    <a:pt x="187" y="1075"/>
                  </a:lnTo>
                  <a:lnTo>
                    <a:pt x="207" y="1101"/>
                  </a:lnTo>
                  <a:lnTo>
                    <a:pt x="199" y="1139"/>
                  </a:lnTo>
                  <a:lnTo>
                    <a:pt x="191" y="1171"/>
                  </a:lnTo>
                  <a:lnTo>
                    <a:pt x="191" y="1197"/>
                  </a:lnTo>
                  <a:lnTo>
                    <a:pt x="195" y="1201"/>
                  </a:lnTo>
                  <a:lnTo>
                    <a:pt x="211" y="1210"/>
                  </a:lnTo>
                  <a:lnTo>
                    <a:pt x="241" y="1236"/>
                  </a:lnTo>
                  <a:lnTo>
                    <a:pt x="255" y="1258"/>
                  </a:lnTo>
                  <a:lnTo>
                    <a:pt x="281" y="1288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83" name="Group 23"/>
            <p:cNvGrpSpPr>
              <a:grpSpLocks/>
            </p:cNvGrpSpPr>
            <p:nvPr/>
          </p:nvGrpSpPr>
          <p:grpSpPr bwMode="auto">
            <a:xfrm>
              <a:off x="4374" y="2159"/>
              <a:ext cx="595" cy="298"/>
              <a:chOff x="4087" y="1684"/>
              <a:chExt cx="1040" cy="664"/>
            </a:xfrm>
          </p:grpSpPr>
          <p:sp>
            <p:nvSpPr>
              <p:cNvPr id="97" name="Freeform 24"/>
              <p:cNvSpPr>
                <a:spLocks/>
              </p:cNvSpPr>
              <p:nvPr/>
            </p:nvSpPr>
            <p:spPr bwMode="auto">
              <a:xfrm>
                <a:off x="4087" y="2145"/>
                <a:ext cx="140" cy="123"/>
              </a:xfrm>
              <a:custGeom>
                <a:avLst/>
                <a:gdLst/>
                <a:ahLst/>
                <a:cxnLst>
                  <a:cxn ang="0">
                    <a:pos x="118" y="0"/>
                  </a:cxn>
                  <a:cxn ang="0">
                    <a:pos x="78" y="0"/>
                  </a:cxn>
                  <a:cxn ang="0">
                    <a:pos x="32" y="26"/>
                  </a:cxn>
                  <a:cxn ang="0">
                    <a:pos x="32" y="52"/>
                  </a:cxn>
                  <a:cxn ang="0">
                    <a:pos x="18" y="56"/>
                  </a:cxn>
                  <a:cxn ang="0">
                    <a:pos x="4" y="74"/>
                  </a:cxn>
                  <a:cxn ang="0">
                    <a:pos x="0" y="92"/>
                  </a:cxn>
                  <a:cxn ang="0">
                    <a:pos x="14" y="96"/>
                  </a:cxn>
                  <a:cxn ang="0">
                    <a:pos x="40" y="123"/>
                  </a:cxn>
                  <a:cxn ang="0">
                    <a:pos x="58" y="123"/>
                  </a:cxn>
                  <a:cxn ang="0">
                    <a:pos x="58" y="109"/>
                  </a:cxn>
                  <a:cxn ang="0">
                    <a:pos x="70" y="82"/>
                  </a:cxn>
                  <a:cxn ang="0">
                    <a:pos x="88" y="86"/>
                  </a:cxn>
                  <a:cxn ang="0">
                    <a:pos x="100" y="68"/>
                  </a:cxn>
                  <a:cxn ang="0">
                    <a:pos x="136" y="36"/>
                  </a:cxn>
                  <a:cxn ang="0">
                    <a:pos x="140" y="26"/>
                  </a:cxn>
                  <a:cxn ang="0">
                    <a:pos x="136" y="22"/>
                  </a:cxn>
                  <a:cxn ang="0">
                    <a:pos x="118" y="0"/>
                  </a:cxn>
                </a:cxnLst>
                <a:rect l="0" t="0" r="r" b="b"/>
                <a:pathLst>
                  <a:path w="140" h="123">
                    <a:moveTo>
                      <a:pt x="118" y="0"/>
                    </a:moveTo>
                    <a:lnTo>
                      <a:pt x="78" y="0"/>
                    </a:lnTo>
                    <a:lnTo>
                      <a:pt x="32" y="26"/>
                    </a:lnTo>
                    <a:lnTo>
                      <a:pt x="32" y="52"/>
                    </a:lnTo>
                    <a:lnTo>
                      <a:pt x="18" y="56"/>
                    </a:lnTo>
                    <a:lnTo>
                      <a:pt x="4" y="74"/>
                    </a:lnTo>
                    <a:lnTo>
                      <a:pt x="0" y="92"/>
                    </a:lnTo>
                    <a:lnTo>
                      <a:pt x="14" y="96"/>
                    </a:lnTo>
                    <a:lnTo>
                      <a:pt x="40" y="123"/>
                    </a:lnTo>
                    <a:lnTo>
                      <a:pt x="58" y="123"/>
                    </a:lnTo>
                    <a:lnTo>
                      <a:pt x="58" y="109"/>
                    </a:lnTo>
                    <a:lnTo>
                      <a:pt x="70" y="82"/>
                    </a:lnTo>
                    <a:lnTo>
                      <a:pt x="88" y="86"/>
                    </a:lnTo>
                    <a:lnTo>
                      <a:pt x="100" y="68"/>
                    </a:lnTo>
                    <a:lnTo>
                      <a:pt x="136" y="36"/>
                    </a:lnTo>
                    <a:lnTo>
                      <a:pt x="140" y="26"/>
                    </a:lnTo>
                    <a:lnTo>
                      <a:pt x="136" y="22"/>
                    </a:lnTo>
                    <a:lnTo>
                      <a:pt x="118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8" name="Freeform 25"/>
              <p:cNvSpPr>
                <a:spLocks/>
              </p:cNvSpPr>
              <p:nvPr/>
            </p:nvSpPr>
            <p:spPr bwMode="auto">
              <a:xfrm>
                <a:off x="4153" y="2284"/>
                <a:ext cx="74" cy="6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14"/>
                  </a:cxn>
                  <a:cxn ang="0">
                    <a:pos x="0" y="26"/>
                  </a:cxn>
                  <a:cxn ang="0">
                    <a:pos x="0" y="46"/>
                  </a:cxn>
                  <a:cxn ang="0">
                    <a:pos x="12" y="64"/>
                  </a:cxn>
                  <a:cxn ang="0">
                    <a:pos x="26" y="52"/>
                  </a:cxn>
                  <a:cxn ang="0">
                    <a:pos x="34" y="56"/>
                  </a:cxn>
                  <a:cxn ang="0">
                    <a:pos x="56" y="64"/>
                  </a:cxn>
                  <a:cxn ang="0">
                    <a:pos x="74" y="56"/>
                  </a:cxn>
                  <a:cxn ang="0">
                    <a:pos x="70" y="42"/>
                  </a:cxn>
                  <a:cxn ang="0">
                    <a:pos x="52" y="26"/>
                  </a:cxn>
                  <a:cxn ang="0">
                    <a:pos x="38" y="22"/>
                  </a:cxn>
                  <a:cxn ang="0">
                    <a:pos x="26" y="22"/>
                  </a:cxn>
                  <a:cxn ang="0">
                    <a:pos x="12" y="0"/>
                  </a:cxn>
                </a:cxnLst>
                <a:rect l="0" t="0" r="r" b="b"/>
                <a:pathLst>
                  <a:path w="74" h="64">
                    <a:moveTo>
                      <a:pt x="12" y="0"/>
                    </a:moveTo>
                    <a:lnTo>
                      <a:pt x="12" y="14"/>
                    </a:lnTo>
                    <a:lnTo>
                      <a:pt x="0" y="26"/>
                    </a:lnTo>
                    <a:lnTo>
                      <a:pt x="0" y="46"/>
                    </a:lnTo>
                    <a:lnTo>
                      <a:pt x="12" y="64"/>
                    </a:lnTo>
                    <a:lnTo>
                      <a:pt x="26" y="52"/>
                    </a:lnTo>
                    <a:lnTo>
                      <a:pt x="34" y="56"/>
                    </a:lnTo>
                    <a:lnTo>
                      <a:pt x="56" y="64"/>
                    </a:lnTo>
                    <a:lnTo>
                      <a:pt x="74" y="56"/>
                    </a:lnTo>
                    <a:lnTo>
                      <a:pt x="70" y="42"/>
                    </a:lnTo>
                    <a:lnTo>
                      <a:pt x="52" y="26"/>
                    </a:lnTo>
                    <a:lnTo>
                      <a:pt x="38" y="22"/>
                    </a:lnTo>
                    <a:lnTo>
                      <a:pt x="26" y="2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9" name="Freeform 26"/>
              <p:cNvSpPr>
                <a:spLocks/>
              </p:cNvSpPr>
              <p:nvPr/>
            </p:nvSpPr>
            <p:spPr bwMode="auto">
              <a:xfrm>
                <a:off x="4445" y="1728"/>
                <a:ext cx="385" cy="313"/>
              </a:xfrm>
              <a:custGeom>
                <a:avLst/>
                <a:gdLst/>
                <a:ahLst/>
                <a:cxnLst>
                  <a:cxn ang="0">
                    <a:pos x="301" y="0"/>
                  </a:cxn>
                  <a:cxn ang="0">
                    <a:pos x="271" y="22"/>
                  </a:cxn>
                  <a:cxn ang="0">
                    <a:pos x="279" y="30"/>
                  </a:cxn>
                  <a:cxn ang="0">
                    <a:pos x="295" y="30"/>
                  </a:cxn>
                  <a:cxn ang="0">
                    <a:pos x="287" y="48"/>
                  </a:cxn>
                  <a:cxn ang="0">
                    <a:pos x="265" y="68"/>
                  </a:cxn>
                  <a:cxn ang="0">
                    <a:pos x="287" y="64"/>
                  </a:cxn>
                  <a:cxn ang="0">
                    <a:pos x="297" y="74"/>
                  </a:cxn>
                  <a:cxn ang="0">
                    <a:pos x="297" y="80"/>
                  </a:cxn>
                  <a:cxn ang="0">
                    <a:pos x="315" y="96"/>
                  </a:cxn>
                  <a:cxn ang="0">
                    <a:pos x="333" y="88"/>
                  </a:cxn>
                  <a:cxn ang="0">
                    <a:pos x="341" y="64"/>
                  </a:cxn>
                  <a:cxn ang="0">
                    <a:pos x="363" y="68"/>
                  </a:cxn>
                  <a:cxn ang="0">
                    <a:pos x="377" y="80"/>
                  </a:cxn>
                  <a:cxn ang="0">
                    <a:pos x="385" y="96"/>
                  </a:cxn>
                  <a:cxn ang="0">
                    <a:pos x="371" y="114"/>
                  </a:cxn>
                  <a:cxn ang="0">
                    <a:pos x="355" y="125"/>
                  </a:cxn>
                  <a:cxn ang="0">
                    <a:pos x="367" y="145"/>
                  </a:cxn>
                  <a:cxn ang="0">
                    <a:pos x="363" y="167"/>
                  </a:cxn>
                  <a:cxn ang="0">
                    <a:pos x="359" y="193"/>
                  </a:cxn>
                  <a:cxn ang="0">
                    <a:pos x="349" y="219"/>
                  </a:cxn>
                  <a:cxn ang="0">
                    <a:pos x="319" y="223"/>
                  </a:cxn>
                  <a:cxn ang="0">
                    <a:pos x="327" y="241"/>
                  </a:cxn>
                  <a:cxn ang="0">
                    <a:pos x="341" y="261"/>
                  </a:cxn>
                  <a:cxn ang="0">
                    <a:pos x="323" y="275"/>
                  </a:cxn>
                  <a:cxn ang="0">
                    <a:pos x="315" y="299"/>
                  </a:cxn>
                  <a:cxn ang="0">
                    <a:pos x="301" y="305"/>
                  </a:cxn>
                  <a:cxn ang="0">
                    <a:pos x="291" y="295"/>
                  </a:cxn>
                  <a:cxn ang="0">
                    <a:pos x="279" y="295"/>
                  </a:cxn>
                  <a:cxn ang="0">
                    <a:pos x="253" y="313"/>
                  </a:cxn>
                  <a:cxn ang="0">
                    <a:pos x="217" y="271"/>
                  </a:cxn>
                  <a:cxn ang="0">
                    <a:pos x="187" y="279"/>
                  </a:cxn>
                  <a:cxn ang="0">
                    <a:pos x="167" y="257"/>
                  </a:cxn>
                  <a:cxn ang="0">
                    <a:pos x="157" y="231"/>
                  </a:cxn>
                  <a:cxn ang="0">
                    <a:pos x="157" y="205"/>
                  </a:cxn>
                  <a:cxn ang="0">
                    <a:pos x="131" y="197"/>
                  </a:cxn>
                  <a:cxn ang="0">
                    <a:pos x="117" y="197"/>
                  </a:cxn>
                  <a:cxn ang="0">
                    <a:pos x="109" y="183"/>
                  </a:cxn>
                  <a:cxn ang="0">
                    <a:pos x="95" y="197"/>
                  </a:cxn>
                  <a:cxn ang="0">
                    <a:pos x="87" y="219"/>
                  </a:cxn>
                  <a:cxn ang="0">
                    <a:pos x="67" y="237"/>
                  </a:cxn>
                  <a:cxn ang="0">
                    <a:pos x="41" y="205"/>
                  </a:cxn>
                  <a:cxn ang="0">
                    <a:pos x="0" y="201"/>
                  </a:cxn>
                  <a:cxn ang="0">
                    <a:pos x="9" y="183"/>
                  </a:cxn>
                  <a:cxn ang="0">
                    <a:pos x="37" y="167"/>
                  </a:cxn>
                  <a:cxn ang="0">
                    <a:pos x="41" y="145"/>
                  </a:cxn>
                  <a:cxn ang="0">
                    <a:pos x="71" y="106"/>
                  </a:cxn>
                  <a:cxn ang="0">
                    <a:pos x="105" y="102"/>
                  </a:cxn>
                  <a:cxn ang="0">
                    <a:pos x="135" y="72"/>
                  </a:cxn>
                  <a:cxn ang="0">
                    <a:pos x="145" y="56"/>
                  </a:cxn>
                  <a:cxn ang="0">
                    <a:pos x="167" y="34"/>
                  </a:cxn>
                  <a:cxn ang="0">
                    <a:pos x="179" y="44"/>
                  </a:cxn>
                  <a:cxn ang="0">
                    <a:pos x="209" y="30"/>
                  </a:cxn>
                  <a:cxn ang="0">
                    <a:pos x="217" y="8"/>
                  </a:cxn>
                  <a:cxn ang="0">
                    <a:pos x="261" y="4"/>
                  </a:cxn>
                  <a:cxn ang="0">
                    <a:pos x="301" y="0"/>
                  </a:cxn>
                </a:cxnLst>
                <a:rect l="0" t="0" r="r" b="b"/>
                <a:pathLst>
                  <a:path w="385" h="313">
                    <a:moveTo>
                      <a:pt x="301" y="0"/>
                    </a:moveTo>
                    <a:lnTo>
                      <a:pt x="271" y="22"/>
                    </a:lnTo>
                    <a:lnTo>
                      <a:pt x="279" y="30"/>
                    </a:lnTo>
                    <a:lnTo>
                      <a:pt x="295" y="30"/>
                    </a:lnTo>
                    <a:lnTo>
                      <a:pt x="287" y="48"/>
                    </a:lnTo>
                    <a:lnTo>
                      <a:pt x="265" y="68"/>
                    </a:lnTo>
                    <a:lnTo>
                      <a:pt x="287" y="64"/>
                    </a:lnTo>
                    <a:lnTo>
                      <a:pt x="297" y="74"/>
                    </a:lnTo>
                    <a:lnTo>
                      <a:pt x="297" y="80"/>
                    </a:lnTo>
                    <a:lnTo>
                      <a:pt x="315" y="96"/>
                    </a:lnTo>
                    <a:lnTo>
                      <a:pt x="333" y="88"/>
                    </a:lnTo>
                    <a:lnTo>
                      <a:pt x="341" y="64"/>
                    </a:lnTo>
                    <a:lnTo>
                      <a:pt x="363" y="68"/>
                    </a:lnTo>
                    <a:lnTo>
                      <a:pt x="377" y="80"/>
                    </a:lnTo>
                    <a:lnTo>
                      <a:pt x="385" y="96"/>
                    </a:lnTo>
                    <a:lnTo>
                      <a:pt x="371" y="114"/>
                    </a:lnTo>
                    <a:lnTo>
                      <a:pt x="355" y="125"/>
                    </a:lnTo>
                    <a:lnTo>
                      <a:pt x="367" y="145"/>
                    </a:lnTo>
                    <a:lnTo>
                      <a:pt x="363" y="167"/>
                    </a:lnTo>
                    <a:lnTo>
                      <a:pt x="359" y="193"/>
                    </a:lnTo>
                    <a:lnTo>
                      <a:pt x="349" y="219"/>
                    </a:lnTo>
                    <a:lnTo>
                      <a:pt x="319" y="223"/>
                    </a:lnTo>
                    <a:lnTo>
                      <a:pt x="327" y="241"/>
                    </a:lnTo>
                    <a:lnTo>
                      <a:pt x="341" y="261"/>
                    </a:lnTo>
                    <a:lnTo>
                      <a:pt x="323" y="275"/>
                    </a:lnTo>
                    <a:lnTo>
                      <a:pt x="315" y="299"/>
                    </a:lnTo>
                    <a:lnTo>
                      <a:pt x="301" y="305"/>
                    </a:lnTo>
                    <a:lnTo>
                      <a:pt x="291" y="295"/>
                    </a:lnTo>
                    <a:lnTo>
                      <a:pt x="279" y="295"/>
                    </a:lnTo>
                    <a:lnTo>
                      <a:pt x="253" y="313"/>
                    </a:lnTo>
                    <a:lnTo>
                      <a:pt x="217" y="271"/>
                    </a:lnTo>
                    <a:lnTo>
                      <a:pt x="187" y="279"/>
                    </a:lnTo>
                    <a:lnTo>
                      <a:pt x="167" y="257"/>
                    </a:lnTo>
                    <a:lnTo>
                      <a:pt x="157" y="231"/>
                    </a:lnTo>
                    <a:lnTo>
                      <a:pt x="157" y="205"/>
                    </a:lnTo>
                    <a:lnTo>
                      <a:pt x="131" y="197"/>
                    </a:lnTo>
                    <a:lnTo>
                      <a:pt x="117" y="197"/>
                    </a:lnTo>
                    <a:lnTo>
                      <a:pt x="109" y="183"/>
                    </a:lnTo>
                    <a:lnTo>
                      <a:pt x="95" y="197"/>
                    </a:lnTo>
                    <a:lnTo>
                      <a:pt x="87" y="219"/>
                    </a:lnTo>
                    <a:lnTo>
                      <a:pt x="67" y="237"/>
                    </a:lnTo>
                    <a:lnTo>
                      <a:pt x="41" y="205"/>
                    </a:lnTo>
                    <a:lnTo>
                      <a:pt x="0" y="201"/>
                    </a:lnTo>
                    <a:lnTo>
                      <a:pt x="9" y="183"/>
                    </a:lnTo>
                    <a:lnTo>
                      <a:pt x="37" y="167"/>
                    </a:lnTo>
                    <a:lnTo>
                      <a:pt x="41" y="145"/>
                    </a:lnTo>
                    <a:lnTo>
                      <a:pt x="71" y="106"/>
                    </a:lnTo>
                    <a:lnTo>
                      <a:pt x="105" y="102"/>
                    </a:lnTo>
                    <a:lnTo>
                      <a:pt x="135" y="72"/>
                    </a:lnTo>
                    <a:lnTo>
                      <a:pt x="145" y="56"/>
                    </a:lnTo>
                    <a:lnTo>
                      <a:pt x="167" y="34"/>
                    </a:lnTo>
                    <a:lnTo>
                      <a:pt x="179" y="44"/>
                    </a:lnTo>
                    <a:lnTo>
                      <a:pt x="209" y="30"/>
                    </a:lnTo>
                    <a:lnTo>
                      <a:pt x="217" y="8"/>
                    </a:lnTo>
                    <a:lnTo>
                      <a:pt x="261" y="4"/>
                    </a:lnTo>
                    <a:lnTo>
                      <a:pt x="301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0" name="Freeform 27"/>
              <p:cNvSpPr>
                <a:spLocks/>
              </p:cNvSpPr>
              <p:nvPr/>
            </p:nvSpPr>
            <p:spPr bwMode="auto">
              <a:xfrm>
                <a:off x="4947" y="1684"/>
                <a:ext cx="180" cy="12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4" y="0"/>
                  </a:cxn>
                  <a:cxn ang="0">
                    <a:pos x="54" y="8"/>
                  </a:cxn>
                  <a:cxn ang="0">
                    <a:pos x="68" y="12"/>
                  </a:cxn>
                  <a:cxn ang="0">
                    <a:pos x="84" y="8"/>
                  </a:cxn>
                  <a:cxn ang="0">
                    <a:pos x="104" y="0"/>
                  </a:cxn>
                  <a:cxn ang="0">
                    <a:pos x="128" y="4"/>
                  </a:cxn>
                  <a:cxn ang="0">
                    <a:pos x="152" y="16"/>
                  </a:cxn>
                  <a:cxn ang="0">
                    <a:pos x="166" y="48"/>
                  </a:cxn>
                  <a:cxn ang="0">
                    <a:pos x="158" y="66"/>
                  </a:cxn>
                  <a:cxn ang="0">
                    <a:pos x="170" y="88"/>
                  </a:cxn>
                  <a:cxn ang="0">
                    <a:pos x="180" y="108"/>
                  </a:cxn>
                  <a:cxn ang="0">
                    <a:pos x="176" y="128"/>
                  </a:cxn>
                  <a:cxn ang="0">
                    <a:pos x="166" y="112"/>
                  </a:cxn>
                  <a:cxn ang="0">
                    <a:pos x="138" y="82"/>
                  </a:cxn>
                  <a:cxn ang="0">
                    <a:pos x="90" y="66"/>
                  </a:cxn>
                  <a:cxn ang="0">
                    <a:pos x="54" y="62"/>
                  </a:cxn>
                  <a:cxn ang="0">
                    <a:pos x="28" y="70"/>
                  </a:cxn>
                  <a:cxn ang="0">
                    <a:pos x="16" y="58"/>
                  </a:cxn>
                  <a:cxn ang="0">
                    <a:pos x="14" y="38"/>
                  </a:cxn>
                  <a:cxn ang="0">
                    <a:pos x="0" y="30"/>
                  </a:cxn>
                  <a:cxn ang="0">
                    <a:pos x="0" y="8"/>
                  </a:cxn>
                </a:cxnLst>
                <a:rect l="0" t="0" r="r" b="b"/>
                <a:pathLst>
                  <a:path w="180" h="128">
                    <a:moveTo>
                      <a:pt x="0" y="8"/>
                    </a:moveTo>
                    <a:lnTo>
                      <a:pt x="14" y="0"/>
                    </a:lnTo>
                    <a:lnTo>
                      <a:pt x="54" y="8"/>
                    </a:lnTo>
                    <a:lnTo>
                      <a:pt x="68" y="12"/>
                    </a:lnTo>
                    <a:lnTo>
                      <a:pt x="84" y="8"/>
                    </a:lnTo>
                    <a:lnTo>
                      <a:pt x="104" y="0"/>
                    </a:lnTo>
                    <a:lnTo>
                      <a:pt x="128" y="4"/>
                    </a:lnTo>
                    <a:lnTo>
                      <a:pt x="152" y="16"/>
                    </a:lnTo>
                    <a:lnTo>
                      <a:pt x="166" y="48"/>
                    </a:lnTo>
                    <a:lnTo>
                      <a:pt x="158" y="66"/>
                    </a:lnTo>
                    <a:lnTo>
                      <a:pt x="170" y="88"/>
                    </a:lnTo>
                    <a:lnTo>
                      <a:pt x="180" y="108"/>
                    </a:lnTo>
                    <a:lnTo>
                      <a:pt x="176" y="128"/>
                    </a:lnTo>
                    <a:lnTo>
                      <a:pt x="166" y="112"/>
                    </a:lnTo>
                    <a:lnTo>
                      <a:pt x="138" y="82"/>
                    </a:lnTo>
                    <a:lnTo>
                      <a:pt x="90" y="66"/>
                    </a:lnTo>
                    <a:lnTo>
                      <a:pt x="54" y="62"/>
                    </a:lnTo>
                    <a:lnTo>
                      <a:pt x="28" y="70"/>
                    </a:lnTo>
                    <a:lnTo>
                      <a:pt x="16" y="58"/>
                    </a:lnTo>
                    <a:lnTo>
                      <a:pt x="14" y="38"/>
                    </a:lnTo>
                    <a:lnTo>
                      <a:pt x="0" y="3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1" name="Freeform 28"/>
              <p:cNvSpPr>
                <a:spLocks/>
              </p:cNvSpPr>
              <p:nvPr/>
            </p:nvSpPr>
            <p:spPr bwMode="auto">
              <a:xfrm>
                <a:off x="4650" y="2073"/>
                <a:ext cx="60" cy="4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0" y="20"/>
                  </a:cxn>
                  <a:cxn ang="0">
                    <a:pos x="8" y="38"/>
                  </a:cxn>
                  <a:cxn ang="0">
                    <a:pos x="22" y="46"/>
                  </a:cxn>
                  <a:cxn ang="0">
                    <a:pos x="42" y="38"/>
                  </a:cxn>
                  <a:cxn ang="0">
                    <a:pos x="60" y="28"/>
                  </a:cxn>
                  <a:cxn ang="0">
                    <a:pos x="52" y="16"/>
                  </a:cxn>
                  <a:cxn ang="0">
                    <a:pos x="18" y="0"/>
                  </a:cxn>
                </a:cxnLst>
                <a:rect l="0" t="0" r="r" b="b"/>
                <a:pathLst>
                  <a:path w="60" h="46">
                    <a:moveTo>
                      <a:pt x="18" y="0"/>
                    </a:moveTo>
                    <a:lnTo>
                      <a:pt x="0" y="20"/>
                    </a:lnTo>
                    <a:lnTo>
                      <a:pt x="8" y="38"/>
                    </a:lnTo>
                    <a:lnTo>
                      <a:pt x="22" y="46"/>
                    </a:lnTo>
                    <a:lnTo>
                      <a:pt x="42" y="38"/>
                    </a:lnTo>
                    <a:lnTo>
                      <a:pt x="60" y="28"/>
                    </a:lnTo>
                    <a:lnTo>
                      <a:pt x="52" y="16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4" name="Freeform 29"/>
            <p:cNvSpPr>
              <a:spLocks/>
            </p:cNvSpPr>
            <p:nvPr/>
          </p:nvSpPr>
          <p:spPr bwMode="auto">
            <a:xfrm>
              <a:off x="3937" y="1360"/>
              <a:ext cx="746" cy="753"/>
            </a:xfrm>
            <a:custGeom>
              <a:avLst/>
              <a:gdLst/>
              <a:ahLst/>
              <a:cxnLst>
                <a:cxn ang="0">
                  <a:pos x="180" y="251"/>
                </a:cxn>
                <a:cxn ang="0">
                  <a:pos x="158" y="331"/>
                </a:cxn>
                <a:cxn ang="0">
                  <a:pos x="152" y="411"/>
                </a:cxn>
                <a:cxn ang="0">
                  <a:pos x="42" y="543"/>
                </a:cxn>
                <a:cxn ang="0">
                  <a:pos x="68" y="582"/>
                </a:cxn>
                <a:cxn ang="0">
                  <a:pos x="56" y="698"/>
                </a:cxn>
                <a:cxn ang="0">
                  <a:pos x="44" y="780"/>
                </a:cxn>
                <a:cxn ang="0">
                  <a:pos x="30" y="838"/>
                </a:cxn>
                <a:cxn ang="0">
                  <a:pos x="14" y="904"/>
                </a:cxn>
                <a:cxn ang="0">
                  <a:pos x="0" y="950"/>
                </a:cxn>
                <a:cxn ang="0">
                  <a:pos x="46" y="979"/>
                </a:cxn>
                <a:cxn ang="0">
                  <a:pos x="60" y="1037"/>
                </a:cxn>
                <a:cxn ang="0">
                  <a:pos x="94" y="1019"/>
                </a:cxn>
                <a:cxn ang="0">
                  <a:pos x="116" y="1057"/>
                </a:cxn>
                <a:cxn ang="0">
                  <a:pos x="158" y="1019"/>
                </a:cxn>
                <a:cxn ang="0">
                  <a:pos x="180" y="989"/>
                </a:cxn>
                <a:cxn ang="0">
                  <a:pos x="238" y="971"/>
                </a:cxn>
                <a:cxn ang="0">
                  <a:pos x="250" y="928"/>
                </a:cxn>
                <a:cxn ang="0">
                  <a:pos x="206" y="906"/>
                </a:cxn>
                <a:cxn ang="0">
                  <a:pos x="300" y="816"/>
                </a:cxn>
                <a:cxn ang="0">
                  <a:pos x="481" y="738"/>
                </a:cxn>
                <a:cxn ang="0">
                  <a:pos x="623" y="672"/>
                </a:cxn>
                <a:cxn ang="0">
                  <a:pos x="703" y="576"/>
                </a:cxn>
                <a:cxn ang="0">
                  <a:pos x="844" y="503"/>
                </a:cxn>
                <a:cxn ang="0">
                  <a:pos x="996" y="341"/>
                </a:cxn>
                <a:cxn ang="0">
                  <a:pos x="940" y="239"/>
                </a:cxn>
                <a:cxn ang="0">
                  <a:pos x="944" y="207"/>
                </a:cxn>
                <a:cxn ang="0">
                  <a:pos x="1018" y="183"/>
                </a:cxn>
                <a:cxn ang="0">
                  <a:pos x="978" y="164"/>
                </a:cxn>
                <a:cxn ang="0">
                  <a:pos x="960" y="120"/>
                </a:cxn>
                <a:cxn ang="0">
                  <a:pos x="918" y="130"/>
                </a:cxn>
                <a:cxn ang="0">
                  <a:pos x="914" y="108"/>
                </a:cxn>
                <a:cxn ang="0">
                  <a:pos x="866" y="104"/>
                </a:cxn>
                <a:cxn ang="0">
                  <a:pos x="816" y="148"/>
                </a:cxn>
                <a:cxn ang="0">
                  <a:pos x="820" y="160"/>
                </a:cxn>
                <a:cxn ang="0">
                  <a:pos x="767" y="175"/>
                </a:cxn>
                <a:cxn ang="0">
                  <a:pos x="715" y="175"/>
                </a:cxn>
                <a:cxn ang="0">
                  <a:pos x="667" y="160"/>
                </a:cxn>
                <a:cxn ang="0">
                  <a:pos x="615" y="170"/>
                </a:cxn>
                <a:cxn ang="0">
                  <a:pos x="547" y="164"/>
                </a:cxn>
                <a:cxn ang="0">
                  <a:pos x="495" y="130"/>
                </a:cxn>
                <a:cxn ang="0">
                  <a:pos x="507" y="108"/>
                </a:cxn>
                <a:cxn ang="0">
                  <a:pos x="503" y="86"/>
                </a:cxn>
                <a:cxn ang="0">
                  <a:pos x="447" y="70"/>
                </a:cxn>
                <a:cxn ang="0">
                  <a:pos x="383" y="70"/>
                </a:cxn>
                <a:cxn ang="0">
                  <a:pos x="284" y="30"/>
                </a:cxn>
                <a:cxn ang="0">
                  <a:pos x="198" y="14"/>
                </a:cxn>
                <a:cxn ang="0">
                  <a:pos x="146" y="8"/>
                </a:cxn>
                <a:cxn ang="0">
                  <a:pos x="112" y="66"/>
                </a:cxn>
              </a:cxnLst>
              <a:rect l="0" t="0" r="r" b="b"/>
              <a:pathLst>
                <a:path w="1018" h="1079">
                  <a:moveTo>
                    <a:pt x="112" y="66"/>
                  </a:moveTo>
                  <a:lnTo>
                    <a:pt x="180" y="251"/>
                  </a:lnTo>
                  <a:lnTo>
                    <a:pt x="138" y="273"/>
                  </a:lnTo>
                  <a:lnTo>
                    <a:pt x="158" y="331"/>
                  </a:lnTo>
                  <a:lnTo>
                    <a:pt x="162" y="377"/>
                  </a:lnTo>
                  <a:lnTo>
                    <a:pt x="152" y="411"/>
                  </a:lnTo>
                  <a:lnTo>
                    <a:pt x="126" y="447"/>
                  </a:lnTo>
                  <a:lnTo>
                    <a:pt x="42" y="543"/>
                  </a:lnTo>
                  <a:lnTo>
                    <a:pt x="46" y="561"/>
                  </a:lnTo>
                  <a:lnTo>
                    <a:pt x="68" y="582"/>
                  </a:lnTo>
                  <a:lnTo>
                    <a:pt x="34" y="650"/>
                  </a:lnTo>
                  <a:lnTo>
                    <a:pt x="56" y="698"/>
                  </a:lnTo>
                  <a:lnTo>
                    <a:pt x="68" y="716"/>
                  </a:lnTo>
                  <a:lnTo>
                    <a:pt x="44" y="780"/>
                  </a:lnTo>
                  <a:lnTo>
                    <a:pt x="18" y="798"/>
                  </a:lnTo>
                  <a:lnTo>
                    <a:pt x="30" y="838"/>
                  </a:lnTo>
                  <a:lnTo>
                    <a:pt x="30" y="876"/>
                  </a:lnTo>
                  <a:lnTo>
                    <a:pt x="14" y="904"/>
                  </a:lnTo>
                  <a:lnTo>
                    <a:pt x="18" y="932"/>
                  </a:lnTo>
                  <a:lnTo>
                    <a:pt x="0" y="950"/>
                  </a:lnTo>
                  <a:lnTo>
                    <a:pt x="26" y="983"/>
                  </a:lnTo>
                  <a:lnTo>
                    <a:pt x="46" y="979"/>
                  </a:lnTo>
                  <a:lnTo>
                    <a:pt x="46" y="1019"/>
                  </a:lnTo>
                  <a:lnTo>
                    <a:pt x="60" y="1037"/>
                  </a:lnTo>
                  <a:lnTo>
                    <a:pt x="76" y="1015"/>
                  </a:lnTo>
                  <a:lnTo>
                    <a:pt x="94" y="1019"/>
                  </a:lnTo>
                  <a:lnTo>
                    <a:pt x="104" y="1045"/>
                  </a:lnTo>
                  <a:lnTo>
                    <a:pt x="116" y="1057"/>
                  </a:lnTo>
                  <a:lnTo>
                    <a:pt x="116" y="1079"/>
                  </a:lnTo>
                  <a:lnTo>
                    <a:pt x="158" y="1019"/>
                  </a:lnTo>
                  <a:lnTo>
                    <a:pt x="158" y="1005"/>
                  </a:lnTo>
                  <a:lnTo>
                    <a:pt x="180" y="989"/>
                  </a:lnTo>
                  <a:lnTo>
                    <a:pt x="216" y="1009"/>
                  </a:lnTo>
                  <a:lnTo>
                    <a:pt x="238" y="971"/>
                  </a:lnTo>
                  <a:lnTo>
                    <a:pt x="254" y="950"/>
                  </a:lnTo>
                  <a:lnTo>
                    <a:pt x="250" y="928"/>
                  </a:lnTo>
                  <a:lnTo>
                    <a:pt x="238" y="928"/>
                  </a:lnTo>
                  <a:lnTo>
                    <a:pt x="206" y="906"/>
                  </a:lnTo>
                  <a:lnTo>
                    <a:pt x="232" y="892"/>
                  </a:lnTo>
                  <a:lnTo>
                    <a:pt x="300" y="816"/>
                  </a:lnTo>
                  <a:lnTo>
                    <a:pt x="361" y="790"/>
                  </a:lnTo>
                  <a:lnTo>
                    <a:pt x="481" y="738"/>
                  </a:lnTo>
                  <a:lnTo>
                    <a:pt x="541" y="704"/>
                  </a:lnTo>
                  <a:lnTo>
                    <a:pt x="623" y="672"/>
                  </a:lnTo>
                  <a:lnTo>
                    <a:pt x="689" y="616"/>
                  </a:lnTo>
                  <a:lnTo>
                    <a:pt x="703" y="576"/>
                  </a:lnTo>
                  <a:lnTo>
                    <a:pt x="731" y="580"/>
                  </a:lnTo>
                  <a:lnTo>
                    <a:pt x="844" y="503"/>
                  </a:lnTo>
                  <a:lnTo>
                    <a:pt x="1000" y="363"/>
                  </a:lnTo>
                  <a:lnTo>
                    <a:pt x="996" y="341"/>
                  </a:lnTo>
                  <a:lnTo>
                    <a:pt x="974" y="277"/>
                  </a:lnTo>
                  <a:lnTo>
                    <a:pt x="940" y="239"/>
                  </a:lnTo>
                  <a:lnTo>
                    <a:pt x="936" y="221"/>
                  </a:lnTo>
                  <a:lnTo>
                    <a:pt x="944" y="207"/>
                  </a:lnTo>
                  <a:lnTo>
                    <a:pt x="966" y="199"/>
                  </a:lnTo>
                  <a:lnTo>
                    <a:pt x="1018" y="183"/>
                  </a:lnTo>
                  <a:lnTo>
                    <a:pt x="1004" y="175"/>
                  </a:lnTo>
                  <a:lnTo>
                    <a:pt x="978" y="164"/>
                  </a:lnTo>
                  <a:lnTo>
                    <a:pt x="952" y="138"/>
                  </a:lnTo>
                  <a:lnTo>
                    <a:pt x="960" y="120"/>
                  </a:lnTo>
                  <a:lnTo>
                    <a:pt x="944" y="120"/>
                  </a:lnTo>
                  <a:lnTo>
                    <a:pt x="918" y="130"/>
                  </a:lnTo>
                  <a:lnTo>
                    <a:pt x="910" y="120"/>
                  </a:lnTo>
                  <a:lnTo>
                    <a:pt x="914" y="108"/>
                  </a:lnTo>
                  <a:lnTo>
                    <a:pt x="888" y="112"/>
                  </a:lnTo>
                  <a:lnTo>
                    <a:pt x="866" y="104"/>
                  </a:lnTo>
                  <a:lnTo>
                    <a:pt x="844" y="126"/>
                  </a:lnTo>
                  <a:lnTo>
                    <a:pt x="816" y="148"/>
                  </a:lnTo>
                  <a:lnTo>
                    <a:pt x="802" y="148"/>
                  </a:lnTo>
                  <a:lnTo>
                    <a:pt x="820" y="160"/>
                  </a:lnTo>
                  <a:lnTo>
                    <a:pt x="802" y="170"/>
                  </a:lnTo>
                  <a:lnTo>
                    <a:pt x="767" y="175"/>
                  </a:lnTo>
                  <a:lnTo>
                    <a:pt x="735" y="183"/>
                  </a:lnTo>
                  <a:lnTo>
                    <a:pt x="715" y="175"/>
                  </a:lnTo>
                  <a:lnTo>
                    <a:pt x="703" y="160"/>
                  </a:lnTo>
                  <a:lnTo>
                    <a:pt x="667" y="160"/>
                  </a:lnTo>
                  <a:lnTo>
                    <a:pt x="641" y="156"/>
                  </a:lnTo>
                  <a:lnTo>
                    <a:pt x="615" y="170"/>
                  </a:lnTo>
                  <a:lnTo>
                    <a:pt x="581" y="179"/>
                  </a:lnTo>
                  <a:lnTo>
                    <a:pt x="547" y="164"/>
                  </a:lnTo>
                  <a:lnTo>
                    <a:pt x="515" y="148"/>
                  </a:lnTo>
                  <a:lnTo>
                    <a:pt x="495" y="130"/>
                  </a:lnTo>
                  <a:lnTo>
                    <a:pt x="491" y="116"/>
                  </a:lnTo>
                  <a:lnTo>
                    <a:pt x="507" y="108"/>
                  </a:lnTo>
                  <a:lnTo>
                    <a:pt x="511" y="94"/>
                  </a:lnTo>
                  <a:lnTo>
                    <a:pt x="503" y="86"/>
                  </a:lnTo>
                  <a:lnTo>
                    <a:pt x="473" y="82"/>
                  </a:lnTo>
                  <a:lnTo>
                    <a:pt x="447" y="70"/>
                  </a:lnTo>
                  <a:lnTo>
                    <a:pt x="403" y="62"/>
                  </a:lnTo>
                  <a:lnTo>
                    <a:pt x="383" y="70"/>
                  </a:lnTo>
                  <a:lnTo>
                    <a:pt x="348" y="58"/>
                  </a:lnTo>
                  <a:lnTo>
                    <a:pt x="284" y="30"/>
                  </a:lnTo>
                  <a:lnTo>
                    <a:pt x="238" y="30"/>
                  </a:lnTo>
                  <a:lnTo>
                    <a:pt x="198" y="14"/>
                  </a:lnTo>
                  <a:lnTo>
                    <a:pt x="172" y="0"/>
                  </a:lnTo>
                  <a:lnTo>
                    <a:pt x="146" y="8"/>
                  </a:lnTo>
                  <a:lnTo>
                    <a:pt x="134" y="26"/>
                  </a:lnTo>
                  <a:lnTo>
                    <a:pt x="112" y="66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5" name="Freeform 30"/>
            <p:cNvSpPr>
              <a:spLocks/>
            </p:cNvSpPr>
            <p:nvPr/>
          </p:nvSpPr>
          <p:spPr bwMode="auto">
            <a:xfrm>
              <a:off x="3356" y="1354"/>
              <a:ext cx="713" cy="948"/>
            </a:xfrm>
            <a:custGeom>
              <a:avLst/>
              <a:gdLst/>
              <a:ahLst/>
              <a:cxnLst>
                <a:cxn ang="0">
                  <a:pos x="972" y="261"/>
                </a:cxn>
                <a:cxn ang="0">
                  <a:pos x="946" y="319"/>
                </a:cxn>
                <a:cxn ang="0">
                  <a:pos x="950" y="407"/>
                </a:cxn>
                <a:cxn ang="0">
                  <a:pos x="890" y="485"/>
                </a:cxn>
                <a:cxn ang="0">
                  <a:pos x="838" y="571"/>
                </a:cxn>
                <a:cxn ang="0">
                  <a:pos x="822" y="660"/>
                </a:cxn>
                <a:cxn ang="0">
                  <a:pos x="860" y="724"/>
                </a:cxn>
                <a:cxn ang="0">
                  <a:pos x="834" y="788"/>
                </a:cxn>
                <a:cxn ang="0">
                  <a:pos x="822" y="850"/>
                </a:cxn>
                <a:cxn ang="0">
                  <a:pos x="810" y="910"/>
                </a:cxn>
                <a:cxn ang="0">
                  <a:pos x="792" y="958"/>
                </a:cxn>
                <a:cxn ang="0">
                  <a:pos x="774" y="970"/>
                </a:cxn>
                <a:cxn ang="0">
                  <a:pos x="752" y="979"/>
                </a:cxn>
                <a:cxn ang="0">
                  <a:pos x="701" y="962"/>
                </a:cxn>
                <a:cxn ang="0">
                  <a:pos x="631" y="1019"/>
                </a:cxn>
                <a:cxn ang="0">
                  <a:pos x="623" y="1041"/>
                </a:cxn>
                <a:cxn ang="0">
                  <a:pos x="671" y="1121"/>
                </a:cxn>
                <a:cxn ang="0">
                  <a:pos x="649" y="1149"/>
                </a:cxn>
                <a:cxn ang="0">
                  <a:pos x="597" y="1217"/>
                </a:cxn>
                <a:cxn ang="0">
                  <a:pos x="559" y="1195"/>
                </a:cxn>
                <a:cxn ang="0">
                  <a:pos x="549" y="1251"/>
                </a:cxn>
                <a:cxn ang="0">
                  <a:pos x="537" y="1281"/>
                </a:cxn>
                <a:cxn ang="0">
                  <a:pos x="489" y="1311"/>
                </a:cxn>
                <a:cxn ang="0">
                  <a:pos x="471" y="1353"/>
                </a:cxn>
                <a:cxn ang="0">
                  <a:pos x="437" y="1353"/>
                </a:cxn>
                <a:cxn ang="0">
                  <a:pos x="425" y="1319"/>
                </a:cxn>
                <a:cxn ang="0">
                  <a:pos x="389" y="1323"/>
                </a:cxn>
                <a:cxn ang="0">
                  <a:pos x="339" y="1315"/>
                </a:cxn>
                <a:cxn ang="0">
                  <a:pos x="300" y="1293"/>
                </a:cxn>
                <a:cxn ang="0">
                  <a:pos x="252" y="1255"/>
                </a:cxn>
                <a:cxn ang="0">
                  <a:pos x="198" y="1207"/>
                </a:cxn>
                <a:cxn ang="0">
                  <a:pos x="120" y="1113"/>
                </a:cxn>
                <a:cxn ang="0">
                  <a:pos x="172" y="1079"/>
                </a:cxn>
                <a:cxn ang="0">
                  <a:pos x="194" y="1041"/>
                </a:cxn>
                <a:cxn ang="0">
                  <a:pos x="220" y="1049"/>
                </a:cxn>
                <a:cxn ang="0">
                  <a:pos x="232" y="1015"/>
                </a:cxn>
                <a:cxn ang="0">
                  <a:pos x="210" y="958"/>
                </a:cxn>
                <a:cxn ang="0">
                  <a:pos x="210" y="906"/>
                </a:cxn>
                <a:cxn ang="0">
                  <a:pos x="82" y="788"/>
                </a:cxn>
                <a:cxn ang="0">
                  <a:pos x="16" y="772"/>
                </a:cxn>
                <a:cxn ang="0">
                  <a:pos x="28" y="698"/>
                </a:cxn>
                <a:cxn ang="0">
                  <a:pos x="50" y="698"/>
                </a:cxn>
                <a:cxn ang="0">
                  <a:pos x="64" y="654"/>
                </a:cxn>
                <a:cxn ang="0">
                  <a:pos x="98" y="575"/>
                </a:cxn>
                <a:cxn ang="0">
                  <a:pos x="124" y="489"/>
                </a:cxn>
                <a:cxn ang="0">
                  <a:pos x="88" y="445"/>
                </a:cxn>
                <a:cxn ang="0">
                  <a:pos x="186" y="427"/>
                </a:cxn>
                <a:cxn ang="0">
                  <a:pos x="288" y="373"/>
                </a:cxn>
                <a:cxn ang="0">
                  <a:pos x="262" y="259"/>
                </a:cxn>
                <a:cxn ang="0">
                  <a:pos x="347" y="120"/>
                </a:cxn>
                <a:cxn ang="0">
                  <a:pos x="451" y="40"/>
                </a:cxn>
                <a:cxn ang="0">
                  <a:pos x="519" y="30"/>
                </a:cxn>
                <a:cxn ang="0">
                  <a:pos x="579" y="44"/>
                </a:cxn>
                <a:cxn ang="0">
                  <a:pos x="671" y="74"/>
                </a:cxn>
                <a:cxn ang="0">
                  <a:pos x="756" y="86"/>
                </a:cxn>
                <a:cxn ang="0">
                  <a:pos x="860" y="74"/>
                </a:cxn>
              </a:cxnLst>
              <a:rect l="0" t="0" r="r" b="b"/>
              <a:pathLst>
                <a:path w="972" h="1357">
                  <a:moveTo>
                    <a:pt x="904" y="70"/>
                  </a:moveTo>
                  <a:lnTo>
                    <a:pt x="972" y="261"/>
                  </a:lnTo>
                  <a:lnTo>
                    <a:pt x="930" y="283"/>
                  </a:lnTo>
                  <a:lnTo>
                    <a:pt x="946" y="319"/>
                  </a:lnTo>
                  <a:lnTo>
                    <a:pt x="954" y="373"/>
                  </a:lnTo>
                  <a:lnTo>
                    <a:pt x="950" y="407"/>
                  </a:lnTo>
                  <a:lnTo>
                    <a:pt x="938" y="427"/>
                  </a:lnTo>
                  <a:lnTo>
                    <a:pt x="890" y="485"/>
                  </a:lnTo>
                  <a:lnTo>
                    <a:pt x="834" y="549"/>
                  </a:lnTo>
                  <a:lnTo>
                    <a:pt x="838" y="571"/>
                  </a:lnTo>
                  <a:lnTo>
                    <a:pt x="860" y="588"/>
                  </a:lnTo>
                  <a:lnTo>
                    <a:pt x="822" y="660"/>
                  </a:lnTo>
                  <a:lnTo>
                    <a:pt x="838" y="690"/>
                  </a:lnTo>
                  <a:lnTo>
                    <a:pt x="860" y="724"/>
                  </a:lnTo>
                  <a:lnTo>
                    <a:pt x="846" y="758"/>
                  </a:lnTo>
                  <a:lnTo>
                    <a:pt x="834" y="788"/>
                  </a:lnTo>
                  <a:lnTo>
                    <a:pt x="810" y="806"/>
                  </a:lnTo>
                  <a:lnTo>
                    <a:pt x="822" y="850"/>
                  </a:lnTo>
                  <a:lnTo>
                    <a:pt x="822" y="880"/>
                  </a:lnTo>
                  <a:lnTo>
                    <a:pt x="810" y="910"/>
                  </a:lnTo>
                  <a:lnTo>
                    <a:pt x="810" y="940"/>
                  </a:lnTo>
                  <a:lnTo>
                    <a:pt x="792" y="958"/>
                  </a:lnTo>
                  <a:lnTo>
                    <a:pt x="792" y="966"/>
                  </a:lnTo>
                  <a:lnTo>
                    <a:pt x="774" y="970"/>
                  </a:lnTo>
                  <a:lnTo>
                    <a:pt x="762" y="987"/>
                  </a:lnTo>
                  <a:lnTo>
                    <a:pt x="752" y="979"/>
                  </a:lnTo>
                  <a:lnTo>
                    <a:pt x="725" y="962"/>
                  </a:lnTo>
                  <a:lnTo>
                    <a:pt x="701" y="962"/>
                  </a:lnTo>
                  <a:lnTo>
                    <a:pt x="675" y="975"/>
                  </a:lnTo>
                  <a:lnTo>
                    <a:pt x="631" y="1019"/>
                  </a:lnTo>
                  <a:lnTo>
                    <a:pt x="617" y="1027"/>
                  </a:lnTo>
                  <a:lnTo>
                    <a:pt x="623" y="1041"/>
                  </a:lnTo>
                  <a:lnTo>
                    <a:pt x="665" y="1105"/>
                  </a:lnTo>
                  <a:lnTo>
                    <a:pt x="671" y="1121"/>
                  </a:lnTo>
                  <a:lnTo>
                    <a:pt x="665" y="1139"/>
                  </a:lnTo>
                  <a:lnTo>
                    <a:pt x="649" y="1149"/>
                  </a:lnTo>
                  <a:lnTo>
                    <a:pt x="613" y="1187"/>
                  </a:lnTo>
                  <a:lnTo>
                    <a:pt x="597" y="1217"/>
                  </a:lnTo>
                  <a:lnTo>
                    <a:pt x="579" y="1203"/>
                  </a:lnTo>
                  <a:lnTo>
                    <a:pt x="559" y="1195"/>
                  </a:lnTo>
                  <a:lnTo>
                    <a:pt x="549" y="1203"/>
                  </a:lnTo>
                  <a:lnTo>
                    <a:pt x="549" y="1251"/>
                  </a:lnTo>
                  <a:lnTo>
                    <a:pt x="545" y="1277"/>
                  </a:lnTo>
                  <a:lnTo>
                    <a:pt x="537" y="1281"/>
                  </a:lnTo>
                  <a:lnTo>
                    <a:pt x="497" y="1299"/>
                  </a:lnTo>
                  <a:lnTo>
                    <a:pt x="489" y="1311"/>
                  </a:lnTo>
                  <a:lnTo>
                    <a:pt x="481" y="1335"/>
                  </a:lnTo>
                  <a:lnTo>
                    <a:pt x="471" y="1353"/>
                  </a:lnTo>
                  <a:lnTo>
                    <a:pt x="459" y="1357"/>
                  </a:lnTo>
                  <a:lnTo>
                    <a:pt x="437" y="1353"/>
                  </a:lnTo>
                  <a:lnTo>
                    <a:pt x="425" y="1343"/>
                  </a:lnTo>
                  <a:lnTo>
                    <a:pt x="425" y="1319"/>
                  </a:lnTo>
                  <a:lnTo>
                    <a:pt x="411" y="1307"/>
                  </a:lnTo>
                  <a:lnTo>
                    <a:pt x="389" y="1323"/>
                  </a:lnTo>
                  <a:lnTo>
                    <a:pt x="347" y="1343"/>
                  </a:lnTo>
                  <a:lnTo>
                    <a:pt x="339" y="1315"/>
                  </a:lnTo>
                  <a:lnTo>
                    <a:pt x="316" y="1303"/>
                  </a:lnTo>
                  <a:lnTo>
                    <a:pt x="300" y="1293"/>
                  </a:lnTo>
                  <a:lnTo>
                    <a:pt x="278" y="1289"/>
                  </a:lnTo>
                  <a:lnTo>
                    <a:pt x="252" y="1255"/>
                  </a:lnTo>
                  <a:lnTo>
                    <a:pt x="220" y="1199"/>
                  </a:lnTo>
                  <a:lnTo>
                    <a:pt x="198" y="1207"/>
                  </a:lnTo>
                  <a:lnTo>
                    <a:pt x="176" y="1217"/>
                  </a:lnTo>
                  <a:lnTo>
                    <a:pt x="120" y="1113"/>
                  </a:lnTo>
                  <a:lnTo>
                    <a:pt x="136" y="1113"/>
                  </a:lnTo>
                  <a:lnTo>
                    <a:pt x="172" y="1079"/>
                  </a:lnTo>
                  <a:lnTo>
                    <a:pt x="176" y="1053"/>
                  </a:lnTo>
                  <a:lnTo>
                    <a:pt x="194" y="1041"/>
                  </a:lnTo>
                  <a:lnTo>
                    <a:pt x="206" y="1041"/>
                  </a:lnTo>
                  <a:lnTo>
                    <a:pt x="220" y="1049"/>
                  </a:lnTo>
                  <a:lnTo>
                    <a:pt x="232" y="1035"/>
                  </a:lnTo>
                  <a:lnTo>
                    <a:pt x="232" y="1015"/>
                  </a:lnTo>
                  <a:lnTo>
                    <a:pt x="206" y="1005"/>
                  </a:lnTo>
                  <a:lnTo>
                    <a:pt x="210" y="958"/>
                  </a:lnTo>
                  <a:lnTo>
                    <a:pt x="210" y="918"/>
                  </a:lnTo>
                  <a:lnTo>
                    <a:pt x="210" y="906"/>
                  </a:lnTo>
                  <a:lnTo>
                    <a:pt x="180" y="888"/>
                  </a:lnTo>
                  <a:lnTo>
                    <a:pt x="82" y="788"/>
                  </a:lnTo>
                  <a:lnTo>
                    <a:pt x="38" y="824"/>
                  </a:lnTo>
                  <a:lnTo>
                    <a:pt x="16" y="772"/>
                  </a:lnTo>
                  <a:lnTo>
                    <a:pt x="0" y="746"/>
                  </a:lnTo>
                  <a:lnTo>
                    <a:pt x="28" y="698"/>
                  </a:lnTo>
                  <a:lnTo>
                    <a:pt x="38" y="672"/>
                  </a:lnTo>
                  <a:lnTo>
                    <a:pt x="50" y="698"/>
                  </a:lnTo>
                  <a:lnTo>
                    <a:pt x="72" y="690"/>
                  </a:lnTo>
                  <a:lnTo>
                    <a:pt x="64" y="654"/>
                  </a:lnTo>
                  <a:lnTo>
                    <a:pt x="54" y="606"/>
                  </a:lnTo>
                  <a:lnTo>
                    <a:pt x="98" y="575"/>
                  </a:lnTo>
                  <a:lnTo>
                    <a:pt x="116" y="553"/>
                  </a:lnTo>
                  <a:lnTo>
                    <a:pt x="124" y="489"/>
                  </a:lnTo>
                  <a:lnTo>
                    <a:pt x="98" y="475"/>
                  </a:lnTo>
                  <a:lnTo>
                    <a:pt x="88" y="445"/>
                  </a:lnTo>
                  <a:lnTo>
                    <a:pt x="102" y="423"/>
                  </a:lnTo>
                  <a:lnTo>
                    <a:pt x="186" y="427"/>
                  </a:lnTo>
                  <a:lnTo>
                    <a:pt x="240" y="453"/>
                  </a:lnTo>
                  <a:lnTo>
                    <a:pt x="288" y="373"/>
                  </a:lnTo>
                  <a:lnTo>
                    <a:pt x="254" y="349"/>
                  </a:lnTo>
                  <a:lnTo>
                    <a:pt x="262" y="259"/>
                  </a:lnTo>
                  <a:lnTo>
                    <a:pt x="343" y="144"/>
                  </a:lnTo>
                  <a:lnTo>
                    <a:pt x="347" y="120"/>
                  </a:lnTo>
                  <a:lnTo>
                    <a:pt x="413" y="98"/>
                  </a:lnTo>
                  <a:lnTo>
                    <a:pt x="451" y="40"/>
                  </a:lnTo>
                  <a:lnTo>
                    <a:pt x="489" y="0"/>
                  </a:lnTo>
                  <a:lnTo>
                    <a:pt x="519" y="30"/>
                  </a:lnTo>
                  <a:lnTo>
                    <a:pt x="541" y="30"/>
                  </a:lnTo>
                  <a:lnTo>
                    <a:pt x="579" y="44"/>
                  </a:lnTo>
                  <a:lnTo>
                    <a:pt x="635" y="48"/>
                  </a:lnTo>
                  <a:lnTo>
                    <a:pt x="671" y="74"/>
                  </a:lnTo>
                  <a:lnTo>
                    <a:pt x="713" y="90"/>
                  </a:lnTo>
                  <a:lnTo>
                    <a:pt x="756" y="86"/>
                  </a:lnTo>
                  <a:lnTo>
                    <a:pt x="814" y="74"/>
                  </a:lnTo>
                  <a:lnTo>
                    <a:pt x="860" y="74"/>
                  </a:lnTo>
                  <a:lnTo>
                    <a:pt x="904" y="70"/>
                  </a:lnTo>
                  <a:close/>
                </a:path>
              </a:pathLst>
            </a:custGeom>
            <a:solidFill>
              <a:schemeClr val="accent4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6" name="Freeform 31"/>
            <p:cNvSpPr>
              <a:spLocks/>
            </p:cNvSpPr>
            <p:nvPr/>
          </p:nvSpPr>
          <p:spPr bwMode="auto">
            <a:xfrm>
              <a:off x="3296" y="1228"/>
              <a:ext cx="417" cy="444"/>
            </a:xfrm>
            <a:custGeom>
              <a:avLst/>
              <a:gdLst/>
              <a:ahLst/>
              <a:cxnLst>
                <a:cxn ang="0">
                  <a:pos x="568" y="180"/>
                </a:cxn>
                <a:cxn ang="0">
                  <a:pos x="552" y="162"/>
                </a:cxn>
                <a:cxn ang="0">
                  <a:pos x="520" y="162"/>
                </a:cxn>
                <a:cxn ang="0">
                  <a:pos x="480" y="154"/>
                </a:cxn>
                <a:cxn ang="0">
                  <a:pos x="411" y="132"/>
                </a:cxn>
                <a:cxn ang="0">
                  <a:pos x="381" y="100"/>
                </a:cxn>
                <a:cxn ang="0">
                  <a:pos x="369" y="92"/>
                </a:cxn>
                <a:cxn ang="0">
                  <a:pos x="359" y="108"/>
                </a:cxn>
                <a:cxn ang="0">
                  <a:pos x="351" y="138"/>
                </a:cxn>
                <a:cxn ang="0">
                  <a:pos x="325" y="112"/>
                </a:cxn>
                <a:cxn ang="0">
                  <a:pos x="321" y="96"/>
                </a:cxn>
                <a:cxn ang="0">
                  <a:pos x="343" y="78"/>
                </a:cxn>
                <a:cxn ang="0">
                  <a:pos x="347" y="74"/>
                </a:cxn>
                <a:cxn ang="0">
                  <a:pos x="321" y="18"/>
                </a:cxn>
                <a:cxn ang="0">
                  <a:pos x="291" y="28"/>
                </a:cxn>
                <a:cxn ang="0">
                  <a:pos x="257" y="28"/>
                </a:cxn>
                <a:cxn ang="0">
                  <a:pos x="211" y="0"/>
                </a:cxn>
                <a:cxn ang="0">
                  <a:pos x="205" y="28"/>
                </a:cxn>
                <a:cxn ang="0">
                  <a:pos x="197" y="52"/>
                </a:cxn>
                <a:cxn ang="0">
                  <a:pos x="175" y="60"/>
                </a:cxn>
                <a:cxn ang="0">
                  <a:pos x="157" y="74"/>
                </a:cxn>
                <a:cxn ang="0">
                  <a:pos x="149" y="104"/>
                </a:cxn>
                <a:cxn ang="0">
                  <a:pos x="143" y="124"/>
                </a:cxn>
                <a:cxn ang="0">
                  <a:pos x="105" y="150"/>
                </a:cxn>
                <a:cxn ang="0">
                  <a:pos x="97" y="180"/>
                </a:cxn>
                <a:cxn ang="0">
                  <a:pos x="79" y="192"/>
                </a:cxn>
                <a:cxn ang="0">
                  <a:pos x="59" y="202"/>
                </a:cxn>
                <a:cxn ang="0">
                  <a:pos x="57" y="236"/>
                </a:cxn>
                <a:cxn ang="0">
                  <a:pos x="41" y="258"/>
                </a:cxn>
                <a:cxn ang="0">
                  <a:pos x="23" y="292"/>
                </a:cxn>
                <a:cxn ang="0">
                  <a:pos x="27" y="314"/>
                </a:cxn>
                <a:cxn ang="0">
                  <a:pos x="0" y="330"/>
                </a:cxn>
                <a:cxn ang="0">
                  <a:pos x="8" y="358"/>
                </a:cxn>
                <a:cxn ang="0">
                  <a:pos x="4" y="391"/>
                </a:cxn>
                <a:cxn ang="0">
                  <a:pos x="41" y="419"/>
                </a:cxn>
                <a:cxn ang="0">
                  <a:pos x="65" y="437"/>
                </a:cxn>
                <a:cxn ang="0">
                  <a:pos x="97" y="421"/>
                </a:cxn>
                <a:cxn ang="0">
                  <a:pos x="135" y="441"/>
                </a:cxn>
                <a:cxn ang="0">
                  <a:pos x="153" y="467"/>
                </a:cxn>
                <a:cxn ang="0">
                  <a:pos x="161" y="495"/>
                </a:cxn>
                <a:cxn ang="0">
                  <a:pos x="211" y="505"/>
                </a:cxn>
                <a:cxn ang="0">
                  <a:pos x="231" y="517"/>
                </a:cxn>
                <a:cxn ang="0">
                  <a:pos x="225" y="551"/>
                </a:cxn>
                <a:cxn ang="0">
                  <a:pos x="193" y="557"/>
                </a:cxn>
                <a:cxn ang="0">
                  <a:pos x="189" y="607"/>
                </a:cxn>
                <a:cxn ang="0">
                  <a:pos x="269" y="607"/>
                </a:cxn>
                <a:cxn ang="0">
                  <a:pos x="321" y="635"/>
                </a:cxn>
                <a:cxn ang="0">
                  <a:pos x="369" y="551"/>
                </a:cxn>
                <a:cxn ang="0">
                  <a:pos x="333" y="525"/>
                </a:cxn>
                <a:cxn ang="0">
                  <a:pos x="343" y="435"/>
                </a:cxn>
                <a:cxn ang="0">
                  <a:pos x="422" y="328"/>
                </a:cxn>
                <a:cxn ang="0">
                  <a:pos x="428" y="300"/>
                </a:cxn>
                <a:cxn ang="0">
                  <a:pos x="494" y="278"/>
                </a:cxn>
                <a:cxn ang="0">
                  <a:pos x="532" y="218"/>
                </a:cxn>
                <a:cxn ang="0">
                  <a:pos x="568" y="180"/>
                </a:cxn>
              </a:cxnLst>
              <a:rect l="0" t="0" r="r" b="b"/>
              <a:pathLst>
                <a:path w="568" h="635">
                  <a:moveTo>
                    <a:pt x="568" y="180"/>
                  </a:moveTo>
                  <a:lnTo>
                    <a:pt x="552" y="162"/>
                  </a:lnTo>
                  <a:lnTo>
                    <a:pt x="520" y="162"/>
                  </a:lnTo>
                  <a:lnTo>
                    <a:pt x="480" y="154"/>
                  </a:lnTo>
                  <a:lnTo>
                    <a:pt x="411" y="132"/>
                  </a:lnTo>
                  <a:lnTo>
                    <a:pt x="381" y="100"/>
                  </a:lnTo>
                  <a:lnTo>
                    <a:pt x="369" y="92"/>
                  </a:lnTo>
                  <a:lnTo>
                    <a:pt x="359" y="108"/>
                  </a:lnTo>
                  <a:lnTo>
                    <a:pt x="351" y="138"/>
                  </a:lnTo>
                  <a:lnTo>
                    <a:pt x="325" y="112"/>
                  </a:lnTo>
                  <a:lnTo>
                    <a:pt x="321" y="96"/>
                  </a:lnTo>
                  <a:lnTo>
                    <a:pt x="343" y="78"/>
                  </a:lnTo>
                  <a:lnTo>
                    <a:pt x="347" y="74"/>
                  </a:lnTo>
                  <a:lnTo>
                    <a:pt x="321" y="18"/>
                  </a:lnTo>
                  <a:lnTo>
                    <a:pt x="291" y="28"/>
                  </a:lnTo>
                  <a:lnTo>
                    <a:pt x="257" y="28"/>
                  </a:lnTo>
                  <a:lnTo>
                    <a:pt x="211" y="0"/>
                  </a:lnTo>
                  <a:lnTo>
                    <a:pt x="205" y="28"/>
                  </a:lnTo>
                  <a:lnTo>
                    <a:pt x="197" y="52"/>
                  </a:lnTo>
                  <a:lnTo>
                    <a:pt x="175" y="60"/>
                  </a:lnTo>
                  <a:lnTo>
                    <a:pt x="157" y="74"/>
                  </a:lnTo>
                  <a:lnTo>
                    <a:pt x="149" y="104"/>
                  </a:lnTo>
                  <a:lnTo>
                    <a:pt x="143" y="124"/>
                  </a:lnTo>
                  <a:lnTo>
                    <a:pt x="105" y="150"/>
                  </a:lnTo>
                  <a:lnTo>
                    <a:pt x="97" y="180"/>
                  </a:lnTo>
                  <a:lnTo>
                    <a:pt x="79" y="192"/>
                  </a:lnTo>
                  <a:lnTo>
                    <a:pt x="59" y="202"/>
                  </a:lnTo>
                  <a:lnTo>
                    <a:pt x="57" y="236"/>
                  </a:lnTo>
                  <a:lnTo>
                    <a:pt x="41" y="258"/>
                  </a:lnTo>
                  <a:lnTo>
                    <a:pt x="23" y="292"/>
                  </a:lnTo>
                  <a:lnTo>
                    <a:pt x="27" y="314"/>
                  </a:lnTo>
                  <a:lnTo>
                    <a:pt x="0" y="330"/>
                  </a:lnTo>
                  <a:lnTo>
                    <a:pt x="8" y="358"/>
                  </a:lnTo>
                  <a:lnTo>
                    <a:pt x="4" y="391"/>
                  </a:lnTo>
                  <a:lnTo>
                    <a:pt x="41" y="419"/>
                  </a:lnTo>
                  <a:lnTo>
                    <a:pt x="65" y="437"/>
                  </a:lnTo>
                  <a:lnTo>
                    <a:pt x="97" y="421"/>
                  </a:lnTo>
                  <a:lnTo>
                    <a:pt x="135" y="441"/>
                  </a:lnTo>
                  <a:lnTo>
                    <a:pt x="153" y="467"/>
                  </a:lnTo>
                  <a:lnTo>
                    <a:pt x="161" y="495"/>
                  </a:lnTo>
                  <a:lnTo>
                    <a:pt x="211" y="505"/>
                  </a:lnTo>
                  <a:lnTo>
                    <a:pt x="231" y="517"/>
                  </a:lnTo>
                  <a:lnTo>
                    <a:pt x="225" y="551"/>
                  </a:lnTo>
                  <a:lnTo>
                    <a:pt x="193" y="557"/>
                  </a:lnTo>
                  <a:lnTo>
                    <a:pt x="189" y="607"/>
                  </a:lnTo>
                  <a:lnTo>
                    <a:pt x="269" y="607"/>
                  </a:lnTo>
                  <a:lnTo>
                    <a:pt x="321" y="635"/>
                  </a:lnTo>
                  <a:lnTo>
                    <a:pt x="369" y="551"/>
                  </a:lnTo>
                  <a:lnTo>
                    <a:pt x="333" y="525"/>
                  </a:lnTo>
                  <a:lnTo>
                    <a:pt x="343" y="435"/>
                  </a:lnTo>
                  <a:lnTo>
                    <a:pt x="422" y="328"/>
                  </a:lnTo>
                  <a:lnTo>
                    <a:pt x="428" y="300"/>
                  </a:lnTo>
                  <a:lnTo>
                    <a:pt x="494" y="278"/>
                  </a:lnTo>
                  <a:lnTo>
                    <a:pt x="532" y="218"/>
                  </a:lnTo>
                  <a:lnTo>
                    <a:pt x="568" y="18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7" name="Freeform 32"/>
            <p:cNvSpPr>
              <a:spLocks/>
            </p:cNvSpPr>
            <p:nvPr/>
          </p:nvSpPr>
          <p:spPr bwMode="auto">
            <a:xfrm>
              <a:off x="3104" y="1196"/>
              <a:ext cx="347" cy="308"/>
            </a:xfrm>
            <a:custGeom>
              <a:avLst/>
              <a:gdLst/>
              <a:ahLst/>
              <a:cxnLst>
                <a:cxn ang="0">
                  <a:pos x="473" y="45"/>
                </a:cxn>
                <a:cxn ang="0">
                  <a:pos x="459" y="35"/>
                </a:cxn>
                <a:cxn ang="0">
                  <a:pos x="421" y="67"/>
                </a:cxn>
                <a:cxn ang="0">
                  <a:pos x="381" y="67"/>
                </a:cxn>
                <a:cxn ang="0">
                  <a:pos x="363" y="79"/>
                </a:cxn>
                <a:cxn ang="0">
                  <a:pos x="333" y="79"/>
                </a:cxn>
                <a:cxn ang="0">
                  <a:pos x="287" y="53"/>
                </a:cxn>
                <a:cxn ang="0">
                  <a:pos x="254" y="35"/>
                </a:cxn>
                <a:cxn ang="0">
                  <a:pos x="224" y="41"/>
                </a:cxn>
                <a:cxn ang="0">
                  <a:pos x="138" y="0"/>
                </a:cxn>
                <a:cxn ang="0">
                  <a:pos x="112" y="19"/>
                </a:cxn>
                <a:cxn ang="0">
                  <a:pos x="92" y="23"/>
                </a:cxn>
                <a:cxn ang="0">
                  <a:pos x="84" y="41"/>
                </a:cxn>
                <a:cxn ang="0">
                  <a:pos x="92" y="53"/>
                </a:cxn>
                <a:cxn ang="0">
                  <a:pos x="88" y="67"/>
                </a:cxn>
                <a:cxn ang="0">
                  <a:pos x="34" y="55"/>
                </a:cxn>
                <a:cxn ang="0">
                  <a:pos x="10" y="71"/>
                </a:cxn>
                <a:cxn ang="0">
                  <a:pos x="0" y="93"/>
                </a:cxn>
                <a:cxn ang="0">
                  <a:pos x="4" y="123"/>
                </a:cxn>
                <a:cxn ang="0">
                  <a:pos x="40" y="167"/>
                </a:cxn>
                <a:cxn ang="0">
                  <a:pos x="30" y="201"/>
                </a:cxn>
                <a:cxn ang="0">
                  <a:pos x="66" y="235"/>
                </a:cxn>
                <a:cxn ang="0">
                  <a:pos x="64" y="255"/>
                </a:cxn>
                <a:cxn ang="0">
                  <a:pos x="22" y="267"/>
                </a:cxn>
                <a:cxn ang="0">
                  <a:pos x="30" y="309"/>
                </a:cxn>
                <a:cxn ang="0">
                  <a:pos x="62" y="317"/>
                </a:cxn>
                <a:cxn ang="0">
                  <a:pos x="76" y="365"/>
                </a:cxn>
                <a:cxn ang="0">
                  <a:pos x="142" y="373"/>
                </a:cxn>
                <a:cxn ang="0">
                  <a:pos x="168" y="395"/>
                </a:cxn>
                <a:cxn ang="0">
                  <a:pos x="200" y="426"/>
                </a:cxn>
                <a:cxn ang="0">
                  <a:pos x="218" y="424"/>
                </a:cxn>
                <a:cxn ang="0">
                  <a:pos x="270" y="442"/>
                </a:cxn>
                <a:cxn ang="0">
                  <a:pos x="273" y="410"/>
                </a:cxn>
                <a:cxn ang="0">
                  <a:pos x="266" y="375"/>
                </a:cxn>
                <a:cxn ang="0">
                  <a:pos x="293" y="361"/>
                </a:cxn>
                <a:cxn ang="0">
                  <a:pos x="287" y="339"/>
                </a:cxn>
                <a:cxn ang="0">
                  <a:pos x="309" y="297"/>
                </a:cxn>
                <a:cxn ang="0">
                  <a:pos x="317" y="283"/>
                </a:cxn>
                <a:cxn ang="0">
                  <a:pos x="321" y="249"/>
                </a:cxn>
                <a:cxn ang="0">
                  <a:pos x="363" y="227"/>
                </a:cxn>
                <a:cxn ang="0">
                  <a:pos x="367" y="197"/>
                </a:cxn>
                <a:cxn ang="0">
                  <a:pos x="399" y="177"/>
                </a:cxn>
                <a:cxn ang="0">
                  <a:pos x="411" y="159"/>
                </a:cxn>
                <a:cxn ang="0">
                  <a:pos x="417" y="121"/>
                </a:cxn>
                <a:cxn ang="0">
                  <a:pos x="441" y="105"/>
                </a:cxn>
                <a:cxn ang="0">
                  <a:pos x="461" y="99"/>
                </a:cxn>
                <a:cxn ang="0">
                  <a:pos x="473" y="45"/>
                </a:cxn>
              </a:cxnLst>
              <a:rect l="0" t="0" r="r" b="b"/>
              <a:pathLst>
                <a:path w="473" h="442">
                  <a:moveTo>
                    <a:pt x="473" y="45"/>
                  </a:moveTo>
                  <a:lnTo>
                    <a:pt x="459" y="35"/>
                  </a:lnTo>
                  <a:lnTo>
                    <a:pt x="421" y="67"/>
                  </a:lnTo>
                  <a:lnTo>
                    <a:pt x="381" y="67"/>
                  </a:lnTo>
                  <a:lnTo>
                    <a:pt x="363" y="79"/>
                  </a:lnTo>
                  <a:lnTo>
                    <a:pt x="333" y="79"/>
                  </a:lnTo>
                  <a:lnTo>
                    <a:pt x="287" y="53"/>
                  </a:lnTo>
                  <a:lnTo>
                    <a:pt x="254" y="35"/>
                  </a:lnTo>
                  <a:lnTo>
                    <a:pt x="224" y="41"/>
                  </a:lnTo>
                  <a:lnTo>
                    <a:pt x="138" y="0"/>
                  </a:lnTo>
                  <a:lnTo>
                    <a:pt x="112" y="19"/>
                  </a:lnTo>
                  <a:lnTo>
                    <a:pt x="92" y="23"/>
                  </a:lnTo>
                  <a:lnTo>
                    <a:pt x="84" y="41"/>
                  </a:lnTo>
                  <a:lnTo>
                    <a:pt x="92" y="53"/>
                  </a:lnTo>
                  <a:lnTo>
                    <a:pt x="88" y="67"/>
                  </a:lnTo>
                  <a:lnTo>
                    <a:pt x="34" y="55"/>
                  </a:lnTo>
                  <a:lnTo>
                    <a:pt x="10" y="71"/>
                  </a:lnTo>
                  <a:lnTo>
                    <a:pt x="0" y="93"/>
                  </a:lnTo>
                  <a:lnTo>
                    <a:pt x="4" y="123"/>
                  </a:lnTo>
                  <a:lnTo>
                    <a:pt x="40" y="167"/>
                  </a:lnTo>
                  <a:lnTo>
                    <a:pt x="30" y="201"/>
                  </a:lnTo>
                  <a:lnTo>
                    <a:pt x="66" y="235"/>
                  </a:lnTo>
                  <a:lnTo>
                    <a:pt x="64" y="255"/>
                  </a:lnTo>
                  <a:lnTo>
                    <a:pt x="22" y="267"/>
                  </a:lnTo>
                  <a:lnTo>
                    <a:pt x="30" y="309"/>
                  </a:lnTo>
                  <a:lnTo>
                    <a:pt x="62" y="317"/>
                  </a:lnTo>
                  <a:lnTo>
                    <a:pt x="76" y="365"/>
                  </a:lnTo>
                  <a:lnTo>
                    <a:pt x="142" y="373"/>
                  </a:lnTo>
                  <a:lnTo>
                    <a:pt x="168" y="395"/>
                  </a:lnTo>
                  <a:lnTo>
                    <a:pt x="200" y="426"/>
                  </a:lnTo>
                  <a:lnTo>
                    <a:pt x="218" y="424"/>
                  </a:lnTo>
                  <a:lnTo>
                    <a:pt x="270" y="442"/>
                  </a:lnTo>
                  <a:lnTo>
                    <a:pt x="273" y="410"/>
                  </a:lnTo>
                  <a:lnTo>
                    <a:pt x="266" y="375"/>
                  </a:lnTo>
                  <a:lnTo>
                    <a:pt x="293" y="361"/>
                  </a:lnTo>
                  <a:lnTo>
                    <a:pt x="287" y="339"/>
                  </a:lnTo>
                  <a:lnTo>
                    <a:pt x="309" y="297"/>
                  </a:lnTo>
                  <a:lnTo>
                    <a:pt x="317" y="283"/>
                  </a:lnTo>
                  <a:lnTo>
                    <a:pt x="321" y="249"/>
                  </a:lnTo>
                  <a:lnTo>
                    <a:pt x="363" y="227"/>
                  </a:lnTo>
                  <a:lnTo>
                    <a:pt x="367" y="197"/>
                  </a:lnTo>
                  <a:lnTo>
                    <a:pt x="399" y="177"/>
                  </a:lnTo>
                  <a:lnTo>
                    <a:pt x="411" y="159"/>
                  </a:lnTo>
                  <a:lnTo>
                    <a:pt x="417" y="121"/>
                  </a:lnTo>
                  <a:lnTo>
                    <a:pt x="441" y="105"/>
                  </a:lnTo>
                  <a:lnTo>
                    <a:pt x="461" y="99"/>
                  </a:lnTo>
                  <a:lnTo>
                    <a:pt x="473" y="45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8" name="Freeform 33"/>
            <p:cNvSpPr>
              <a:spLocks/>
            </p:cNvSpPr>
            <p:nvPr/>
          </p:nvSpPr>
          <p:spPr bwMode="auto">
            <a:xfrm>
              <a:off x="3132" y="1452"/>
              <a:ext cx="334" cy="213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100" y="6"/>
                </a:cxn>
                <a:cxn ang="0">
                  <a:pos x="130" y="28"/>
                </a:cxn>
                <a:cxn ang="0">
                  <a:pos x="158" y="59"/>
                </a:cxn>
                <a:cxn ang="0">
                  <a:pos x="182" y="59"/>
                </a:cxn>
                <a:cxn ang="0">
                  <a:pos x="237" y="75"/>
                </a:cxn>
                <a:cxn ang="0">
                  <a:pos x="289" y="117"/>
                </a:cxn>
                <a:cxn ang="0">
                  <a:pos x="321" y="99"/>
                </a:cxn>
                <a:cxn ang="0">
                  <a:pos x="365" y="121"/>
                </a:cxn>
                <a:cxn ang="0">
                  <a:pos x="377" y="147"/>
                </a:cxn>
                <a:cxn ang="0">
                  <a:pos x="387" y="175"/>
                </a:cxn>
                <a:cxn ang="0">
                  <a:pos x="437" y="183"/>
                </a:cxn>
                <a:cxn ang="0">
                  <a:pos x="455" y="197"/>
                </a:cxn>
                <a:cxn ang="0">
                  <a:pos x="447" y="233"/>
                </a:cxn>
                <a:cxn ang="0">
                  <a:pos x="417" y="239"/>
                </a:cxn>
                <a:cxn ang="0">
                  <a:pos x="413" y="279"/>
                </a:cxn>
                <a:cxn ang="0">
                  <a:pos x="391" y="305"/>
                </a:cxn>
                <a:cxn ang="0">
                  <a:pos x="365" y="305"/>
                </a:cxn>
                <a:cxn ang="0">
                  <a:pos x="333" y="291"/>
                </a:cxn>
                <a:cxn ang="0">
                  <a:pos x="329" y="245"/>
                </a:cxn>
                <a:cxn ang="0">
                  <a:pos x="325" y="227"/>
                </a:cxn>
                <a:cxn ang="0">
                  <a:pos x="200" y="227"/>
                </a:cxn>
                <a:cxn ang="0">
                  <a:pos x="186" y="259"/>
                </a:cxn>
                <a:cxn ang="0">
                  <a:pos x="170" y="283"/>
                </a:cxn>
                <a:cxn ang="0">
                  <a:pos x="138" y="291"/>
                </a:cxn>
                <a:cxn ang="0">
                  <a:pos x="122" y="283"/>
                </a:cxn>
                <a:cxn ang="0">
                  <a:pos x="122" y="245"/>
                </a:cxn>
                <a:cxn ang="0">
                  <a:pos x="116" y="227"/>
                </a:cxn>
                <a:cxn ang="0">
                  <a:pos x="100" y="223"/>
                </a:cxn>
                <a:cxn ang="0">
                  <a:pos x="78" y="243"/>
                </a:cxn>
                <a:cxn ang="0">
                  <a:pos x="78" y="279"/>
                </a:cxn>
                <a:cxn ang="0">
                  <a:pos x="54" y="291"/>
                </a:cxn>
                <a:cxn ang="0">
                  <a:pos x="34" y="291"/>
                </a:cxn>
                <a:cxn ang="0">
                  <a:pos x="36" y="233"/>
                </a:cxn>
                <a:cxn ang="0">
                  <a:pos x="18" y="189"/>
                </a:cxn>
                <a:cxn ang="0">
                  <a:pos x="0" y="163"/>
                </a:cxn>
                <a:cxn ang="0">
                  <a:pos x="8" y="137"/>
                </a:cxn>
                <a:cxn ang="0">
                  <a:pos x="36" y="115"/>
                </a:cxn>
                <a:cxn ang="0">
                  <a:pos x="30" y="77"/>
                </a:cxn>
                <a:cxn ang="0">
                  <a:pos x="12" y="43"/>
                </a:cxn>
                <a:cxn ang="0">
                  <a:pos x="14" y="26"/>
                </a:cxn>
                <a:cxn ang="0">
                  <a:pos x="38" y="0"/>
                </a:cxn>
              </a:cxnLst>
              <a:rect l="0" t="0" r="r" b="b"/>
              <a:pathLst>
                <a:path w="455" h="305">
                  <a:moveTo>
                    <a:pt x="38" y="0"/>
                  </a:moveTo>
                  <a:lnTo>
                    <a:pt x="100" y="6"/>
                  </a:lnTo>
                  <a:lnTo>
                    <a:pt x="130" y="28"/>
                  </a:lnTo>
                  <a:lnTo>
                    <a:pt x="158" y="59"/>
                  </a:lnTo>
                  <a:lnTo>
                    <a:pt x="182" y="59"/>
                  </a:lnTo>
                  <a:lnTo>
                    <a:pt x="237" y="75"/>
                  </a:lnTo>
                  <a:lnTo>
                    <a:pt x="289" y="117"/>
                  </a:lnTo>
                  <a:lnTo>
                    <a:pt x="321" y="99"/>
                  </a:lnTo>
                  <a:lnTo>
                    <a:pt x="365" y="121"/>
                  </a:lnTo>
                  <a:lnTo>
                    <a:pt x="377" y="147"/>
                  </a:lnTo>
                  <a:lnTo>
                    <a:pt x="387" y="175"/>
                  </a:lnTo>
                  <a:lnTo>
                    <a:pt x="437" y="183"/>
                  </a:lnTo>
                  <a:lnTo>
                    <a:pt x="455" y="197"/>
                  </a:lnTo>
                  <a:lnTo>
                    <a:pt x="447" y="233"/>
                  </a:lnTo>
                  <a:lnTo>
                    <a:pt x="417" y="239"/>
                  </a:lnTo>
                  <a:lnTo>
                    <a:pt x="413" y="279"/>
                  </a:lnTo>
                  <a:lnTo>
                    <a:pt x="391" y="305"/>
                  </a:lnTo>
                  <a:lnTo>
                    <a:pt x="365" y="305"/>
                  </a:lnTo>
                  <a:lnTo>
                    <a:pt x="333" y="291"/>
                  </a:lnTo>
                  <a:lnTo>
                    <a:pt x="329" y="245"/>
                  </a:lnTo>
                  <a:lnTo>
                    <a:pt x="325" y="227"/>
                  </a:lnTo>
                  <a:lnTo>
                    <a:pt x="200" y="227"/>
                  </a:lnTo>
                  <a:lnTo>
                    <a:pt x="186" y="259"/>
                  </a:lnTo>
                  <a:lnTo>
                    <a:pt x="170" y="283"/>
                  </a:lnTo>
                  <a:lnTo>
                    <a:pt x="138" y="291"/>
                  </a:lnTo>
                  <a:lnTo>
                    <a:pt x="122" y="283"/>
                  </a:lnTo>
                  <a:lnTo>
                    <a:pt x="122" y="245"/>
                  </a:lnTo>
                  <a:lnTo>
                    <a:pt x="116" y="227"/>
                  </a:lnTo>
                  <a:lnTo>
                    <a:pt x="100" y="223"/>
                  </a:lnTo>
                  <a:lnTo>
                    <a:pt x="78" y="243"/>
                  </a:lnTo>
                  <a:lnTo>
                    <a:pt x="78" y="279"/>
                  </a:lnTo>
                  <a:lnTo>
                    <a:pt x="54" y="291"/>
                  </a:lnTo>
                  <a:lnTo>
                    <a:pt x="34" y="291"/>
                  </a:lnTo>
                  <a:lnTo>
                    <a:pt x="36" y="233"/>
                  </a:lnTo>
                  <a:lnTo>
                    <a:pt x="18" y="189"/>
                  </a:lnTo>
                  <a:lnTo>
                    <a:pt x="0" y="163"/>
                  </a:lnTo>
                  <a:lnTo>
                    <a:pt x="8" y="137"/>
                  </a:lnTo>
                  <a:lnTo>
                    <a:pt x="36" y="115"/>
                  </a:lnTo>
                  <a:lnTo>
                    <a:pt x="30" y="77"/>
                  </a:lnTo>
                  <a:lnTo>
                    <a:pt x="12" y="43"/>
                  </a:lnTo>
                  <a:lnTo>
                    <a:pt x="14" y="26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9" name="Freeform 34"/>
            <p:cNvSpPr>
              <a:spLocks/>
            </p:cNvSpPr>
            <p:nvPr/>
          </p:nvSpPr>
          <p:spPr bwMode="auto">
            <a:xfrm>
              <a:off x="2194" y="1123"/>
              <a:ext cx="613" cy="226"/>
            </a:xfrm>
            <a:custGeom>
              <a:avLst/>
              <a:gdLst/>
              <a:ahLst/>
              <a:cxnLst>
                <a:cxn ang="0">
                  <a:pos x="58" y="18"/>
                </a:cxn>
                <a:cxn ang="0">
                  <a:pos x="62" y="38"/>
                </a:cxn>
                <a:cxn ang="0">
                  <a:pos x="38" y="58"/>
                </a:cxn>
                <a:cxn ang="0">
                  <a:pos x="16" y="90"/>
                </a:cxn>
                <a:cxn ang="0">
                  <a:pos x="0" y="145"/>
                </a:cxn>
                <a:cxn ang="0">
                  <a:pos x="30" y="187"/>
                </a:cxn>
                <a:cxn ang="0">
                  <a:pos x="36" y="219"/>
                </a:cxn>
                <a:cxn ang="0">
                  <a:pos x="30" y="251"/>
                </a:cxn>
                <a:cxn ang="0">
                  <a:pos x="22" y="271"/>
                </a:cxn>
                <a:cxn ang="0">
                  <a:pos x="28" y="297"/>
                </a:cxn>
                <a:cxn ang="0">
                  <a:pos x="44" y="321"/>
                </a:cxn>
                <a:cxn ang="0">
                  <a:pos x="100" y="321"/>
                </a:cxn>
                <a:cxn ang="0">
                  <a:pos x="162" y="323"/>
                </a:cxn>
                <a:cxn ang="0">
                  <a:pos x="194" y="309"/>
                </a:cxn>
                <a:cxn ang="0">
                  <a:pos x="216" y="269"/>
                </a:cxn>
                <a:cxn ang="0">
                  <a:pos x="236" y="277"/>
                </a:cxn>
                <a:cxn ang="0">
                  <a:pos x="258" y="293"/>
                </a:cxn>
                <a:cxn ang="0">
                  <a:pos x="307" y="263"/>
                </a:cxn>
                <a:cxn ang="0">
                  <a:pos x="333" y="275"/>
                </a:cxn>
                <a:cxn ang="0">
                  <a:pos x="369" y="301"/>
                </a:cxn>
                <a:cxn ang="0">
                  <a:pos x="397" y="309"/>
                </a:cxn>
                <a:cxn ang="0">
                  <a:pos x="461" y="267"/>
                </a:cxn>
                <a:cxn ang="0">
                  <a:pos x="485" y="273"/>
                </a:cxn>
                <a:cxn ang="0">
                  <a:pos x="529" y="289"/>
                </a:cxn>
                <a:cxn ang="0">
                  <a:pos x="553" y="279"/>
                </a:cxn>
                <a:cxn ang="0">
                  <a:pos x="581" y="267"/>
                </a:cxn>
                <a:cxn ang="0">
                  <a:pos x="613" y="277"/>
                </a:cxn>
                <a:cxn ang="0">
                  <a:pos x="645" y="263"/>
                </a:cxn>
                <a:cxn ang="0">
                  <a:pos x="673" y="245"/>
                </a:cxn>
                <a:cxn ang="0">
                  <a:pos x="698" y="225"/>
                </a:cxn>
                <a:cxn ang="0">
                  <a:pos x="738" y="247"/>
                </a:cxn>
                <a:cxn ang="0">
                  <a:pos x="746" y="217"/>
                </a:cxn>
                <a:cxn ang="0">
                  <a:pos x="752" y="191"/>
                </a:cxn>
                <a:cxn ang="0">
                  <a:pos x="786" y="183"/>
                </a:cxn>
                <a:cxn ang="0">
                  <a:pos x="836" y="169"/>
                </a:cxn>
                <a:cxn ang="0">
                  <a:pos x="836" y="149"/>
                </a:cxn>
                <a:cxn ang="0">
                  <a:pos x="836" y="117"/>
                </a:cxn>
                <a:cxn ang="0">
                  <a:pos x="710" y="86"/>
                </a:cxn>
                <a:cxn ang="0">
                  <a:pos x="589" y="52"/>
                </a:cxn>
                <a:cxn ang="0">
                  <a:pos x="565" y="58"/>
                </a:cxn>
                <a:cxn ang="0">
                  <a:pos x="431" y="0"/>
                </a:cxn>
                <a:cxn ang="0">
                  <a:pos x="383" y="18"/>
                </a:cxn>
                <a:cxn ang="0">
                  <a:pos x="325" y="36"/>
                </a:cxn>
                <a:cxn ang="0">
                  <a:pos x="250" y="36"/>
                </a:cxn>
                <a:cxn ang="0">
                  <a:pos x="228" y="40"/>
                </a:cxn>
                <a:cxn ang="0">
                  <a:pos x="220" y="22"/>
                </a:cxn>
                <a:cxn ang="0">
                  <a:pos x="200" y="40"/>
                </a:cxn>
                <a:cxn ang="0">
                  <a:pos x="160" y="36"/>
                </a:cxn>
                <a:cxn ang="0">
                  <a:pos x="116" y="18"/>
                </a:cxn>
                <a:cxn ang="0">
                  <a:pos x="96" y="14"/>
                </a:cxn>
                <a:cxn ang="0">
                  <a:pos x="58" y="18"/>
                </a:cxn>
              </a:cxnLst>
              <a:rect l="0" t="0" r="r" b="b"/>
              <a:pathLst>
                <a:path w="836" h="323">
                  <a:moveTo>
                    <a:pt x="58" y="18"/>
                  </a:moveTo>
                  <a:lnTo>
                    <a:pt x="62" y="38"/>
                  </a:lnTo>
                  <a:lnTo>
                    <a:pt x="38" y="58"/>
                  </a:lnTo>
                  <a:lnTo>
                    <a:pt x="16" y="90"/>
                  </a:lnTo>
                  <a:lnTo>
                    <a:pt x="0" y="145"/>
                  </a:lnTo>
                  <a:lnTo>
                    <a:pt x="30" y="187"/>
                  </a:lnTo>
                  <a:lnTo>
                    <a:pt x="36" y="219"/>
                  </a:lnTo>
                  <a:lnTo>
                    <a:pt x="30" y="251"/>
                  </a:lnTo>
                  <a:lnTo>
                    <a:pt x="22" y="271"/>
                  </a:lnTo>
                  <a:lnTo>
                    <a:pt x="28" y="297"/>
                  </a:lnTo>
                  <a:lnTo>
                    <a:pt x="44" y="321"/>
                  </a:lnTo>
                  <a:lnTo>
                    <a:pt x="100" y="321"/>
                  </a:lnTo>
                  <a:lnTo>
                    <a:pt x="162" y="323"/>
                  </a:lnTo>
                  <a:lnTo>
                    <a:pt x="194" y="309"/>
                  </a:lnTo>
                  <a:lnTo>
                    <a:pt x="216" y="269"/>
                  </a:lnTo>
                  <a:lnTo>
                    <a:pt x="236" y="277"/>
                  </a:lnTo>
                  <a:lnTo>
                    <a:pt x="258" y="293"/>
                  </a:lnTo>
                  <a:lnTo>
                    <a:pt x="307" y="263"/>
                  </a:lnTo>
                  <a:lnTo>
                    <a:pt x="333" y="275"/>
                  </a:lnTo>
                  <a:lnTo>
                    <a:pt x="369" y="301"/>
                  </a:lnTo>
                  <a:lnTo>
                    <a:pt x="397" y="309"/>
                  </a:lnTo>
                  <a:lnTo>
                    <a:pt x="461" y="267"/>
                  </a:lnTo>
                  <a:lnTo>
                    <a:pt x="485" y="273"/>
                  </a:lnTo>
                  <a:lnTo>
                    <a:pt x="529" y="289"/>
                  </a:lnTo>
                  <a:lnTo>
                    <a:pt x="553" y="279"/>
                  </a:lnTo>
                  <a:lnTo>
                    <a:pt x="581" y="267"/>
                  </a:lnTo>
                  <a:lnTo>
                    <a:pt x="613" y="277"/>
                  </a:lnTo>
                  <a:lnTo>
                    <a:pt x="645" y="263"/>
                  </a:lnTo>
                  <a:lnTo>
                    <a:pt x="673" y="245"/>
                  </a:lnTo>
                  <a:lnTo>
                    <a:pt x="698" y="225"/>
                  </a:lnTo>
                  <a:lnTo>
                    <a:pt x="738" y="247"/>
                  </a:lnTo>
                  <a:lnTo>
                    <a:pt x="746" y="217"/>
                  </a:lnTo>
                  <a:lnTo>
                    <a:pt x="752" y="191"/>
                  </a:lnTo>
                  <a:lnTo>
                    <a:pt x="786" y="183"/>
                  </a:lnTo>
                  <a:lnTo>
                    <a:pt x="836" y="169"/>
                  </a:lnTo>
                  <a:lnTo>
                    <a:pt x="836" y="149"/>
                  </a:lnTo>
                  <a:lnTo>
                    <a:pt x="836" y="117"/>
                  </a:lnTo>
                  <a:lnTo>
                    <a:pt x="710" y="86"/>
                  </a:lnTo>
                  <a:lnTo>
                    <a:pt x="589" y="52"/>
                  </a:lnTo>
                  <a:lnTo>
                    <a:pt x="565" y="58"/>
                  </a:lnTo>
                  <a:lnTo>
                    <a:pt x="431" y="0"/>
                  </a:lnTo>
                  <a:lnTo>
                    <a:pt x="383" y="18"/>
                  </a:lnTo>
                  <a:lnTo>
                    <a:pt x="325" y="36"/>
                  </a:lnTo>
                  <a:lnTo>
                    <a:pt x="250" y="36"/>
                  </a:lnTo>
                  <a:lnTo>
                    <a:pt x="228" y="40"/>
                  </a:lnTo>
                  <a:lnTo>
                    <a:pt x="220" y="22"/>
                  </a:lnTo>
                  <a:lnTo>
                    <a:pt x="200" y="40"/>
                  </a:lnTo>
                  <a:lnTo>
                    <a:pt x="160" y="36"/>
                  </a:lnTo>
                  <a:lnTo>
                    <a:pt x="116" y="18"/>
                  </a:lnTo>
                  <a:lnTo>
                    <a:pt x="96" y="14"/>
                  </a:lnTo>
                  <a:lnTo>
                    <a:pt x="58" y="18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0" name="Freeform 35"/>
            <p:cNvSpPr>
              <a:spLocks/>
            </p:cNvSpPr>
            <p:nvPr/>
          </p:nvSpPr>
          <p:spPr bwMode="auto">
            <a:xfrm>
              <a:off x="2735" y="1178"/>
              <a:ext cx="397" cy="228"/>
            </a:xfrm>
            <a:custGeom>
              <a:avLst/>
              <a:gdLst/>
              <a:ahLst/>
              <a:cxnLst>
                <a:cxn ang="0">
                  <a:pos x="98" y="34"/>
                </a:cxn>
                <a:cxn ang="0">
                  <a:pos x="98" y="91"/>
                </a:cxn>
                <a:cxn ang="0">
                  <a:pos x="14" y="117"/>
                </a:cxn>
                <a:cxn ang="0">
                  <a:pos x="0" y="169"/>
                </a:cxn>
                <a:cxn ang="0">
                  <a:pos x="14" y="219"/>
                </a:cxn>
                <a:cxn ang="0">
                  <a:pos x="34" y="235"/>
                </a:cxn>
                <a:cxn ang="0">
                  <a:pos x="64" y="227"/>
                </a:cxn>
                <a:cxn ang="0">
                  <a:pos x="108" y="219"/>
                </a:cxn>
                <a:cxn ang="0">
                  <a:pos x="138" y="277"/>
                </a:cxn>
                <a:cxn ang="0">
                  <a:pos x="160" y="269"/>
                </a:cxn>
                <a:cxn ang="0">
                  <a:pos x="214" y="311"/>
                </a:cxn>
                <a:cxn ang="0">
                  <a:pos x="234" y="327"/>
                </a:cxn>
                <a:cxn ang="0">
                  <a:pos x="260" y="319"/>
                </a:cxn>
                <a:cxn ang="0">
                  <a:pos x="284" y="311"/>
                </a:cxn>
                <a:cxn ang="0">
                  <a:pos x="304" y="309"/>
                </a:cxn>
                <a:cxn ang="0">
                  <a:pos x="314" y="301"/>
                </a:cxn>
                <a:cxn ang="0">
                  <a:pos x="318" y="257"/>
                </a:cxn>
                <a:cxn ang="0">
                  <a:pos x="306" y="235"/>
                </a:cxn>
                <a:cxn ang="0">
                  <a:pos x="306" y="219"/>
                </a:cxn>
                <a:cxn ang="0">
                  <a:pos x="322" y="205"/>
                </a:cxn>
                <a:cxn ang="0">
                  <a:pos x="354" y="189"/>
                </a:cxn>
                <a:cxn ang="0">
                  <a:pos x="377" y="185"/>
                </a:cxn>
                <a:cxn ang="0">
                  <a:pos x="395" y="203"/>
                </a:cxn>
                <a:cxn ang="0">
                  <a:pos x="417" y="185"/>
                </a:cxn>
                <a:cxn ang="0">
                  <a:pos x="437" y="169"/>
                </a:cxn>
                <a:cxn ang="0">
                  <a:pos x="473" y="159"/>
                </a:cxn>
                <a:cxn ang="0">
                  <a:pos x="493" y="153"/>
                </a:cxn>
                <a:cxn ang="0">
                  <a:pos x="511" y="155"/>
                </a:cxn>
                <a:cxn ang="0">
                  <a:pos x="503" y="151"/>
                </a:cxn>
                <a:cxn ang="0">
                  <a:pos x="503" y="121"/>
                </a:cxn>
                <a:cxn ang="0">
                  <a:pos x="515" y="101"/>
                </a:cxn>
                <a:cxn ang="0">
                  <a:pos x="533" y="87"/>
                </a:cxn>
                <a:cxn ang="0">
                  <a:pos x="541" y="83"/>
                </a:cxn>
                <a:cxn ang="0">
                  <a:pos x="537" y="69"/>
                </a:cxn>
                <a:cxn ang="0">
                  <a:pos x="521" y="61"/>
                </a:cxn>
                <a:cxn ang="0">
                  <a:pos x="499" y="51"/>
                </a:cxn>
                <a:cxn ang="0">
                  <a:pos x="477" y="47"/>
                </a:cxn>
                <a:cxn ang="0">
                  <a:pos x="451" y="47"/>
                </a:cxn>
                <a:cxn ang="0">
                  <a:pos x="437" y="47"/>
                </a:cxn>
                <a:cxn ang="0">
                  <a:pos x="433" y="39"/>
                </a:cxn>
                <a:cxn ang="0">
                  <a:pos x="433" y="26"/>
                </a:cxn>
                <a:cxn ang="0">
                  <a:pos x="447" y="20"/>
                </a:cxn>
                <a:cxn ang="0">
                  <a:pos x="459" y="20"/>
                </a:cxn>
                <a:cxn ang="0">
                  <a:pos x="459" y="8"/>
                </a:cxn>
                <a:cxn ang="0">
                  <a:pos x="443" y="0"/>
                </a:cxn>
                <a:cxn ang="0">
                  <a:pos x="407" y="4"/>
                </a:cxn>
                <a:cxn ang="0">
                  <a:pos x="371" y="12"/>
                </a:cxn>
                <a:cxn ang="0">
                  <a:pos x="348" y="12"/>
                </a:cxn>
                <a:cxn ang="0">
                  <a:pos x="318" y="12"/>
                </a:cxn>
                <a:cxn ang="0">
                  <a:pos x="306" y="4"/>
                </a:cxn>
                <a:cxn ang="0">
                  <a:pos x="292" y="8"/>
                </a:cxn>
                <a:cxn ang="0">
                  <a:pos x="276" y="20"/>
                </a:cxn>
                <a:cxn ang="0">
                  <a:pos x="254" y="26"/>
                </a:cxn>
                <a:cxn ang="0">
                  <a:pos x="224" y="20"/>
                </a:cxn>
                <a:cxn ang="0">
                  <a:pos x="210" y="30"/>
                </a:cxn>
                <a:cxn ang="0">
                  <a:pos x="188" y="47"/>
                </a:cxn>
                <a:cxn ang="0">
                  <a:pos x="180" y="47"/>
                </a:cxn>
                <a:cxn ang="0">
                  <a:pos x="152" y="39"/>
                </a:cxn>
                <a:cxn ang="0">
                  <a:pos x="126" y="39"/>
                </a:cxn>
                <a:cxn ang="0">
                  <a:pos x="98" y="34"/>
                </a:cxn>
              </a:cxnLst>
              <a:rect l="0" t="0" r="r" b="b"/>
              <a:pathLst>
                <a:path w="541" h="327">
                  <a:moveTo>
                    <a:pt x="98" y="34"/>
                  </a:moveTo>
                  <a:lnTo>
                    <a:pt x="98" y="91"/>
                  </a:lnTo>
                  <a:lnTo>
                    <a:pt x="14" y="117"/>
                  </a:lnTo>
                  <a:lnTo>
                    <a:pt x="0" y="169"/>
                  </a:lnTo>
                  <a:lnTo>
                    <a:pt x="14" y="219"/>
                  </a:lnTo>
                  <a:lnTo>
                    <a:pt x="34" y="235"/>
                  </a:lnTo>
                  <a:lnTo>
                    <a:pt x="64" y="227"/>
                  </a:lnTo>
                  <a:lnTo>
                    <a:pt x="108" y="219"/>
                  </a:lnTo>
                  <a:lnTo>
                    <a:pt x="138" y="277"/>
                  </a:lnTo>
                  <a:lnTo>
                    <a:pt x="160" y="269"/>
                  </a:lnTo>
                  <a:lnTo>
                    <a:pt x="214" y="311"/>
                  </a:lnTo>
                  <a:lnTo>
                    <a:pt x="234" y="327"/>
                  </a:lnTo>
                  <a:lnTo>
                    <a:pt x="260" y="319"/>
                  </a:lnTo>
                  <a:lnTo>
                    <a:pt x="284" y="311"/>
                  </a:lnTo>
                  <a:lnTo>
                    <a:pt x="304" y="309"/>
                  </a:lnTo>
                  <a:lnTo>
                    <a:pt x="314" y="301"/>
                  </a:lnTo>
                  <a:lnTo>
                    <a:pt x="318" y="257"/>
                  </a:lnTo>
                  <a:lnTo>
                    <a:pt x="306" y="235"/>
                  </a:lnTo>
                  <a:lnTo>
                    <a:pt x="306" y="219"/>
                  </a:lnTo>
                  <a:lnTo>
                    <a:pt x="322" y="205"/>
                  </a:lnTo>
                  <a:lnTo>
                    <a:pt x="354" y="189"/>
                  </a:lnTo>
                  <a:lnTo>
                    <a:pt x="377" y="185"/>
                  </a:lnTo>
                  <a:lnTo>
                    <a:pt x="395" y="203"/>
                  </a:lnTo>
                  <a:lnTo>
                    <a:pt x="417" y="185"/>
                  </a:lnTo>
                  <a:lnTo>
                    <a:pt x="437" y="169"/>
                  </a:lnTo>
                  <a:lnTo>
                    <a:pt x="473" y="159"/>
                  </a:lnTo>
                  <a:lnTo>
                    <a:pt x="493" y="153"/>
                  </a:lnTo>
                  <a:lnTo>
                    <a:pt x="511" y="155"/>
                  </a:lnTo>
                  <a:lnTo>
                    <a:pt x="503" y="151"/>
                  </a:lnTo>
                  <a:lnTo>
                    <a:pt x="503" y="121"/>
                  </a:lnTo>
                  <a:lnTo>
                    <a:pt x="515" y="101"/>
                  </a:lnTo>
                  <a:lnTo>
                    <a:pt x="533" y="87"/>
                  </a:lnTo>
                  <a:lnTo>
                    <a:pt x="541" y="83"/>
                  </a:lnTo>
                  <a:lnTo>
                    <a:pt x="537" y="69"/>
                  </a:lnTo>
                  <a:lnTo>
                    <a:pt x="521" y="61"/>
                  </a:lnTo>
                  <a:lnTo>
                    <a:pt x="499" y="51"/>
                  </a:lnTo>
                  <a:lnTo>
                    <a:pt x="477" y="47"/>
                  </a:lnTo>
                  <a:lnTo>
                    <a:pt x="451" y="47"/>
                  </a:lnTo>
                  <a:lnTo>
                    <a:pt x="437" y="47"/>
                  </a:lnTo>
                  <a:lnTo>
                    <a:pt x="433" y="39"/>
                  </a:lnTo>
                  <a:lnTo>
                    <a:pt x="433" y="26"/>
                  </a:lnTo>
                  <a:lnTo>
                    <a:pt x="447" y="20"/>
                  </a:lnTo>
                  <a:lnTo>
                    <a:pt x="459" y="20"/>
                  </a:lnTo>
                  <a:lnTo>
                    <a:pt x="459" y="8"/>
                  </a:lnTo>
                  <a:lnTo>
                    <a:pt x="443" y="0"/>
                  </a:lnTo>
                  <a:lnTo>
                    <a:pt x="407" y="4"/>
                  </a:lnTo>
                  <a:lnTo>
                    <a:pt x="371" y="12"/>
                  </a:lnTo>
                  <a:lnTo>
                    <a:pt x="348" y="12"/>
                  </a:lnTo>
                  <a:lnTo>
                    <a:pt x="318" y="12"/>
                  </a:lnTo>
                  <a:lnTo>
                    <a:pt x="306" y="4"/>
                  </a:lnTo>
                  <a:lnTo>
                    <a:pt x="292" y="8"/>
                  </a:lnTo>
                  <a:lnTo>
                    <a:pt x="276" y="20"/>
                  </a:lnTo>
                  <a:lnTo>
                    <a:pt x="254" y="26"/>
                  </a:lnTo>
                  <a:lnTo>
                    <a:pt x="224" y="20"/>
                  </a:lnTo>
                  <a:lnTo>
                    <a:pt x="210" y="30"/>
                  </a:lnTo>
                  <a:lnTo>
                    <a:pt x="188" y="47"/>
                  </a:lnTo>
                  <a:lnTo>
                    <a:pt x="180" y="47"/>
                  </a:lnTo>
                  <a:lnTo>
                    <a:pt x="152" y="39"/>
                  </a:lnTo>
                  <a:lnTo>
                    <a:pt x="126" y="39"/>
                  </a:lnTo>
                  <a:lnTo>
                    <a:pt x="98" y="34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1" name="Freeform 36"/>
            <p:cNvSpPr>
              <a:spLocks/>
            </p:cNvSpPr>
            <p:nvPr/>
          </p:nvSpPr>
          <p:spPr bwMode="auto">
            <a:xfrm>
              <a:off x="1658" y="1063"/>
              <a:ext cx="604" cy="610"/>
            </a:xfrm>
            <a:custGeom>
              <a:avLst/>
              <a:gdLst/>
              <a:ahLst/>
              <a:cxnLst>
                <a:cxn ang="0">
                  <a:pos x="780" y="134"/>
                </a:cxn>
                <a:cxn ang="0">
                  <a:pos x="732" y="221"/>
                </a:cxn>
                <a:cxn ang="0">
                  <a:pos x="762" y="289"/>
                </a:cxn>
                <a:cxn ang="0">
                  <a:pos x="754" y="353"/>
                </a:cxn>
                <a:cxn ang="0">
                  <a:pos x="788" y="433"/>
                </a:cxn>
                <a:cxn ang="0">
                  <a:pos x="724" y="555"/>
                </a:cxn>
                <a:cxn ang="0">
                  <a:pos x="766" y="595"/>
                </a:cxn>
                <a:cxn ang="0">
                  <a:pos x="816" y="664"/>
                </a:cxn>
                <a:cxn ang="0">
                  <a:pos x="802" y="698"/>
                </a:cxn>
                <a:cxn ang="0">
                  <a:pos x="740" y="798"/>
                </a:cxn>
                <a:cxn ang="0">
                  <a:pos x="676" y="802"/>
                </a:cxn>
                <a:cxn ang="0">
                  <a:pos x="672" y="874"/>
                </a:cxn>
                <a:cxn ang="0">
                  <a:pos x="593" y="840"/>
                </a:cxn>
                <a:cxn ang="0">
                  <a:pos x="499" y="828"/>
                </a:cxn>
                <a:cxn ang="0">
                  <a:pos x="413" y="802"/>
                </a:cxn>
                <a:cxn ang="0">
                  <a:pos x="349" y="832"/>
                </a:cxn>
                <a:cxn ang="0">
                  <a:pos x="349" y="702"/>
                </a:cxn>
                <a:cxn ang="0">
                  <a:pos x="323" y="680"/>
                </a:cxn>
                <a:cxn ang="0">
                  <a:pos x="225" y="728"/>
                </a:cxn>
                <a:cxn ang="0">
                  <a:pos x="154" y="754"/>
                </a:cxn>
                <a:cxn ang="0">
                  <a:pos x="108" y="770"/>
                </a:cxn>
                <a:cxn ang="0">
                  <a:pos x="94" y="712"/>
                </a:cxn>
                <a:cxn ang="0">
                  <a:pos x="154" y="636"/>
                </a:cxn>
                <a:cxn ang="0">
                  <a:pos x="142" y="604"/>
                </a:cxn>
                <a:cxn ang="0">
                  <a:pos x="198" y="573"/>
                </a:cxn>
                <a:cxn ang="0">
                  <a:pos x="154" y="555"/>
                </a:cxn>
                <a:cxn ang="0">
                  <a:pos x="134" y="503"/>
                </a:cxn>
                <a:cxn ang="0">
                  <a:pos x="176" y="469"/>
                </a:cxn>
                <a:cxn ang="0">
                  <a:pos x="120" y="473"/>
                </a:cxn>
                <a:cxn ang="0">
                  <a:pos x="76" y="447"/>
                </a:cxn>
                <a:cxn ang="0">
                  <a:pos x="104" y="395"/>
                </a:cxn>
                <a:cxn ang="0">
                  <a:pos x="64" y="395"/>
                </a:cxn>
                <a:cxn ang="0">
                  <a:pos x="22" y="337"/>
                </a:cxn>
                <a:cxn ang="0">
                  <a:pos x="14" y="255"/>
                </a:cxn>
                <a:cxn ang="0">
                  <a:pos x="76" y="207"/>
                </a:cxn>
                <a:cxn ang="0">
                  <a:pos x="116" y="190"/>
                </a:cxn>
                <a:cxn ang="0">
                  <a:pos x="211" y="176"/>
                </a:cxn>
                <a:cxn ang="0">
                  <a:pos x="281" y="160"/>
                </a:cxn>
                <a:cxn ang="0">
                  <a:pos x="313" y="148"/>
                </a:cxn>
                <a:cxn ang="0">
                  <a:pos x="361" y="152"/>
                </a:cxn>
                <a:cxn ang="0">
                  <a:pos x="349" y="90"/>
                </a:cxn>
                <a:cxn ang="0">
                  <a:pos x="435" y="64"/>
                </a:cxn>
                <a:cxn ang="0">
                  <a:pos x="461" y="14"/>
                </a:cxn>
                <a:cxn ang="0">
                  <a:pos x="511" y="22"/>
                </a:cxn>
                <a:cxn ang="0">
                  <a:pos x="555" y="18"/>
                </a:cxn>
                <a:cxn ang="0">
                  <a:pos x="650" y="52"/>
                </a:cxn>
                <a:cxn ang="0">
                  <a:pos x="698" y="82"/>
                </a:cxn>
                <a:cxn ang="0">
                  <a:pos x="788" y="98"/>
                </a:cxn>
              </a:cxnLst>
              <a:rect l="0" t="0" r="r" b="b"/>
              <a:pathLst>
                <a:path w="824" h="874">
                  <a:moveTo>
                    <a:pt x="788" y="98"/>
                  </a:moveTo>
                  <a:lnTo>
                    <a:pt x="794" y="120"/>
                  </a:lnTo>
                  <a:lnTo>
                    <a:pt x="780" y="134"/>
                  </a:lnTo>
                  <a:lnTo>
                    <a:pt x="766" y="148"/>
                  </a:lnTo>
                  <a:lnTo>
                    <a:pt x="746" y="176"/>
                  </a:lnTo>
                  <a:lnTo>
                    <a:pt x="732" y="221"/>
                  </a:lnTo>
                  <a:lnTo>
                    <a:pt x="728" y="229"/>
                  </a:lnTo>
                  <a:lnTo>
                    <a:pt x="762" y="273"/>
                  </a:lnTo>
                  <a:lnTo>
                    <a:pt x="762" y="289"/>
                  </a:lnTo>
                  <a:lnTo>
                    <a:pt x="766" y="311"/>
                  </a:lnTo>
                  <a:lnTo>
                    <a:pt x="758" y="337"/>
                  </a:lnTo>
                  <a:lnTo>
                    <a:pt x="754" y="353"/>
                  </a:lnTo>
                  <a:lnTo>
                    <a:pt x="758" y="383"/>
                  </a:lnTo>
                  <a:lnTo>
                    <a:pt x="776" y="417"/>
                  </a:lnTo>
                  <a:lnTo>
                    <a:pt x="788" y="433"/>
                  </a:lnTo>
                  <a:lnTo>
                    <a:pt x="780" y="455"/>
                  </a:lnTo>
                  <a:lnTo>
                    <a:pt x="736" y="507"/>
                  </a:lnTo>
                  <a:lnTo>
                    <a:pt x="724" y="555"/>
                  </a:lnTo>
                  <a:lnTo>
                    <a:pt x="732" y="585"/>
                  </a:lnTo>
                  <a:lnTo>
                    <a:pt x="746" y="600"/>
                  </a:lnTo>
                  <a:lnTo>
                    <a:pt x="766" y="595"/>
                  </a:lnTo>
                  <a:lnTo>
                    <a:pt x="780" y="595"/>
                  </a:lnTo>
                  <a:lnTo>
                    <a:pt x="802" y="628"/>
                  </a:lnTo>
                  <a:lnTo>
                    <a:pt x="816" y="664"/>
                  </a:lnTo>
                  <a:lnTo>
                    <a:pt x="824" y="686"/>
                  </a:lnTo>
                  <a:lnTo>
                    <a:pt x="820" y="698"/>
                  </a:lnTo>
                  <a:lnTo>
                    <a:pt x="802" y="698"/>
                  </a:lnTo>
                  <a:lnTo>
                    <a:pt x="788" y="720"/>
                  </a:lnTo>
                  <a:lnTo>
                    <a:pt x="762" y="762"/>
                  </a:lnTo>
                  <a:lnTo>
                    <a:pt x="740" y="798"/>
                  </a:lnTo>
                  <a:lnTo>
                    <a:pt x="716" y="784"/>
                  </a:lnTo>
                  <a:lnTo>
                    <a:pt x="694" y="784"/>
                  </a:lnTo>
                  <a:lnTo>
                    <a:pt x="676" y="802"/>
                  </a:lnTo>
                  <a:lnTo>
                    <a:pt x="660" y="824"/>
                  </a:lnTo>
                  <a:lnTo>
                    <a:pt x="668" y="840"/>
                  </a:lnTo>
                  <a:lnTo>
                    <a:pt x="672" y="874"/>
                  </a:lnTo>
                  <a:lnTo>
                    <a:pt x="632" y="832"/>
                  </a:lnTo>
                  <a:lnTo>
                    <a:pt x="616" y="840"/>
                  </a:lnTo>
                  <a:lnTo>
                    <a:pt x="593" y="840"/>
                  </a:lnTo>
                  <a:lnTo>
                    <a:pt x="573" y="844"/>
                  </a:lnTo>
                  <a:lnTo>
                    <a:pt x="525" y="832"/>
                  </a:lnTo>
                  <a:lnTo>
                    <a:pt x="499" y="828"/>
                  </a:lnTo>
                  <a:lnTo>
                    <a:pt x="461" y="836"/>
                  </a:lnTo>
                  <a:lnTo>
                    <a:pt x="429" y="820"/>
                  </a:lnTo>
                  <a:lnTo>
                    <a:pt x="413" y="802"/>
                  </a:lnTo>
                  <a:lnTo>
                    <a:pt x="403" y="806"/>
                  </a:lnTo>
                  <a:lnTo>
                    <a:pt x="391" y="820"/>
                  </a:lnTo>
                  <a:lnTo>
                    <a:pt x="349" y="832"/>
                  </a:lnTo>
                  <a:lnTo>
                    <a:pt x="323" y="784"/>
                  </a:lnTo>
                  <a:lnTo>
                    <a:pt x="349" y="724"/>
                  </a:lnTo>
                  <a:lnTo>
                    <a:pt x="349" y="702"/>
                  </a:lnTo>
                  <a:lnTo>
                    <a:pt x="343" y="680"/>
                  </a:lnTo>
                  <a:lnTo>
                    <a:pt x="331" y="658"/>
                  </a:lnTo>
                  <a:lnTo>
                    <a:pt x="323" y="680"/>
                  </a:lnTo>
                  <a:lnTo>
                    <a:pt x="303" y="690"/>
                  </a:lnTo>
                  <a:lnTo>
                    <a:pt x="275" y="708"/>
                  </a:lnTo>
                  <a:lnTo>
                    <a:pt x="225" y="728"/>
                  </a:lnTo>
                  <a:lnTo>
                    <a:pt x="194" y="732"/>
                  </a:lnTo>
                  <a:lnTo>
                    <a:pt x="168" y="736"/>
                  </a:lnTo>
                  <a:lnTo>
                    <a:pt x="154" y="754"/>
                  </a:lnTo>
                  <a:lnTo>
                    <a:pt x="138" y="770"/>
                  </a:lnTo>
                  <a:lnTo>
                    <a:pt x="104" y="788"/>
                  </a:lnTo>
                  <a:lnTo>
                    <a:pt x="108" y="770"/>
                  </a:lnTo>
                  <a:lnTo>
                    <a:pt x="94" y="762"/>
                  </a:lnTo>
                  <a:lnTo>
                    <a:pt x="98" y="736"/>
                  </a:lnTo>
                  <a:lnTo>
                    <a:pt x="94" y="712"/>
                  </a:lnTo>
                  <a:lnTo>
                    <a:pt x="86" y="694"/>
                  </a:lnTo>
                  <a:lnTo>
                    <a:pt x="116" y="672"/>
                  </a:lnTo>
                  <a:lnTo>
                    <a:pt x="154" y="636"/>
                  </a:lnTo>
                  <a:lnTo>
                    <a:pt x="138" y="628"/>
                  </a:lnTo>
                  <a:lnTo>
                    <a:pt x="126" y="608"/>
                  </a:lnTo>
                  <a:lnTo>
                    <a:pt x="142" y="604"/>
                  </a:lnTo>
                  <a:lnTo>
                    <a:pt x="154" y="589"/>
                  </a:lnTo>
                  <a:lnTo>
                    <a:pt x="184" y="581"/>
                  </a:lnTo>
                  <a:lnTo>
                    <a:pt x="198" y="573"/>
                  </a:lnTo>
                  <a:lnTo>
                    <a:pt x="194" y="555"/>
                  </a:lnTo>
                  <a:lnTo>
                    <a:pt x="168" y="555"/>
                  </a:lnTo>
                  <a:lnTo>
                    <a:pt x="154" y="555"/>
                  </a:lnTo>
                  <a:lnTo>
                    <a:pt x="138" y="545"/>
                  </a:lnTo>
                  <a:lnTo>
                    <a:pt x="134" y="529"/>
                  </a:lnTo>
                  <a:lnTo>
                    <a:pt x="134" y="503"/>
                  </a:lnTo>
                  <a:lnTo>
                    <a:pt x="142" y="487"/>
                  </a:lnTo>
                  <a:lnTo>
                    <a:pt x="154" y="469"/>
                  </a:lnTo>
                  <a:lnTo>
                    <a:pt x="176" y="469"/>
                  </a:lnTo>
                  <a:lnTo>
                    <a:pt x="158" y="451"/>
                  </a:lnTo>
                  <a:lnTo>
                    <a:pt x="130" y="461"/>
                  </a:lnTo>
                  <a:lnTo>
                    <a:pt x="120" y="473"/>
                  </a:lnTo>
                  <a:lnTo>
                    <a:pt x="86" y="495"/>
                  </a:lnTo>
                  <a:lnTo>
                    <a:pt x="72" y="473"/>
                  </a:lnTo>
                  <a:lnTo>
                    <a:pt x="76" y="447"/>
                  </a:lnTo>
                  <a:lnTo>
                    <a:pt x="82" y="425"/>
                  </a:lnTo>
                  <a:lnTo>
                    <a:pt x="98" y="407"/>
                  </a:lnTo>
                  <a:lnTo>
                    <a:pt x="104" y="395"/>
                  </a:lnTo>
                  <a:lnTo>
                    <a:pt x="94" y="383"/>
                  </a:lnTo>
                  <a:lnTo>
                    <a:pt x="76" y="391"/>
                  </a:lnTo>
                  <a:lnTo>
                    <a:pt x="64" y="395"/>
                  </a:lnTo>
                  <a:lnTo>
                    <a:pt x="46" y="365"/>
                  </a:lnTo>
                  <a:lnTo>
                    <a:pt x="34" y="345"/>
                  </a:lnTo>
                  <a:lnTo>
                    <a:pt x="22" y="337"/>
                  </a:lnTo>
                  <a:lnTo>
                    <a:pt x="0" y="329"/>
                  </a:lnTo>
                  <a:lnTo>
                    <a:pt x="14" y="315"/>
                  </a:lnTo>
                  <a:lnTo>
                    <a:pt x="14" y="255"/>
                  </a:lnTo>
                  <a:lnTo>
                    <a:pt x="26" y="243"/>
                  </a:lnTo>
                  <a:lnTo>
                    <a:pt x="56" y="221"/>
                  </a:lnTo>
                  <a:lnTo>
                    <a:pt x="76" y="207"/>
                  </a:lnTo>
                  <a:lnTo>
                    <a:pt x="94" y="198"/>
                  </a:lnTo>
                  <a:lnTo>
                    <a:pt x="116" y="207"/>
                  </a:lnTo>
                  <a:lnTo>
                    <a:pt x="116" y="190"/>
                  </a:lnTo>
                  <a:lnTo>
                    <a:pt x="142" y="160"/>
                  </a:lnTo>
                  <a:lnTo>
                    <a:pt x="158" y="164"/>
                  </a:lnTo>
                  <a:lnTo>
                    <a:pt x="211" y="176"/>
                  </a:lnTo>
                  <a:lnTo>
                    <a:pt x="229" y="184"/>
                  </a:lnTo>
                  <a:lnTo>
                    <a:pt x="247" y="176"/>
                  </a:lnTo>
                  <a:lnTo>
                    <a:pt x="281" y="160"/>
                  </a:lnTo>
                  <a:lnTo>
                    <a:pt x="289" y="152"/>
                  </a:lnTo>
                  <a:lnTo>
                    <a:pt x="303" y="160"/>
                  </a:lnTo>
                  <a:lnTo>
                    <a:pt x="313" y="148"/>
                  </a:lnTo>
                  <a:lnTo>
                    <a:pt x="327" y="156"/>
                  </a:lnTo>
                  <a:lnTo>
                    <a:pt x="353" y="164"/>
                  </a:lnTo>
                  <a:lnTo>
                    <a:pt x="361" y="152"/>
                  </a:lnTo>
                  <a:lnTo>
                    <a:pt x="361" y="130"/>
                  </a:lnTo>
                  <a:lnTo>
                    <a:pt x="353" y="108"/>
                  </a:lnTo>
                  <a:lnTo>
                    <a:pt x="349" y="90"/>
                  </a:lnTo>
                  <a:lnTo>
                    <a:pt x="377" y="78"/>
                  </a:lnTo>
                  <a:lnTo>
                    <a:pt x="413" y="56"/>
                  </a:lnTo>
                  <a:lnTo>
                    <a:pt x="435" y="64"/>
                  </a:lnTo>
                  <a:lnTo>
                    <a:pt x="421" y="40"/>
                  </a:lnTo>
                  <a:lnTo>
                    <a:pt x="439" y="30"/>
                  </a:lnTo>
                  <a:lnTo>
                    <a:pt x="461" y="14"/>
                  </a:lnTo>
                  <a:lnTo>
                    <a:pt x="477" y="0"/>
                  </a:lnTo>
                  <a:lnTo>
                    <a:pt x="495" y="0"/>
                  </a:lnTo>
                  <a:lnTo>
                    <a:pt x="511" y="22"/>
                  </a:lnTo>
                  <a:lnTo>
                    <a:pt x="525" y="4"/>
                  </a:lnTo>
                  <a:lnTo>
                    <a:pt x="547" y="4"/>
                  </a:lnTo>
                  <a:lnTo>
                    <a:pt x="555" y="18"/>
                  </a:lnTo>
                  <a:lnTo>
                    <a:pt x="589" y="18"/>
                  </a:lnTo>
                  <a:lnTo>
                    <a:pt x="628" y="30"/>
                  </a:lnTo>
                  <a:lnTo>
                    <a:pt x="650" y="52"/>
                  </a:lnTo>
                  <a:lnTo>
                    <a:pt x="660" y="82"/>
                  </a:lnTo>
                  <a:lnTo>
                    <a:pt x="672" y="90"/>
                  </a:lnTo>
                  <a:lnTo>
                    <a:pt x="698" y="82"/>
                  </a:lnTo>
                  <a:lnTo>
                    <a:pt x="720" y="94"/>
                  </a:lnTo>
                  <a:lnTo>
                    <a:pt x="750" y="104"/>
                  </a:lnTo>
                  <a:lnTo>
                    <a:pt x="788" y="98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6" name="Freeform 37"/>
            <p:cNvSpPr>
              <a:spLocks/>
            </p:cNvSpPr>
            <p:nvPr/>
          </p:nvSpPr>
          <p:spPr bwMode="auto">
            <a:xfrm>
              <a:off x="2186" y="1280"/>
              <a:ext cx="1261" cy="960"/>
            </a:xfrm>
            <a:custGeom>
              <a:avLst/>
              <a:gdLst/>
              <a:ahLst/>
              <a:cxnLst>
                <a:cxn ang="0">
                  <a:pos x="94" y="387"/>
                </a:cxn>
                <a:cxn ang="0">
                  <a:pos x="46" y="284"/>
                </a:cxn>
                <a:cxn ang="0">
                  <a:pos x="12" y="188"/>
                </a:cxn>
                <a:cxn ang="0">
                  <a:pos x="94" y="92"/>
                </a:cxn>
                <a:cxn ang="0">
                  <a:pos x="228" y="56"/>
                </a:cxn>
                <a:cxn ang="0">
                  <a:pos x="319" y="38"/>
                </a:cxn>
                <a:cxn ang="0">
                  <a:pos x="433" y="72"/>
                </a:cxn>
                <a:cxn ang="0">
                  <a:pos x="593" y="42"/>
                </a:cxn>
                <a:cxn ang="0">
                  <a:pos x="710" y="0"/>
                </a:cxn>
                <a:cxn ang="0">
                  <a:pos x="784" y="88"/>
                </a:cxn>
                <a:cxn ang="0">
                  <a:pos x="910" y="118"/>
                </a:cxn>
                <a:cxn ang="0">
                  <a:pos x="1026" y="168"/>
                </a:cxn>
                <a:cxn ang="0">
                  <a:pos x="1060" y="96"/>
                </a:cxn>
                <a:cxn ang="0">
                  <a:pos x="1098" y="46"/>
                </a:cxn>
                <a:cxn ang="0">
                  <a:pos x="1187" y="22"/>
                </a:cxn>
                <a:cxn ang="0">
                  <a:pos x="1283" y="80"/>
                </a:cxn>
                <a:cxn ang="0">
                  <a:pos x="1275" y="146"/>
                </a:cxn>
                <a:cxn ang="0">
                  <a:pos x="1299" y="280"/>
                </a:cxn>
                <a:cxn ang="0">
                  <a:pos x="1295" y="383"/>
                </a:cxn>
                <a:cxn ang="0">
                  <a:pos x="1321" y="495"/>
                </a:cxn>
                <a:cxn ang="0">
                  <a:pos x="1369" y="525"/>
                </a:cxn>
                <a:cxn ang="0">
                  <a:pos x="1407" y="479"/>
                </a:cxn>
                <a:cxn ang="0">
                  <a:pos x="1459" y="529"/>
                </a:cxn>
                <a:cxn ang="0">
                  <a:pos x="1616" y="473"/>
                </a:cxn>
                <a:cxn ang="0">
                  <a:pos x="1684" y="551"/>
                </a:cxn>
                <a:cxn ang="0">
                  <a:pos x="1706" y="659"/>
                </a:cxn>
                <a:cxn ang="0">
                  <a:pos x="1668" y="792"/>
                </a:cxn>
                <a:cxn ang="0">
                  <a:pos x="1590" y="848"/>
                </a:cxn>
                <a:cxn ang="0">
                  <a:pos x="1568" y="952"/>
                </a:cxn>
                <a:cxn ang="0">
                  <a:pos x="1503" y="868"/>
                </a:cxn>
                <a:cxn ang="0">
                  <a:pos x="1339" y="818"/>
                </a:cxn>
                <a:cxn ang="0">
                  <a:pos x="1271" y="826"/>
                </a:cxn>
                <a:cxn ang="0">
                  <a:pos x="1149" y="904"/>
                </a:cxn>
                <a:cxn ang="0">
                  <a:pos x="982" y="1076"/>
                </a:cxn>
                <a:cxn ang="0">
                  <a:pos x="856" y="1185"/>
                </a:cxn>
                <a:cxn ang="0">
                  <a:pos x="818" y="1249"/>
                </a:cxn>
                <a:cxn ang="0">
                  <a:pos x="766" y="1345"/>
                </a:cxn>
                <a:cxn ang="0">
                  <a:pos x="675" y="1331"/>
                </a:cxn>
                <a:cxn ang="0">
                  <a:pos x="537" y="1357"/>
                </a:cxn>
                <a:cxn ang="0">
                  <a:pos x="433" y="1275"/>
                </a:cxn>
                <a:cxn ang="0">
                  <a:pos x="262" y="1201"/>
                </a:cxn>
                <a:cxn ang="0">
                  <a:pos x="104" y="1301"/>
                </a:cxn>
                <a:cxn ang="0">
                  <a:pos x="68" y="1219"/>
                </a:cxn>
                <a:cxn ang="0">
                  <a:pos x="72" y="1046"/>
                </a:cxn>
                <a:cxn ang="0">
                  <a:pos x="216" y="788"/>
                </a:cxn>
                <a:cxn ang="0">
                  <a:pos x="288" y="671"/>
                </a:cxn>
                <a:cxn ang="0">
                  <a:pos x="194" y="625"/>
                </a:cxn>
                <a:cxn ang="0">
                  <a:pos x="128" y="501"/>
                </a:cxn>
                <a:cxn ang="0">
                  <a:pos x="16" y="491"/>
                </a:cxn>
              </a:cxnLst>
              <a:rect l="0" t="0" r="r" b="b"/>
              <a:pathLst>
                <a:path w="1720" h="1375">
                  <a:moveTo>
                    <a:pt x="16" y="491"/>
                  </a:moveTo>
                  <a:lnTo>
                    <a:pt x="42" y="443"/>
                  </a:lnTo>
                  <a:lnTo>
                    <a:pt x="76" y="383"/>
                  </a:lnTo>
                  <a:lnTo>
                    <a:pt x="94" y="387"/>
                  </a:lnTo>
                  <a:lnTo>
                    <a:pt x="98" y="371"/>
                  </a:lnTo>
                  <a:lnTo>
                    <a:pt x="76" y="305"/>
                  </a:lnTo>
                  <a:lnTo>
                    <a:pt x="50" y="280"/>
                  </a:lnTo>
                  <a:lnTo>
                    <a:pt x="46" y="284"/>
                  </a:lnTo>
                  <a:lnTo>
                    <a:pt x="28" y="289"/>
                  </a:lnTo>
                  <a:lnTo>
                    <a:pt x="8" y="266"/>
                  </a:lnTo>
                  <a:lnTo>
                    <a:pt x="0" y="236"/>
                  </a:lnTo>
                  <a:lnTo>
                    <a:pt x="12" y="188"/>
                  </a:lnTo>
                  <a:lnTo>
                    <a:pt x="56" y="146"/>
                  </a:lnTo>
                  <a:lnTo>
                    <a:pt x="64" y="118"/>
                  </a:lnTo>
                  <a:lnTo>
                    <a:pt x="56" y="96"/>
                  </a:lnTo>
                  <a:lnTo>
                    <a:pt x="94" y="92"/>
                  </a:lnTo>
                  <a:lnTo>
                    <a:pt x="150" y="96"/>
                  </a:lnTo>
                  <a:lnTo>
                    <a:pt x="176" y="96"/>
                  </a:lnTo>
                  <a:lnTo>
                    <a:pt x="198" y="88"/>
                  </a:lnTo>
                  <a:lnTo>
                    <a:pt x="228" y="56"/>
                  </a:lnTo>
                  <a:lnTo>
                    <a:pt x="232" y="46"/>
                  </a:lnTo>
                  <a:lnTo>
                    <a:pt x="248" y="50"/>
                  </a:lnTo>
                  <a:lnTo>
                    <a:pt x="270" y="68"/>
                  </a:lnTo>
                  <a:lnTo>
                    <a:pt x="319" y="38"/>
                  </a:lnTo>
                  <a:lnTo>
                    <a:pt x="357" y="56"/>
                  </a:lnTo>
                  <a:lnTo>
                    <a:pt x="381" y="76"/>
                  </a:lnTo>
                  <a:lnTo>
                    <a:pt x="407" y="84"/>
                  </a:lnTo>
                  <a:lnTo>
                    <a:pt x="433" y="72"/>
                  </a:lnTo>
                  <a:lnTo>
                    <a:pt x="473" y="42"/>
                  </a:lnTo>
                  <a:lnTo>
                    <a:pt x="541" y="64"/>
                  </a:lnTo>
                  <a:lnTo>
                    <a:pt x="559" y="56"/>
                  </a:lnTo>
                  <a:lnTo>
                    <a:pt x="593" y="42"/>
                  </a:lnTo>
                  <a:lnTo>
                    <a:pt x="623" y="50"/>
                  </a:lnTo>
                  <a:lnTo>
                    <a:pt x="659" y="38"/>
                  </a:lnTo>
                  <a:lnTo>
                    <a:pt x="685" y="18"/>
                  </a:lnTo>
                  <a:lnTo>
                    <a:pt x="710" y="0"/>
                  </a:lnTo>
                  <a:lnTo>
                    <a:pt x="744" y="18"/>
                  </a:lnTo>
                  <a:lnTo>
                    <a:pt x="758" y="46"/>
                  </a:lnTo>
                  <a:lnTo>
                    <a:pt x="766" y="76"/>
                  </a:lnTo>
                  <a:lnTo>
                    <a:pt x="784" y="88"/>
                  </a:lnTo>
                  <a:lnTo>
                    <a:pt x="814" y="80"/>
                  </a:lnTo>
                  <a:lnTo>
                    <a:pt x="856" y="68"/>
                  </a:lnTo>
                  <a:lnTo>
                    <a:pt x="888" y="132"/>
                  </a:lnTo>
                  <a:lnTo>
                    <a:pt x="910" y="118"/>
                  </a:lnTo>
                  <a:lnTo>
                    <a:pt x="952" y="154"/>
                  </a:lnTo>
                  <a:lnTo>
                    <a:pt x="982" y="180"/>
                  </a:lnTo>
                  <a:lnTo>
                    <a:pt x="1000" y="176"/>
                  </a:lnTo>
                  <a:lnTo>
                    <a:pt x="1026" y="168"/>
                  </a:lnTo>
                  <a:lnTo>
                    <a:pt x="1050" y="162"/>
                  </a:lnTo>
                  <a:lnTo>
                    <a:pt x="1064" y="154"/>
                  </a:lnTo>
                  <a:lnTo>
                    <a:pt x="1068" y="106"/>
                  </a:lnTo>
                  <a:lnTo>
                    <a:pt x="1060" y="96"/>
                  </a:lnTo>
                  <a:lnTo>
                    <a:pt x="1050" y="80"/>
                  </a:lnTo>
                  <a:lnTo>
                    <a:pt x="1054" y="68"/>
                  </a:lnTo>
                  <a:lnTo>
                    <a:pt x="1072" y="56"/>
                  </a:lnTo>
                  <a:lnTo>
                    <a:pt x="1098" y="46"/>
                  </a:lnTo>
                  <a:lnTo>
                    <a:pt x="1125" y="38"/>
                  </a:lnTo>
                  <a:lnTo>
                    <a:pt x="1145" y="56"/>
                  </a:lnTo>
                  <a:lnTo>
                    <a:pt x="1167" y="38"/>
                  </a:lnTo>
                  <a:lnTo>
                    <a:pt x="1187" y="22"/>
                  </a:lnTo>
                  <a:lnTo>
                    <a:pt x="1227" y="14"/>
                  </a:lnTo>
                  <a:lnTo>
                    <a:pt x="1257" y="0"/>
                  </a:lnTo>
                  <a:lnTo>
                    <a:pt x="1291" y="46"/>
                  </a:lnTo>
                  <a:lnTo>
                    <a:pt x="1283" y="80"/>
                  </a:lnTo>
                  <a:lnTo>
                    <a:pt x="1317" y="114"/>
                  </a:lnTo>
                  <a:lnTo>
                    <a:pt x="1317" y="132"/>
                  </a:lnTo>
                  <a:lnTo>
                    <a:pt x="1295" y="140"/>
                  </a:lnTo>
                  <a:lnTo>
                    <a:pt x="1275" y="146"/>
                  </a:lnTo>
                  <a:lnTo>
                    <a:pt x="1279" y="184"/>
                  </a:lnTo>
                  <a:lnTo>
                    <a:pt x="1317" y="196"/>
                  </a:lnTo>
                  <a:lnTo>
                    <a:pt x="1331" y="240"/>
                  </a:lnTo>
                  <a:lnTo>
                    <a:pt x="1299" y="280"/>
                  </a:lnTo>
                  <a:lnTo>
                    <a:pt x="1317" y="317"/>
                  </a:lnTo>
                  <a:lnTo>
                    <a:pt x="1325" y="357"/>
                  </a:lnTo>
                  <a:lnTo>
                    <a:pt x="1313" y="371"/>
                  </a:lnTo>
                  <a:lnTo>
                    <a:pt x="1295" y="383"/>
                  </a:lnTo>
                  <a:lnTo>
                    <a:pt x="1291" y="405"/>
                  </a:lnTo>
                  <a:lnTo>
                    <a:pt x="1313" y="439"/>
                  </a:lnTo>
                  <a:lnTo>
                    <a:pt x="1321" y="461"/>
                  </a:lnTo>
                  <a:lnTo>
                    <a:pt x="1321" y="495"/>
                  </a:lnTo>
                  <a:lnTo>
                    <a:pt x="1321" y="525"/>
                  </a:lnTo>
                  <a:lnTo>
                    <a:pt x="1331" y="537"/>
                  </a:lnTo>
                  <a:lnTo>
                    <a:pt x="1339" y="537"/>
                  </a:lnTo>
                  <a:lnTo>
                    <a:pt x="1369" y="525"/>
                  </a:lnTo>
                  <a:lnTo>
                    <a:pt x="1369" y="491"/>
                  </a:lnTo>
                  <a:lnTo>
                    <a:pt x="1383" y="479"/>
                  </a:lnTo>
                  <a:lnTo>
                    <a:pt x="1391" y="465"/>
                  </a:lnTo>
                  <a:lnTo>
                    <a:pt x="1407" y="479"/>
                  </a:lnTo>
                  <a:lnTo>
                    <a:pt x="1411" y="517"/>
                  </a:lnTo>
                  <a:lnTo>
                    <a:pt x="1415" y="537"/>
                  </a:lnTo>
                  <a:lnTo>
                    <a:pt x="1433" y="537"/>
                  </a:lnTo>
                  <a:lnTo>
                    <a:pt x="1459" y="529"/>
                  </a:lnTo>
                  <a:lnTo>
                    <a:pt x="1473" y="513"/>
                  </a:lnTo>
                  <a:lnTo>
                    <a:pt x="1487" y="491"/>
                  </a:lnTo>
                  <a:lnTo>
                    <a:pt x="1487" y="473"/>
                  </a:lnTo>
                  <a:lnTo>
                    <a:pt x="1616" y="473"/>
                  </a:lnTo>
                  <a:lnTo>
                    <a:pt x="1620" y="505"/>
                  </a:lnTo>
                  <a:lnTo>
                    <a:pt x="1624" y="533"/>
                  </a:lnTo>
                  <a:lnTo>
                    <a:pt x="1642" y="547"/>
                  </a:lnTo>
                  <a:lnTo>
                    <a:pt x="1684" y="551"/>
                  </a:lnTo>
                  <a:lnTo>
                    <a:pt x="1690" y="573"/>
                  </a:lnTo>
                  <a:lnTo>
                    <a:pt x="1720" y="591"/>
                  </a:lnTo>
                  <a:lnTo>
                    <a:pt x="1712" y="629"/>
                  </a:lnTo>
                  <a:lnTo>
                    <a:pt x="1706" y="659"/>
                  </a:lnTo>
                  <a:lnTo>
                    <a:pt x="1680" y="690"/>
                  </a:lnTo>
                  <a:lnTo>
                    <a:pt x="1650" y="708"/>
                  </a:lnTo>
                  <a:lnTo>
                    <a:pt x="1650" y="752"/>
                  </a:lnTo>
                  <a:lnTo>
                    <a:pt x="1668" y="792"/>
                  </a:lnTo>
                  <a:lnTo>
                    <a:pt x="1642" y="804"/>
                  </a:lnTo>
                  <a:lnTo>
                    <a:pt x="1632" y="774"/>
                  </a:lnTo>
                  <a:lnTo>
                    <a:pt x="1620" y="814"/>
                  </a:lnTo>
                  <a:lnTo>
                    <a:pt x="1590" y="848"/>
                  </a:lnTo>
                  <a:lnTo>
                    <a:pt x="1616" y="890"/>
                  </a:lnTo>
                  <a:lnTo>
                    <a:pt x="1636" y="926"/>
                  </a:lnTo>
                  <a:lnTo>
                    <a:pt x="1608" y="946"/>
                  </a:lnTo>
                  <a:lnTo>
                    <a:pt x="1568" y="952"/>
                  </a:lnTo>
                  <a:lnTo>
                    <a:pt x="1534" y="946"/>
                  </a:lnTo>
                  <a:lnTo>
                    <a:pt x="1495" y="972"/>
                  </a:lnTo>
                  <a:lnTo>
                    <a:pt x="1473" y="900"/>
                  </a:lnTo>
                  <a:lnTo>
                    <a:pt x="1503" y="868"/>
                  </a:lnTo>
                  <a:lnTo>
                    <a:pt x="1429" y="856"/>
                  </a:lnTo>
                  <a:lnTo>
                    <a:pt x="1391" y="836"/>
                  </a:lnTo>
                  <a:lnTo>
                    <a:pt x="1369" y="844"/>
                  </a:lnTo>
                  <a:lnTo>
                    <a:pt x="1339" y="818"/>
                  </a:lnTo>
                  <a:lnTo>
                    <a:pt x="1331" y="840"/>
                  </a:lnTo>
                  <a:lnTo>
                    <a:pt x="1309" y="852"/>
                  </a:lnTo>
                  <a:lnTo>
                    <a:pt x="1291" y="848"/>
                  </a:lnTo>
                  <a:lnTo>
                    <a:pt x="1271" y="826"/>
                  </a:lnTo>
                  <a:lnTo>
                    <a:pt x="1249" y="836"/>
                  </a:lnTo>
                  <a:lnTo>
                    <a:pt x="1223" y="860"/>
                  </a:lnTo>
                  <a:lnTo>
                    <a:pt x="1197" y="882"/>
                  </a:lnTo>
                  <a:lnTo>
                    <a:pt x="1149" y="904"/>
                  </a:lnTo>
                  <a:lnTo>
                    <a:pt x="1129" y="912"/>
                  </a:lnTo>
                  <a:lnTo>
                    <a:pt x="1098" y="942"/>
                  </a:lnTo>
                  <a:lnTo>
                    <a:pt x="986" y="1038"/>
                  </a:lnTo>
                  <a:lnTo>
                    <a:pt x="982" y="1076"/>
                  </a:lnTo>
                  <a:lnTo>
                    <a:pt x="952" y="1072"/>
                  </a:lnTo>
                  <a:lnTo>
                    <a:pt x="934" y="1115"/>
                  </a:lnTo>
                  <a:lnTo>
                    <a:pt x="884" y="1163"/>
                  </a:lnTo>
                  <a:lnTo>
                    <a:pt x="856" y="1185"/>
                  </a:lnTo>
                  <a:lnTo>
                    <a:pt x="862" y="1197"/>
                  </a:lnTo>
                  <a:lnTo>
                    <a:pt x="866" y="1215"/>
                  </a:lnTo>
                  <a:lnTo>
                    <a:pt x="848" y="1227"/>
                  </a:lnTo>
                  <a:lnTo>
                    <a:pt x="818" y="1249"/>
                  </a:lnTo>
                  <a:lnTo>
                    <a:pt x="802" y="1255"/>
                  </a:lnTo>
                  <a:lnTo>
                    <a:pt x="798" y="1293"/>
                  </a:lnTo>
                  <a:lnTo>
                    <a:pt x="788" y="1335"/>
                  </a:lnTo>
                  <a:lnTo>
                    <a:pt x="766" y="1345"/>
                  </a:lnTo>
                  <a:lnTo>
                    <a:pt x="744" y="1297"/>
                  </a:lnTo>
                  <a:lnTo>
                    <a:pt x="718" y="1275"/>
                  </a:lnTo>
                  <a:lnTo>
                    <a:pt x="689" y="1293"/>
                  </a:lnTo>
                  <a:lnTo>
                    <a:pt x="675" y="1331"/>
                  </a:lnTo>
                  <a:lnTo>
                    <a:pt x="619" y="1335"/>
                  </a:lnTo>
                  <a:lnTo>
                    <a:pt x="589" y="1345"/>
                  </a:lnTo>
                  <a:lnTo>
                    <a:pt x="551" y="1375"/>
                  </a:lnTo>
                  <a:lnTo>
                    <a:pt x="537" y="1357"/>
                  </a:lnTo>
                  <a:lnTo>
                    <a:pt x="529" y="1305"/>
                  </a:lnTo>
                  <a:lnTo>
                    <a:pt x="515" y="1289"/>
                  </a:lnTo>
                  <a:lnTo>
                    <a:pt x="469" y="1317"/>
                  </a:lnTo>
                  <a:lnTo>
                    <a:pt x="433" y="1275"/>
                  </a:lnTo>
                  <a:lnTo>
                    <a:pt x="391" y="1283"/>
                  </a:lnTo>
                  <a:lnTo>
                    <a:pt x="359" y="1271"/>
                  </a:lnTo>
                  <a:lnTo>
                    <a:pt x="329" y="1279"/>
                  </a:lnTo>
                  <a:lnTo>
                    <a:pt x="262" y="1201"/>
                  </a:lnTo>
                  <a:lnTo>
                    <a:pt x="232" y="1201"/>
                  </a:lnTo>
                  <a:lnTo>
                    <a:pt x="184" y="1241"/>
                  </a:lnTo>
                  <a:lnTo>
                    <a:pt x="140" y="1249"/>
                  </a:lnTo>
                  <a:lnTo>
                    <a:pt x="104" y="1301"/>
                  </a:lnTo>
                  <a:lnTo>
                    <a:pt x="68" y="1279"/>
                  </a:lnTo>
                  <a:lnTo>
                    <a:pt x="8" y="1309"/>
                  </a:lnTo>
                  <a:lnTo>
                    <a:pt x="0" y="1263"/>
                  </a:lnTo>
                  <a:lnTo>
                    <a:pt x="68" y="1219"/>
                  </a:lnTo>
                  <a:lnTo>
                    <a:pt x="56" y="1193"/>
                  </a:lnTo>
                  <a:lnTo>
                    <a:pt x="46" y="1167"/>
                  </a:lnTo>
                  <a:lnTo>
                    <a:pt x="82" y="1115"/>
                  </a:lnTo>
                  <a:lnTo>
                    <a:pt x="72" y="1046"/>
                  </a:lnTo>
                  <a:lnTo>
                    <a:pt x="82" y="912"/>
                  </a:lnTo>
                  <a:lnTo>
                    <a:pt x="116" y="864"/>
                  </a:lnTo>
                  <a:lnTo>
                    <a:pt x="168" y="826"/>
                  </a:lnTo>
                  <a:lnTo>
                    <a:pt x="216" y="788"/>
                  </a:lnTo>
                  <a:lnTo>
                    <a:pt x="258" y="752"/>
                  </a:lnTo>
                  <a:lnTo>
                    <a:pt x="280" y="730"/>
                  </a:lnTo>
                  <a:lnTo>
                    <a:pt x="292" y="708"/>
                  </a:lnTo>
                  <a:lnTo>
                    <a:pt x="288" y="671"/>
                  </a:lnTo>
                  <a:lnTo>
                    <a:pt x="266" y="649"/>
                  </a:lnTo>
                  <a:lnTo>
                    <a:pt x="236" y="641"/>
                  </a:lnTo>
                  <a:lnTo>
                    <a:pt x="202" y="641"/>
                  </a:lnTo>
                  <a:lnTo>
                    <a:pt x="194" y="625"/>
                  </a:lnTo>
                  <a:lnTo>
                    <a:pt x="188" y="595"/>
                  </a:lnTo>
                  <a:lnTo>
                    <a:pt x="180" y="551"/>
                  </a:lnTo>
                  <a:lnTo>
                    <a:pt x="154" y="513"/>
                  </a:lnTo>
                  <a:lnTo>
                    <a:pt x="128" y="501"/>
                  </a:lnTo>
                  <a:lnTo>
                    <a:pt x="86" y="491"/>
                  </a:lnTo>
                  <a:lnTo>
                    <a:pt x="56" y="495"/>
                  </a:lnTo>
                  <a:lnTo>
                    <a:pt x="38" y="501"/>
                  </a:lnTo>
                  <a:lnTo>
                    <a:pt x="16" y="491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6387" name="Group 6"/>
          <p:cNvGrpSpPr>
            <a:grpSpLocks/>
          </p:cNvGrpSpPr>
          <p:nvPr/>
        </p:nvGrpSpPr>
        <p:grpSpPr bwMode="auto">
          <a:xfrm>
            <a:off x="750424" y="1115663"/>
            <a:ext cx="7924800" cy="5638800"/>
            <a:chOff x="1200" y="1063"/>
            <a:chExt cx="3761" cy="2681"/>
          </a:xfrm>
        </p:grpSpPr>
        <p:grpSp>
          <p:nvGrpSpPr>
            <p:cNvPr id="16435" name="Group 7"/>
            <p:cNvGrpSpPr>
              <a:grpSpLocks/>
            </p:cNvGrpSpPr>
            <p:nvPr/>
          </p:nvGrpSpPr>
          <p:grpSpPr bwMode="auto">
            <a:xfrm>
              <a:off x="1198" y="3418"/>
              <a:ext cx="844" cy="337"/>
              <a:chOff x="3591" y="3218"/>
              <a:chExt cx="1801" cy="696"/>
            </a:xfrm>
          </p:grpSpPr>
          <p:sp>
            <p:nvSpPr>
              <p:cNvPr id="30" name="Freeform 8"/>
              <p:cNvSpPr>
                <a:spLocks/>
              </p:cNvSpPr>
              <p:nvPr/>
            </p:nvSpPr>
            <p:spPr bwMode="auto">
              <a:xfrm>
                <a:off x="3678" y="3398"/>
                <a:ext cx="96" cy="157"/>
              </a:xfrm>
              <a:custGeom>
                <a:avLst/>
                <a:gdLst/>
                <a:ahLst/>
                <a:cxnLst>
                  <a:cxn ang="0">
                    <a:pos x="96" y="107"/>
                  </a:cxn>
                  <a:cxn ang="0">
                    <a:pos x="86" y="0"/>
                  </a:cxn>
                  <a:cxn ang="0">
                    <a:pos x="24" y="0"/>
                  </a:cxn>
                  <a:cxn ang="0">
                    <a:pos x="0" y="34"/>
                  </a:cxn>
                  <a:cxn ang="0">
                    <a:pos x="38" y="147"/>
                  </a:cxn>
                  <a:cxn ang="0">
                    <a:pos x="68" y="157"/>
                  </a:cxn>
                  <a:cxn ang="0">
                    <a:pos x="96" y="107"/>
                  </a:cxn>
                </a:cxnLst>
                <a:rect l="0" t="0" r="r" b="b"/>
                <a:pathLst>
                  <a:path w="96" h="157">
                    <a:moveTo>
                      <a:pt x="96" y="107"/>
                    </a:moveTo>
                    <a:lnTo>
                      <a:pt x="86" y="0"/>
                    </a:lnTo>
                    <a:lnTo>
                      <a:pt x="24" y="0"/>
                    </a:lnTo>
                    <a:lnTo>
                      <a:pt x="0" y="34"/>
                    </a:lnTo>
                    <a:lnTo>
                      <a:pt x="38" y="147"/>
                    </a:lnTo>
                    <a:lnTo>
                      <a:pt x="68" y="157"/>
                    </a:lnTo>
                    <a:lnTo>
                      <a:pt x="96" y="107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1" name="Freeform 9"/>
              <p:cNvSpPr>
                <a:spLocks/>
              </p:cNvSpPr>
              <p:nvPr/>
            </p:nvSpPr>
            <p:spPr bwMode="auto">
              <a:xfrm>
                <a:off x="5237" y="3218"/>
                <a:ext cx="155" cy="174"/>
              </a:xfrm>
              <a:custGeom>
                <a:avLst/>
                <a:gdLst/>
                <a:ahLst/>
                <a:cxnLst>
                  <a:cxn ang="0">
                    <a:pos x="145" y="96"/>
                  </a:cxn>
                  <a:cxn ang="0">
                    <a:pos x="155" y="0"/>
                  </a:cxn>
                  <a:cxn ang="0">
                    <a:pos x="123" y="8"/>
                  </a:cxn>
                  <a:cxn ang="0">
                    <a:pos x="119" y="42"/>
                  </a:cxn>
                  <a:cxn ang="0">
                    <a:pos x="22" y="68"/>
                  </a:cxn>
                  <a:cxn ang="0">
                    <a:pos x="0" y="164"/>
                  </a:cxn>
                  <a:cxn ang="0">
                    <a:pos x="53" y="174"/>
                  </a:cxn>
                  <a:cxn ang="0">
                    <a:pos x="75" y="130"/>
                  </a:cxn>
                  <a:cxn ang="0">
                    <a:pos x="145" y="96"/>
                  </a:cxn>
                </a:cxnLst>
                <a:rect l="0" t="0" r="r" b="b"/>
                <a:pathLst>
                  <a:path w="155" h="174">
                    <a:moveTo>
                      <a:pt x="145" y="96"/>
                    </a:moveTo>
                    <a:lnTo>
                      <a:pt x="155" y="0"/>
                    </a:lnTo>
                    <a:lnTo>
                      <a:pt x="123" y="8"/>
                    </a:lnTo>
                    <a:lnTo>
                      <a:pt x="119" y="42"/>
                    </a:lnTo>
                    <a:lnTo>
                      <a:pt x="22" y="68"/>
                    </a:lnTo>
                    <a:lnTo>
                      <a:pt x="0" y="164"/>
                    </a:lnTo>
                    <a:lnTo>
                      <a:pt x="53" y="174"/>
                    </a:lnTo>
                    <a:lnTo>
                      <a:pt x="75" y="130"/>
                    </a:lnTo>
                    <a:lnTo>
                      <a:pt x="145" y="96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2" name="Freeform 10"/>
              <p:cNvSpPr>
                <a:spLocks/>
              </p:cNvSpPr>
              <p:nvPr/>
            </p:nvSpPr>
            <p:spPr bwMode="auto">
              <a:xfrm>
                <a:off x="3916" y="3673"/>
                <a:ext cx="96" cy="80"/>
              </a:xfrm>
              <a:custGeom>
                <a:avLst/>
                <a:gdLst/>
                <a:ahLst/>
                <a:cxnLst>
                  <a:cxn ang="0">
                    <a:pos x="96" y="32"/>
                  </a:cxn>
                  <a:cxn ang="0">
                    <a:pos x="34" y="0"/>
                  </a:cxn>
                  <a:cxn ang="0">
                    <a:pos x="0" y="28"/>
                  </a:cxn>
                  <a:cxn ang="0">
                    <a:pos x="28" y="80"/>
                  </a:cxn>
                  <a:cxn ang="0">
                    <a:pos x="78" y="80"/>
                  </a:cxn>
                  <a:cxn ang="0">
                    <a:pos x="96" y="32"/>
                  </a:cxn>
                </a:cxnLst>
                <a:rect l="0" t="0" r="r" b="b"/>
                <a:pathLst>
                  <a:path w="96" h="80">
                    <a:moveTo>
                      <a:pt x="96" y="32"/>
                    </a:moveTo>
                    <a:lnTo>
                      <a:pt x="34" y="0"/>
                    </a:lnTo>
                    <a:lnTo>
                      <a:pt x="0" y="28"/>
                    </a:lnTo>
                    <a:lnTo>
                      <a:pt x="28" y="80"/>
                    </a:lnTo>
                    <a:lnTo>
                      <a:pt x="78" y="80"/>
                    </a:lnTo>
                    <a:lnTo>
                      <a:pt x="96" y="32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3" name="Freeform 11"/>
              <p:cNvSpPr>
                <a:spLocks/>
              </p:cNvSpPr>
              <p:nvPr/>
            </p:nvSpPr>
            <p:spPr bwMode="auto">
              <a:xfrm>
                <a:off x="3591" y="3825"/>
                <a:ext cx="123" cy="89"/>
              </a:xfrm>
              <a:custGeom>
                <a:avLst/>
                <a:gdLst/>
                <a:ahLst/>
                <a:cxnLst>
                  <a:cxn ang="0">
                    <a:pos x="77" y="89"/>
                  </a:cxn>
                  <a:cxn ang="0">
                    <a:pos x="123" y="7"/>
                  </a:cxn>
                  <a:cxn ang="0">
                    <a:pos x="81" y="0"/>
                  </a:cxn>
                  <a:cxn ang="0">
                    <a:pos x="57" y="27"/>
                  </a:cxn>
                  <a:cxn ang="0">
                    <a:pos x="16" y="27"/>
                  </a:cxn>
                  <a:cxn ang="0">
                    <a:pos x="0" y="53"/>
                  </a:cxn>
                  <a:cxn ang="0">
                    <a:pos x="77" y="89"/>
                  </a:cxn>
                </a:cxnLst>
                <a:rect l="0" t="0" r="r" b="b"/>
                <a:pathLst>
                  <a:path w="123" h="89">
                    <a:moveTo>
                      <a:pt x="77" y="89"/>
                    </a:moveTo>
                    <a:lnTo>
                      <a:pt x="123" y="7"/>
                    </a:lnTo>
                    <a:lnTo>
                      <a:pt x="81" y="0"/>
                    </a:lnTo>
                    <a:lnTo>
                      <a:pt x="57" y="27"/>
                    </a:lnTo>
                    <a:lnTo>
                      <a:pt x="16" y="27"/>
                    </a:lnTo>
                    <a:lnTo>
                      <a:pt x="0" y="53"/>
                    </a:lnTo>
                    <a:lnTo>
                      <a:pt x="77" y="8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4" name="Freeform 12"/>
              <p:cNvSpPr>
                <a:spLocks/>
              </p:cNvSpPr>
              <p:nvPr/>
            </p:nvSpPr>
            <p:spPr bwMode="auto">
              <a:xfrm>
                <a:off x="4502" y="3691"/>
                <a:ext cx="172" cy="183"/>
              </a:xfrm>
              <a:custGeom>
                <a:avLst/>
                <a:gdLst/>
                <a:ahLst/>
                <a:cxnLst>
                  <a:cxn ang="0">
                    <a:pos x="172" y="151"/>
                  </a:cxn>
                  <a:cxn ang="0">
                    <a:pos x="158" y="22"/>
                  </a:cxn>
                  <a:cxn ang="0">
                    <a:pos x="46" y="0"/>
                  </a:cxn>
                  <a:cxn ang="0">
                    <a:pos x="36" y="54"/>
                  </a:cxn>
                  <a:cxn ang="0">
                    <a:pos x="0" y="68"/>
                  </a:cxn>
                  <a:cxn ang="0">
                    <a:pos x="14" y="157"/>
                  </a:cxn>
                  <a:cxn ang="0">
                    <a:pos x="84" y="183"/>
                  </a:cxn>
                  <a:cxn ang="0">
                    <a:pos x="172" y="151"/>
                  </a:cxn>
                </a:cxnLst>
                <a:rect l="0" t="0" r="r" b="b"/>
                <a:pathLst>
                  <a:path w="172" h="183">
                    <a:moveTo>
                      <a:pt x="172" y="151"/>
                    </a:moveTo>
                    <a:lnTo>
                      <a:pt x="158" y="22"/>
                    </a:lnTo>
                    <a:lnTo>
                      <a:pt x="46" y="0"/>
                    </a:lnTo>
                    <a:lnTo>
                      <a:pt x="36" y="54"/>
                    </a:lnTo>
                    <a:lnTo>
                      <a:pt x="0" y="68"/>
                    </a:lnTo>
                    <a:lnTo>
                      <a:pt x="14" y="157"/>
                    </a:lnTo>
                    <a:lnTo>
                      <a:pt x="84" y="183"/>
                    </a:lnTo>
                    <a:lnTo>
                      <a:pt x="172" y="15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5" name="Freeform 13"/>
              <p:cNvSpPr>
                <a:spLocks/>
              </p:cNvSpPr>
              <p:nvPr/>
            </p:nvSpPr>
            <p:spPr bwMode="auto">
              <a:xfrm>
                <a:off x="4083" y="3533"/>
                <a:ext cx="264" cy="232"/>
              </a:xfrm>
              <a:custGeom>
                <a:avLst/>
                <a:gdLst/>
                <a:ahLst/>
                <a:cxnLst>
                  <a:cxn ang="0">
                    <a:pos x="142" y="222"/>
                  </a:cxn>
                  <a:cxn ang="0">
                    <a:pos x="190" y="164"/>
                  </a:cxn>
                  <a:cxn ang="0">
                    <a:pos x="216" y="78"/>
                  </a:cxn>
                  <a:cxn ang="0">
                    <a:pos x="264" y="20"/>
                  </a:cxn>
                  <a:cxn ang="0">
                    <a:pos x="220" y="0"/>
                  </a:cxn>
                  <a:cxn ang="0">
                    <a:pos x="162" y="50"/>
                  </a:cxn>
                  <a:cxn ang="0">
                    <a:pos x="0" y="84"/>
                  </a:cxn>
                  <a:cxn ang="0">
                    <a:pos x="78" y="232"/>
                  </a:cxn>
                  <a:cxn ang="0">
                    <a:pos x="142" y="222"/>
                  </a:cxn>
                </a:cxnLst>
                <a:rect l="0" t="0" r="r" b="b"/>
                <a:pathLst>
                  <a:path w="264" h="232">
                    <a:moveTo>
                      <a:pt x="142" y="222"/>
                    </a:moveTo>
                    <a:lnTo>
                      <a:pt x="190" y="164"/>
                    </a:lnTo>
                    <a:lnTo>
                      <a:pt x="216" y="78"/>
                    </a:lnTo>
                    <a:lnTo>
                      <a:pt x="264" y="20"/>
                    </a:lnTo>
                    <a:lnTo>
                      <a:pt x="220" y="0"/>
                    </a:lnTo>
                    <a:lnTo>
                      <a:pt x="162" y="50"/>
                    </a:lnTo>
                    <a:lnTo>
                      <a:pt x="0" y="84"/>
                    </a:lnTo>
                    <a:lnTo>
                      <a:pt x="78" y="232"/>
                    </a:lnTo>
                    <a:lnTo>
                      <a:pt x="142" y="222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36" name="Freeform 14"/>
              <p:cNvSpPr>
                <a:spLocks/>
              </p:cNvSpPr>
              <p:nvPr/>
            </p:nvSpPr>
            <p:spPr bwMode="auto">
              <a:xfrm>
                <a:off x="5007" y="3428"/>
                <a:ext cx="252" cy="313"/>
              </a:xfrm>
              <a:custGeom>
                <a:avLst/>
                <a:gdLst/>
                <a:ahLst/>
                <a:cxnLst>
                  <a:cxn ang="0">
                    <a:pos x="214" y="239"/>
                  </a:cxn>
                  <a:cxn ang="0">
                    <a:pos x="252" y="101"/>
                  </a:cxn>
                  <a:cxn ang="0">
                    <a:pos x="238" y="0"/>
                  </a:cxn>
                  <a:cxn ang="0">
                    <a:pos x="190" y="4"/>
                  </a:cxn>
                  <a:cxn ang="0">
                    <a:pos x="130" y="131"/>
                  </a:cxn>
                  <a:cxn ang="0">
                    <a:pos x="102" y="233"/>
                  </a:cxn>
                  <a:cxn ang="0">
                    <a:pos x="68" y="275"/>
                  </a:cxn>
                  <a:cxn ang="0">
                    <a:pos x="0" y="299"/>
                  </a:cxn>
                  <a:cxn ang="0">
                    <a:pos x="72" y="313"/>
                  </a:cxn>
                  <a:cxn ang="0">
                    <a:pos x="130" y="245"/>
                  </a:cxn>
                  <a:cxn ang="0">
                    <a:pos x="214" y="239"/>
                  </a:cxn>
                </a:cxnLst>
                <a:rect l="0" t="0" r="r" b="b"/>
                <a:pathLst>
                  <a:path w="252" h="313">
                    <a:moveTo>
                      <a:pt x="214" y="239"/>
                    </a:moveTo>
                    <a:lnTo>
                      <a:pt x="252" y="101"/>
                    </a:lnTo>
                    <a:lnTo>
                      <a:pt x="238" y="0"/>
                    </a:lnTo>
                    <a:lnTo>
                      <a:pt x="190" y="4"/>
                    </a:lnTo>
                    <a:lnTo>
                      <a:pt x="130" y="131"/>
                    </a:lnTo>
                    <a:lnTo>
                      <a:pt x="102" y="233"/>
                    </a:lnTo>
                    <a:lnTo>
                      <a:pt x="68" y="275"/>
                    </a:lnTo>
                    <a:lnTo>
                      <a:pt x="0" y="299"/>
                    </a:lnTo>
                    <a:lnTo>
                      <a:pt x="72" y="313"/>
                    </a:lnTo>
                    <a:lnTo>
                      <a:pt x="130" y="245"/>
                    </a:lnTo>
                    <a:lnTo>
                      <a:pt x="214" y="23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6436" name="Line 15"/>
            <p:cNvSpPr>
              <a:spLocks noChangeShapeType="1"/>
            </p:cNvSpPr>
            <p:nvPr/>
          </p:nvSpPr>
          <p:spPr bwMode="auto">
            <a:xfrm>
              <a:off x="2317" y="3518"/>
              <a:ext cx="1" cy="1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prstDash val="lgDashDotDot"/>
              <a:round/>
              <a:headEnd/>
              <a:tailEnd/>
            </a:ln>
          </p:spPr>
          <p:txBody>
            <a:bodyPr/>
            <a:lstStyle/>
            <a:p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437" name="Line 16"/>
            <p:cNvSpPr>
              <a:spLocks noChangeShapeType="1"/>
            </p:cNvSpPr>
            <p:nvPr/>
          </p:nvSpPr>
          <p:spPr bwMode="auto">
            <a:xfrm>
              <a:off x="3410" y="3641"/>
              <a:ext cx="1" cy="0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prstDash val="lgDashDotDot"/>
              <a:round/>
              <a:headEnd/>
              <a:tailEnd/>
            </a:ln>
          </p:spPr>
          <p:txBody>
            <a:bodyPr/>
            <a:lstStyle/>
            <a:p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" name="Freeform 17"/>
            <p:cNvSpPr>
              <a:spLocks/>
            </p:cNvSpPr>
            <p:nvPr/>
          </p:nvSpPr>
          <p:spPr bwMode="auto">
            <a:xfrm>
              <a:off x="2771" y="1917"/>
              <a:ext cx="371" cy="375"/>
            </a:xfrm>
            <a:custGeom>
              <a:avLst/>
              <a:gdLst/>
              <a:ahLst/>
              <a:cxnLst>
                <a:cxn ang="0">
                  <a:pos x="0" y="423"/>
                </a:cxn>
                <a:cxn ang="0">
                  <a:pos x="8" y="351"/>
                </a:cxn>
                <a:cxn ang="0">
                  <a:pos x="72" y="307"/>
                </a:cxn>
                <a:cxn ang="0">
                  <a:pos x="64" y="277"/>
                </a:cxn>
                <a:cxn ang="0">
                  <a:pos x="140" y="207"/>
                </a:cxn>
                <a:cxn ang="0">
                  <a:pos x="154" y="164"/>
                </a:cxn>
                <a:cxn ang="0">
                  <a:pos x="190" y="164"/>
                </a:cxn>
                <a:cxn ang="0">
                  <a:pos x="194" y="138"/>
                </a:cxn>
                <a:cxn ang="0">
                  <a:pos x="292" y="40"/>
                </a:cxn>
                <a:cxn ang="0">
                  <a:pos x="339" y="0"/>
                </a:cxn>
                <a:cxn ang="0">
                  <a:pos x="391" y="52"/>
                </a:cxn>
                <a:cxn ang="0">
                  <a:pos x="381" y="82"/>
                </a:cxn>
                <a:cxn ang="0">
                  <a:pos x="373" y="108"/>
                </a:cxn>
                <a:cxn ang="0">
                  <a:pos x="413" y="243"/>
                </a:cxn>
                <a:cxn ang="0">
                  <a:pos x="443" y="251"/>
                </a:cxn>
                <a:cxn ang="0">
                  <a:pos x="473" y="397"/>
                </a:cxn>
                <a:cxn ang="0">
                  <a:pos x="507" y="423"/>
                </a:cxn>
                <a:cxn ang="0">
                  <a:pos x="507" y="449"/>
                </a:cxn>
                <a:cxn ang="0">
                  <a:pos x="463" y="463"/>
                </a:cxn>
                <a:cxn ang="0">
                  <a:pos x="473" y="487"/>
                </a:cxn>
                <a:cxn ang="0">
                  <a:pos x="409" y="463"/>
                </a:cxn>
                <a:cxn ang="0">
                  <a:pos x="314" y="537"/>
                </a:cxn>
                <a:cxn ang="0">
                  <a:pos x="302" y="509"/>
                </a:cxn>
                <a:cxn ang="0">
                  <a:pos x="329" y="479"/>
                </a:cxn>
                <a:cxn ang="0">
                  <a:pos x="325" y="449"/>
                </a:cxn>
                <a:cxn ang="0">
                  <a:pos x="228" y="435"/>
                </a:cxn>
                <a:cxn ang="0">
                  <a:pos x="136" y="377"/>
                </a:cxn>
                <a:cxn ang="0">
                  <a:pos x="78" y="409"/>
                </a:cxn>
                <a:cxn ang="0">
                  <a:pos x="0" y="423"/>
                </a:cxn>
              </a:cxnLst>
              <a:rect l="0" t="0" r="r" b="b"/>
              <a:pathLst>
                <a:path w="507" h="537">
                  <a:moveTo>
                    <a:pt x="0" y="423"/>
                  </a:moveTo>
                  <a:lnTo>
                    <a:pt x="8" y="351"/>
                  </a:lnTo>
                  <a:lnTo>
                    <a:pt x="72" y="307"/>
                  </a:lnTo>
                  <a:lnTo>
                    <a:pt x="64" y="277"/>
                  </a:lnTo>
                  <a:lnTo>
                    <a:pt x="140" y="207"/>
                  </a:lnTo>
                  <a:lnTo>
                    <a:pt x="154" y="164"/>
                  </a:lnTo>
                  <a:lnTo>
                    <a:pt x="190" y="164"/>
                  </a:lnTo>
                  <a:lnTo>
                    <a:pt x="194" y="138"/>
                  </a:lnTo>
                  <a:lnTo>
                    <a:pt x="292" y="40"/>
                  </a:lnTo>
                  <a:lnTo>
                    <a:pt x="339" y="0"/>
                  </a:lnTo>
                  <a:lnTo>
                    <a:pt x="391" y="52"/>
                  </a:lnTo>
                  <a:lnTo>
                    <a:pt x="381" y="82"/>
                  </a:lnTo>
                  <a:lnTo>
                    <a:pt x="373" y="108"/>
                  </a:lnTo>
                  <a:lnTo>
                    <a:pt x="413" y="243"/>
                  </a:lnTo>
                  <a:lnTo>
                    <a:pt x="443" y="251"/>
                  </a:lnTo>
                  <a:lnTo>
                    <a:pt x="473" y="397"/>
                  </a:lnTo>
                  <a:lnTo>
                    <a:pt x="507" y="423"/>
                  </a:lnTo>
                  <a:lnTo>
                    <a:pt x="507" y="449"/>
                  </a:lnTo>
                  <a:lnTo>
                    <a:pt x="463" y="463"/>
                  </a:lnTo>
                  <a:lnTo>
                    <a:pt x="473" y="487"/>
                  </a:lnTo>
                  <a:lnTo>
                    <a:pt x="409" y="463"/>
                  </a:lnTo>
                  <a:lnTo>
                    <a:pt x="314" y="537"/>
                  </a:lnTo>
                  <a:lnTo>
                    <a:pt x="302" y="509"/>
                  </a:lnTo>
                  <a:lnTo>
                    <a:pt x="329" y="479"/>
                  </a:lnTo>
                  <a:lnTo>
                    <a:pt x="325" y="449"/>
                  </a:lnTo>
                  <a:lnTo>
                    <a:pt x="228" y="435"/>
                  </a:lnTo>
                  <a:lnTo>
                    <a:pt x="136" y="377"/>
                  </a:lnTo>
                  <a:lnTo>
                    <a:pt x="78" y="409"/>
                  </a:lnTo>
                  <a:lnTo>
                    <a:pt x="0" y="423"/>
                  </a:lnTo>
                  <a:close/>
                </a:path>
              </a:pathLst>
            </a:custGeom>
            <a:solidFill>
              <a:schemeClr val="accent4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" name="Freeform 18"/>
            <p:cNvSpPr>
              <a:spLocks/>
            </p:cNvSpPr>
            <p:nvPr/>
          </p:nvSpPr>
          <p:spPr bwMode="auto">
            <a:xfrm>
              <a:off x="2010" y="2121"/>
              <a:ext cx="739" cy="773"/>
            </a:xfrm>
            <a:custGeom>
              <a:avLst/>
              <a:gdLst/>
              <a:ahLst/>
              <a:cxnLst>
                <a:cxn ang="0">
                  <a:pos x="313" y="74"/>
                </a:cxn>
                <a:cxn ang="0">
                  <a:pos x="355" y="92"/>
                </a:cxn>
                <a:cxn ang="0">
                  <a:pos x="429" y="36"/>
                </a:cxn>
                <a:cxn ang="0">
                  <a:pos x="507" y="0"/>
                </a:cxn>
                <a:cxn ang="0">
                  <a:pos x="612" y="66"/>
                </a:cxn>
                <a:cxn ang="0">
                  <a:pos x="674" y="74"/>
                </a:cxn>
                <a:cxn ang="0">
                  <a:pos x="760" y="88"/>
                </a:cxn>
                <a:cxn ang="0">
                  <a:pos x="782" y="156"/>
                </a:cxn>
                <a:cxn ang="0">
                  <a:pos x="760" y="212"/>
                </a:cxn>
                <a:cxn ang="0">
                  <a:pos x="846" y="315"/>
                </a:cxn>
                <a:cxn ang="0">
                  <a:pos x="828" y="357"/>
                </a:cxn>
                <a:cxn ang="0">
                  <a:pos x="876" y="417"/>
                </a:cxn>
                <a:cxn ang="0">
                  <a:pos x="924" y="479"/>
                </a:cxn>
                <a:cxn ang="0">
                  <a:pos x="1007" y="483"/>
                </a:cxn>
                <a:cxn ang="0">
                  <a:pos x="993" y="547"/>
                </a:cxn>
                <a:cxn ang="0">
                  <a:pos x="898" y="595"/>
                </a:cxn>
                <a:cxn ang="0">
                  <a:pos x="910" y="667"/>
                </a:cxn>
                <a:cxn ang="0">
                  <a:pos x="876" y="734"/>
                </a:cxn>
                <a:cxn ang="0">
                  <a:pos x="816" y="754"/>
                </a:cxn>
                <a:cxn ang="0">
                  <a:pos x="798" y="798"/>
                </a:cxn>
                <a:cxn ang="0">
                  <a:pos x="682" y="876"/>
                </a:cxn>
                <a:cxn ang="0">
                  <a:pos x="694" y="968"/>
                </a:cxn>
                <a:cxn ang="0">
                  <a:pos x="612" y="972"/>
                </a:cxn>
                <a:cxn ang="0">
                  <a:pos x="546" y="1028"/>
                </a:cxn>
                <a:cxn ang="0">
                  <a:pos x="542" y="1089"/>
                </a:cxn>
                <a:cxn ang="0">
                  <a:pos x="489" y="1099"/>
                </a:cxn>
                <a:cxn ang="0">
                  <a:pos x="389" y="1064"/>
                </a:cxn>
                <a:cxn ang="0">
                  <a:pos x="231" y="964"/>
                </a:cxn>
                <a:cxn ang="0">
                  <a:pos x="157" y="964"/>
                </a:cxn>
                <a:cxn ang="0">
                  <a:pos x="139" y="956"/>
                </a:cxn>
                <a:cxn ang="0">
                  <a:pos x="116" y="918"/>
                </a:cxn>
                <a:cxn ang="0">
                  <a:pos x="66" y="862"/>
                </a:cxn>
                <a:cxn ang="0">
                  <a:pos x="36" y="806"/>
                </a:cxn>
                <a:cxn ang="0">
                  <a:pos x="78" y="730"/>
                </a:cxn>
                <a:cxn ang="0">
                  <a:pos x="130" y="655"/>
                </a:cxn>
                <a:cxn ang="0">
                  <a:pos x="161" y="617"/>
                </a:cxn>
                <a:cxn ang="0">
                  <a:pos x="153" y="551"/>
                </a:cxn>
                <a:cxn ang="0">
                  <a:pos x="108" y="521"/>
                </a:cxn>
                <a:cxn ang="0">
                  <a:pos x="104" y="457"/>
                </a:cxn>
                <a:cxn ang="0">
                  <a:pos x="66" y="397"/>
                </a:cxn>
                <a:cxn ang="0">
                  <a:pos x="36" y="345"/>
                </a:cxn>
                <a:cxn ang="0">
                  <a:pos x="0" y="301"/>
                </a:cxn>
                <a:cxn ang="0">
                  <a:pos x="201" y="240"/>
                </a:cxn>
                <a:cxn ang="0">
                  <a:pos x="239" y="224"/>
                </a:cxn>
                <a:cxn ang="0">
                  <a:pos x="265" y="156"/>
                </a:cxn>
              </a:cxnLst>
              <a:rect l="0" t="0" r="r" b="b"/>
              <a:pathLst>
                <a:path w="1007" h="1107">
                  <a:moveTo>
                    <a:pt x="251" y="104"/>
                  </a:moveTo>
                  <a:lnTo>
                    <a:pt x="313" y="74"/>
                  </a:lnTo>
                  <a:lnTo>
                    <a:pt x="347" y="100"/>
                  </a:lnTo>
                  <a:lnTo>
                    <a:pt x="355" y="92"/>
                  </a:lnTo>
                  <a:lnTo>
                    <a:pt x="381" y="48"/>
                  </a:lnTo>
                  <a:lnTo>
                    <a:pt x="429" y="36"/>
                  </a:lnTo>
                  <a:lnTo>
                    <a:pt x="475" y="0"/>
                  </a:lnTo>
                  <a:lnTo>
                    <a:pt x="507" y="0"/>
                  </a:lnTo>
                  <a:lnTo>
                    <a:pt x="572" y="74"/>
                  </a:lnTo>
                  <a:lnTo>
                    <a:pt x="612" y="66"/>
                  </a:lnTo>
                  <a:lnTo>
                    <a:pt x="640" y="84"/>
                  </a:lnTo>
                  <a:lnTo>
                    <a:pt x="674" y="74"/>
                  </a:lnTo>
                  <a:lnTo>
                    <a:pt x="712" y="112"/>
                  </a:lnTo>
                  <a:lnTo>
                    <a:pt x="760" y="88"/>
                  </a:lnTo>
                  <a:lnTo>
                    <a:pt x="778" y="100"/>
                  </a:lnTo>
                  <a:lnTo>
                    <a:pt x="782" y="156"/>
                  </a:lnTo>
                  <a:lnTo>
                    <a:pt x="794" y="178"/>
                  </a:lnTo>
                  <a:lnTo>
                    <a:pt x="760" y="212"/>
                  </a:lnTo>
                  <a:lnTo>
                    <a:pt x="764" y="236"/>
                  </a:lnTo>
                  <a:lnTo>
                    <a:pt x="846" y="315"/>
                  </a:lnTo>
                  <a:lnTo>
                    <a:pt x="858" y="327"/>
                  </a:lnTo>
                  <a:lnTo>
                    <a:pt x="828" y="357"/>
                  </a:lnTo>
                  <a:lnTo>
                    <a:pt x="846" y="389"/>
                  </a:lnTo>
                  <a:lnTo>
                    <a:pt x="876" y="417"/>
                  </a:lnTo>
                  <a:lnTo>
                    <a:pt x="894" y="479"/>
                  </a:lnTo>
                  <a:lnTo>
                    <a:pt x="924" y="479"/>
                  </a:lnTo>
                  <a:lnTo>
                    <a:pt x="989" y="465"/>
                  </a:lnTo>
                  <a:lnTo>
                    <a:pt x="1007" y="483"/>
                  </a:lnTo>
                  <a:lnTo>
                    <a:pt x="1003" y="529"/>
                  </a:lnTo>
                  <a:lnTo>
                    <a:pt x="993" y="547"/>
                  </a:lnTo>
                  <a:lnTo>
                    <a:pt x="949" y="559"/>
                  </a:lnTo>
                  <a:lnTo>
                    <a:pt x="898" y="595"/>
                  </a:lnTo>
                  <a:lnTo>
                    <a:pt x="898" y="633"/>
                  </a:lnTo>
                  <a:lnTo>
                    <a:pt x="910" y="667"/>
                  </a:lnTo>
                  <a:lnTo>
                    <a:pt x="876" y="712"/>
                  </a:lnTo>
                  <a:lnTo>
                    <a:pt x="876" y="734"/>
                  </a:lnTo>
                  <a:lnTo>
                    <a:pt x="854" y="758"/>
                  </a:lnTo>
                  <a:lnTo>
                    <a:pt x="816" y="754"/>
                  </a:lnTo>
                  <a:lnTo>
                    <a:pt x="798" y="772"/>
                  </a:lnTo>
                  <a:lnTo>
                    <a:pt x="798" y="798"/>
                  </a:lnTo>
                  <a:lnTo>
                    <a:pt x="730" y="824"/>
                  </a:lnTo>
                  <a:lnTo>
                    <a:pt x="682" y="876"/>
                  </a:lnTo>
                  <a:lnTo>
                    <a:pt x="678" y="906"/>
                  </a:lnTo>
                  <a:lnTo>
                    <a:pt x="694" y="968"/>
                  </a:lnTo>
                  <a:lnTo>
                    <a:pt x="656" y="1008"/>
                  </a:lnTo>
                  <a:lnTo>
                    <a:pt x="612" y="972"/>
                  </a:lnTo>
                  <a:lnTo>
                    <a:pt x="596" y="972"/>
                  </a:lnTo>
                  <a:lnTo>
                    <a:pt x="546" y="1028"/>
                  </a:lnTo>
                  <a:lnTo>
                    <a:pt x="556" y="1069"/>
                  </a:lnTo>
                  <a:lnTo>
                    <a:pt x="542" y="1089"/>
                  </a:lnTo>
                  <a:lnTo>
                    <a:pt x="511" y="1077"/>
                  </a:lnTo>
                  <a:lnTo>
                    <a:pt x="489" y="1099"/>
                  </a:lnTo>
                  <a:lnTo>
                    <a:pt x="475" y="1107"/>
                  </a:lnTo>
                  <a:lnTo>
                    <a:pt x="389" y="1064"/>
                  </a:lnTo>
                  <a:lnTo>
                    <a:pt x="265" y="1020"/>
                  </a:lnTo>
                  <a:lnTo>
                    <a:pt x="231" y="964"/>
                  </a:lnTo>
                  <a:lnTo>
                    <a:pt x="179" y="990"/>
                  </a:lnTo>
                  <a:lnTo>
                    <a:pt x="157" y="964"/>
                  </a:lnTo>
                  <a:lnTo>
                    <a:pt x="130" y="972"/>
                  </a:lnTo>
                  <a:lnTo>
                    <a:pt x="139" y="956"/>
                  </a:lnTo>
                  <a:lnTo>
                    <a:pt x="122" y="930"/>
                  </a:lnTo>
                  <a:lnTo>
                    <a:pt x="116" y="918"/>
                  </a:lnTo>
                  <a:lnTo>
                    <a:pt x="66" y="876"/>
                  </a:lnTo>
                  <a:lnTo>
                    <a:pt x="66" y="862"/>
                  </a:lnTo>
                  <a:lnTo>
                    <a:pt x="36" y="834"/>
                  </a:lnTo>
                  <a:lnTo>
                    <a:pt x="36" y="806"/>
                  </a:lnTo>
                  <a:lnTo>
                    <a:pt x="58" y="764"/>
                  </a:lnTo>
                  <a:lnTo>
                    <a:pt x="78" y="730"/>
                  </a:lnTo>
                  <a:lnTo>
                    <a:pt x="78" y="700"/>
                  </a:lnTo>
                  <a:lnTo>
                    <a:pt x="130" y="655"/>
                  </a:lnTo>
                  <a:lnTo>
                    <a:pt x="153" y="645"/>
                  </a:lnTo>
                  <a:lnTo>
                    <a:pt x="161" y="617"/>
                  </a:lnTo>
                  <a:lnTo>
                    <a:pt x="171" y="563"/>
                  </a:lnTo>
                  <a:lnTo>
                    <a:pt x="153" y="551"/>
                  </a:lnTo>
                  <a:lnTo>
                    <a:pt x="126" y="555"/>
                  </a:lnTo>
                  <a:lnTo>
                    <a:pt x="108" y="521"/>
                  </a:lnTo>
                  <a:lnTo>
                    <a:pt x="104" y="469"/>
                  </a:lnTo>
                  <a:lnTo>
                    <a:pt x="104" y="457"/>
                  </a:lnTo>
                  <a:lnTo>
                    <a:pt x="70" y="435"/>
                  </a:lnTo>
                  <a:lnTo>
                    <a:pt x="66" y="397"/>
                  </a:lnTo>
                  <a:lnTo>
                    <a:pt x="52" y="375"/>
                  </a:lnTo>
                  <a:lnTo>
                    <a:pt x="36" y="345"/>
                  </a:lnTo>
                  <a:lnTo>
                    <a:pt x="0" y="311"/>
                  </a:lnTo>
                  <a:lnTo>
                    <a:pt x="0" y="301"/>
                  </a:lnTo>
                  <a:lnTo>
                    <a:pt x="153" y="301"/>
                  </a:lnTo>
                  <a:lnTo>
                    <a:pt x="201" y="240"/>
                  </a:lnTo>
                  <a:lnTo>
                    <a:pt x="231" y="244"/>
                  </a:lnTo>
                  <a:lnTo>
                    <a:pt x="239" y="224"/>
                  </a:lnTo>
                  <a:lnTo>
                    <a:pt x="251" y="186"/>
                  </a:lnTo>
                  <a:lnTo>
                    <a:pt x="265" y="156"/>
                  </a:lnTo>
                  <a:lnTo>
                    <a:pt x="251" y="104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" name="Freeform 19"/>
            <p:cNvSpPr>
              <a:spLocks/>
            </p:cNvSpPr>
            <p:nvPr/>
          </p:nvSpPr>
          <p:spPr bwMode="auto">
            <a:xfrm>
              <a:off x="2563" y="1857"/>
              <a:ext cx="1138" cy="1025"/>
            </a:xfrm>
            <a:custGeom>
              <a:avLst/>
              <a:gdLst/>
              <a:ahLst/>
              <a:cxnLst>
                <a:cxn ang="0">
                  <a:pos x="126" y="505"/>
                </a:cxn>
                <a:cxn ang="0">
                  <a:pos x="217" y="453"/>
                </a:cxn>
                <a:cxn ang="0">
                  <a:pos x="283" y="509"/>
                </a:cxn>
                <a:cxn ang="0">
                  <a:pos x="507" y="517"/>
                </a:cxn>
                <a:cxn ang="0">
                  <a:pos x="606" y="565"/>
                </a:cxn>
                <a:cxn ang="0">
                  <a:pos x="686" y="549"/>
                </a:cxn>
                <a:cxn ang="0">
                  <a:pos x="784" y="535"/>
                </a:cxn>
                <a:cxn ang="0">
                  <a:pos x="720" y="341"/>
                </a:cxn>
                <a:cxn ang="0">
                  <a:pos x="652" y="190"/>
                </a:cxn>
                <a:cxn ang="0">
                  <a:pos x="682" y="60"/>
                </a:cxn>
                <a:cxn ang="0">
                  <a:pos x="776" y="26"/>
                </a:cxn>
                <a:cxn ang="0">
                  <a:pos x="850" y="22"/>
                </a:cxn>
                <a:cxn ang="0">
                  <a:pos x="992" y="46"/>
                </a:cxn>
                <a:cxn ang="0">
                  <a:pos x="1015" y="130"/>
                </a:cxn>
                <a:cxn ang="0">
                  <a:pos x="1159" y="72"/>
                </a:cxn>
                <a:cxn ang="0">
                  <a:pos x="1287" y="285"/>
                </a:cxn>
                <a:cxn ang="0">
                  <a:pos x="1299" y="329"/>
                </a:cxn>
                <a:cxn ang="0">
                  <a:pos x="1255" y="333"/>
                </a:cxn>
                <a:cxn ang="0">
                  <a:pos x="1225" y="389"/>
                </a:cxn>
                <a:cxn ang="0">
                  <a:pos x="1255" y="497"/>
                </a:cxn>
                <a:cxn ang="0">
                  <a:pos x="1383" y="573"/>
                </a:cxn>
                <a:cxn ang="0">
                  <a:pos x="1440" y="672"/>
                </a:cxn>
                <a:cxn ang="0">
                  <a:pos x="1401" y="740"/>
                </a:cxn>
                <a:cxn ang="0">
                  <a:pos x="1369" y="866"/>
                </a:cxn>
                <a:cxn ang="0">
                  <a:pos x="1458" y="914"/>
                </a:cxn>
                <a:cxn ang="0">
                  <a:pos x="1450" y="1042"/>
                </a:cxn>
                <a:cxn ang="0">
                  <a:pos x="1552" y="1117"/>
                </a:cxn>
                <a:cxn ang="0">
                  <a:pos x="1514" y="1181"/>
                </a:cxn>
                <a:cxn ang="0">
                  <a:pos x="1436" y="1167"/>
                </a:cxn>
                <a:cxn ang="0">
                  <a:pos x="1385" y="1163"/>
                </a:cxn>
                <a:cxn ang="0">
                  <a:pos x="1347" y="1275"/>
                </a:cxn>
                <a:cxn ang="0">
                  <a:pos x="1283" y="1305"/>
                </a:cxn>
                <a:cxn ang="0">
                  <a:pos x="1229" y="1343"/>
                </a:cxn>
                <a:cxn ang="0">
                  <a:pos x="1109" y="1403"/>
                </a:cxn>
                <a:cxn ang="0">
                  <a:pos x="988" y="1443"/>
                </a:cxn>
                <a:cxn ang="0">
                  <a:pos x="950" y="1267"/>
                </a:cxn>
                <a:cxn ang="0">
                  <a:pos x="868" y="1275"/>
                </a:cxn>
                <a:cxn ang="0">
                  <a:pos x="780" y="1275"/>
                </a:cxn>
                <a:cxn ang="0">
                  <a:pos x="652" y="1301"/>
                </a:cxn>
                <a:cxn ang="0">
                  <a:pos x="545" y="1285"/>
                </a:cxn>
                <a:cxn ang="0">
                  <a:pos x="385" y="1313"/>
                </a:cxn>
                <a:cxn ang="0">
                  <a:pos x="174" y="1203"/>
                </a:cxn>
                <a:cxn ang="0">
                  <a:pos x="116" y="1083"/>
                </a:cxn>
                <a:cxn ang="0">
                  <a:pos x="138" y="974"/>
                </a:cxn>
                <a:cxn ang="0">
                  <a:pos x="243" y="904"/>
                </a:cxn>
                <a:cxn ang="0">
                  <a:pos x="199" y="848"/>
                </a:cxn>
                <a:cxn ang="0">
                  <a:pos x="120" y="818"/>
                </a:cxn>
                <a:cxn ang="0">
                  <a:pos x="74" y="736"/>
                </a:cxn>
                <a:cxn ang="0">
                  <a:pos x="4" y="599"/>
                </a:cxn>
              </a:cxnLst>
              <a:rect l="0" t="0" r="r" b="b"/>
              <a:pathLst>
                <a:path w="1552" h="1468">
                  <a:moveTo>
                    <a:pt x="40" y="553"/>
                  </a:moveTo>
                  <a:lnTo>
                    <a:pt x="82" y="517"/>
                  </a:lnTo>
                  <a:lnTo>
                    <a:pt x="126" y="505"/>
                  </a:lnTo>
                  <a:lnTo>
                    <a:pt x="170" y="499"/>
                  </a:lnTo>
                  <a:lnTo>
                    <a:pt x="182" y="467"/>
                  </a:lnTo>
                  <a:lnTo>
                    <a:pt x="217" y="453"/>
                  </a:lnTo>
                  <a:lnTo>
                    <a:pt x="239" y="483"/>
                  </a:lnTo>
                  <a:lnTo>
                    <a:pt x="251" y="517"/>
                  </a:lnTo>
                  <a:lnTo>
                    <a:pt x="283" y="509"/>
                  </a:lnTo>
                  <a:lnTo>
                    <a:pt x="347" y="495"/>
                  </a:lnTo>
                  <a:lnTo>
                    <a:pt x="419" y="463"/>
                  </a:lnTo>
                  <a:lnTo>
                    <a:pt x="507" y="517"/>
                  </a:lnTo>
                  <a:lnTo>
                    <a:pt x="597" y="535"/>
                  </a:lnTo>
                  <a:lnTo>
                    <a:pt x="606" y="557"/>
                  </a:lnTo>
                  <a:lnTo>
                    <a:pt x="606" y="565"/>
                  </a:lnTo>
                  <a:lnTo>
                    <a:pt x="579" y="595"/>
                  </a:lnTo>
                  <a:lnTo>
                    <a:pt x="597" y="627"/>
                  </a:lnTo>
                  <a:lnTo>
                    <a:pt x="686" y="549"/>
                  </a:lnTo>
                  <a:lnTo>
                    <a:pt x="750" y="579"/>
                  </a:lnTo>
                  <a:lnTo>
                    <a:pt x="746" y="549"/>
                  </a:lnTo>
                  <a:lnTo>
                    <a:pt x="784" y="535"/>
                  </a:lnTo>
                  <a:lnTo>
                    <a:pt x="784" y="509"/>
                  </a:lnTo>
                  <a:lnTo>
                    <a:pt x="750" y="479"/>
                  </a:lnTo>
                  <a:lnTo>
                    <a:pt x="720" y="341"/>
                  </a:lnTo>
                  <a:lnTo>
                    <a:pt x="716" y="333"/>
                  </a:lnTo>
                  <a:lnTo>
                    <a:pt x="700" y="333"/>
                  </a:lnTo>
                  <a:lnTo>
                    <a:pt x="652" y="190"/>
                  </a:lnTo>
                  <a:lnTo>
                    <a:pt x="668" y="138"/>
                  </a:lnTo>
                  <a:lnTo>
                    <a:pt x="618" y="86"/>
                  </a:lnTo>
                  <a:lnTo>
                    <a:pt x="682" y="60"/>
                  </a:lnTo>
                  <a:lnTo>
                    <a:pt x="730" y="18"/>
                  </a:lnTo>
                  <a:lnTo>
                    <a:pt x="764" y="4"/>
                  </a:lnTo>
                  <a:lnTo>
                    <a:pt x="776" y="26"/>
                  </a:lnTo>
                  <a:lnTo>
                    <a:pt x="798" y="26"/>
                  </a:lnTo>
                  <a:lnTo>
                    <a:pt x="834" y="0"/>
                  </a:lnTo>
                  <a:lnTo>
                    <a:pt x="850" y="22"/>
                  </a:lnTo>
                  <a:lnTo>
                    <a:pt x="876" y="18"/>
                  </a:lnTo>
                  <a:lnTo>
                    <a:pt x="932" y="38"/>
                  </a:lnTo>
                  <a:lnTo>
                    <a:pt x="992" y="46"/>
                  </a:lnTo>
                  <a:lnTo>
                    <a:pt x="954" y="72"/>
                  </a:lnTo>
                  <a:lnTo>
                    <a:pt x="984" y="146"/>
                  </a:lnTo>
                  <a:lnTo>
                    <a:pt x="1015" y="130"/>
                  </a:lnTo>
                  <a:lnTo>
                    <a:pt x="1089" y="126"/>
                  </a:lnTo>
                  <a:lnTo>
                    <a:pt x="1123" y="104"/>
                  </a:lnTo>
                  <a:lnTo>
                    <a:pt x="1159" y="72"/>
                  </a:lnTo>
                  <a:lnTo>
                    <a:pt x="1255" y="166"/>
                  </a:lnTo>
                  <a:lnTo>
                    <a:pt x="1289" y="184"/>
                  </a:lnTo>
                  <a:lnTo>
                    <a:pt x="1287" y="285"/>
                  </a:lnTo>
                  <a:lnTo>
                    <a:pt x="1313" y="297"/>
                  </a:lnTo>
                  <a:lnTo>
                    <a:pt x="1311" y="321"/>
                  </a:lnTo>
                  <a:lnTo>
                    <a:pt x="1299" y="329"/>
                  </a:lnTo>
                  <a:lnTo>
                    <a:pt x="1283" y="317"/>
                  </a:lnTo>
                  <a:lnTo>
                    <a:pt x="1271" y="321"/>
                  </a:lnTo>
                  <a:lnTo>
                    <a:pt x="1255" y="333"/>
                  </a:lnTo>
                  <a:lnTo>
                    <a:pt x="1253" y="359"/>
                  </a:lnTo>
                  <a:lnTo>
                    <a:pt x="1239" y="375"/>
                  </a:lnTo>
                  <a:lnTo>
                    <a:pt x="1225" y="389"/>
                  </a:lnTo>
                  <a:lnTo>
                    <a:pt x="1205" y="397"/>
                  </a:lnTo>
                  <a:lnTo>
                    <a:pt x="1225" y="441"/>
                  </a:lnTo>
                  <a:lnTo>
                    <a:pt x="1255" y="497"/>
                  </a:lnTo>
                  <a:lnTo>
                    <a:pt x="1299" y="481"/>
                  </a:lnTo>
                  <a:lnTo>
                    <a:pt x="1355" y="567"/>
                  </a:lnTo>
                  <a:lnTo>
                    <a:pt x="1383" y="573"/>
                  </a:lnTo>
                  <a:lnTo>
                    <a:pt x="1415" y="595"/>
                  </a:lnTo>
                  <a:lnTo>
                    <a:pt x="1436" y="627"/>
                  </a:lnTo>
                  <a:lnTo>
                    <a:pt x="1440" y="672"/>
                  </a:lnTo>
                  <a:lnTo>
                    <a:pt x="1411" y="710"/>
                  </a:lnTo>
                  <a:lnTo>
                    <a:pt x="1397" y="714"/>
                  </a:lnTo>
                  <a:lnTo>
                    <a:pt x="1401" y="740"/>
                  </a:lnTo>
                  <a:lnTo>
                    <a:pt x="1347" y="754"/>
                  </a:lnTo>
                  <a:lnTo>
                    <a:pt x="1329" y="844"/>
                  </a:lnTo>
                  <a:lnTo>
                    <a:pt x="1369" y="866"/>
                  </a:lnTo>
                  <a:lnTo>
                    <a:pt x="1405" y="874"/>
                  </a:lnTo>
                  <a:lnTo>
                    <a:pt x="1444" y="896"/>
                  </a:lnTo>
                  <a:lnTo>
                    <a:pt x="1458" y="914"/>
                  </a:lnTo>
                  <a:lnTo>
                    <a:pt x="1440" y="964"/>
                  </a:lnTo>
                  <a:lnTo>
                    <a:pt x="1440" y="1016"/>
                  </a:lnTo>
                  <a:lnTo>
                    <a:pt x="1450" y="1042"/>
                  </a:lnTo>
                  <a:lnTo>
                    <a:pt x="1532" y="1073"/>
                  </a:lnTo>
                  <a:lnTo>
                    <a:pt x="1548" y="1087"/>
                  </a:lnTo>
                  <a:lnTo>
                    <a:pt x="1552" y="1117"/>
                  </a:lnTo>
                  <a:lnTo>
                    <a:pt x="1536" y="1137"/>
                  </a:lnTo>
                  <a:lnTo>
                    <a:pt x="1524" y="1163"/>
                  </a:lnTo>
                  <a:lnTo>
                    <a:pt x="1514" y="1181"/>
                  </a:lnTo>
                  <a:lnTo>
                    <a:pt x="1488" y="1151"/>
                  </a:lnTo>
                  <a:lnTo>
                    <a:pt x="1470" y="1147"/>
                  </a:lnTo>
                  <a:lnTo>
                    <a:pt x="1436" y="1167"/>
                  </a:lnTo>
                  <a:lnTo>
                    <a:pt x="1420" y="1177"/>
                  </a:lnTo>
                  <a:lnTo>
                    <a:pt x="1401" y="1151"/>
                  </a:lnTo>
                  <a:lnTo>
                    <a:pt x="1385" y="1163"/>
                  </a:lnTo>
                  <a:lnTo>
                    <a:pt x="1389" y="1199"/>
                  </a:lnTo>
                  <a:lnTo>
                    <a:pt x="1369" y="1249"/>
                  </a:lnTo>
                  <a:lnTo>
                    <a:pt x="1347" y="1275"/>
                  </a:lnTo>
                  <a:lnTo>
                    <a:pt x="1351" y="1301"/>
                  </a:lnTo>
                  <a:lnTo>
                    <a:pt x="1295" y="1331"/>
                  </a:lnTo>
                  <a:lnTo>
                    <a:pt x="1283" y="1305"/>
                  </a:lnTo>
                  <a:lnTo>
                    <a:pt x="1269" y="1305"/>
                  </a:lnTo>
                  <a:lnTo>
                    <a:pt x="1229" y="1313"/>
                  </a:lnTo>
                  <a:lnTo>
                    <a:pt x="1229" y="1343"/>
                  </a:lnTo>
                  <a:lnTo>
                    <a:pt x="1193" y="1343"/>
                  </a:lnTo>
                  <a:lnTo>
                    <a:pt x="1157" y="1377"/>
                  </a:lnTo>
                  <a:lnTo>
                    <a:pt x="1109" y="1403"/>
                  </a:lnTo>
                  <a:lnTo>
                    <a:pt x="1049" y="1468"/>
                  </a:lnTo>
                  <a:lnTo>
                    <a:pt x="992" y="1456"/>
                  </a:lnTo>
                  <a:lnTo>
                    <a:pt x="988" y="1443"/>
                  </a:lnTo>
                  <a:lnTo>
                    <a:pt x="1041" y="1359"/>
                  </a:lnTo>
                  <a:lnTo>
                    <a:pt x="972" y="1259"/>
                  </a:lnTo>
                  <a:lnTo>
                    <a:pt x="950" y="1267"/>
                  </a:lnTo>
                  <a:lnTo>
                    <a:pt x="896" y="1245"/>
                  </a:lnTo>
                  <a:lnTo>
                    <a:pt x="884" y="1255"/>
                  </a:lnTo>
                  <a:lnTo>
                    <a:pt x="868" y="1275"/>
                  </a:lnTo>
                  <a:lnTo>
                    <a:pt x="838" y="1267"/>
                  </a:lnTo>
                  <a:lnTo>
                    <a:pt x="812" y="1305"/>
                  </a:lnTo>
                  <a:lnTo>
                    <a:pt x="780" y="1275"/>
                  </a:lnTo>
                  <a:lnTo>
                    <a:pt x="734" y="1285"/>
                  </a:lnTo>
                  <a:lnTo>
                    <a:pt x="686" y="1267"/>
                  </a:lnTo>
                  <a:lnTo>
                    <a:pt x="652" y="1301"/>
                  </a:lnTo>
                  <a:lnTo>
                    <a:pt x="614" y="1285"/>
                  </a:lnTo>
                  <a:lnTo>
                    <a:pt x="583" y="1317"/>
                  </a:lnTo>
                  <a:lnTo>
                    <a:pt x="545" y="1285"/>
                  </a:lnTo>
                  <a:lnTo>
                    <a:pt x="519" y="1297"/>
                  </a:lnTo>
                  <a:lnTo>
                    <a:pt x="423" y="1313"/>
                  </a:lnTo>
                  <a:lnTo>
                    <a:pt x="385" y="1313"/>
                  </a:lnTo>
                  <a:lnTo>
                    <a:pt x="373" y="1327"/>
                  </a:lnTo>
                  <a:lnTo>
                    <a:pt x="213" y="1211"/>
                  </a:lnTo>
                  <a:lnTo>
                    <a:pt x="174" y="1203"/>
                  </a:lnTo>
                  <a:lnTo>
                    <a:pt x="98" y="1137"/>
                  </a:lnTo>
                  <a:lnTo>
                    <a:pt x="116" y="1105"/>
                  </a:lnTo>
                  <a:lnTo>
                    <a:pt x="116" y="1083"/>
                  </a:lnTo>
                  <a:lnTo>
                    <a:pt x="152" y="1051"/>
                  </a:lnTo>
                  <a:lnTo>
                    <a:pt x="138" y="1012"/>
                  </a:lnTo>
                  <a:lnTo>
                    <a:pt x="138" y="974"/>
                  </a:lnTo>
                  <a:lnTo>
                    <a:pt x="195" y="938"/>
                  </a:lnTo>
                  <a:lnTo>
                    <a:pt x="235" y="926"/>
                  </a:lnTo>
                  <a:lnTo>
                    <a:pt x="243" y="904"/>
                  </a:lnTo>
                  <a:lnTo>
                    <a:pt x="251" y="862"/>
                  </a:lnTo>
                  <a:lnTo>
                    <a:pt x="235" y="844"/>
                  </a:lnTo>
                  <a:lnTo>
                    <a:pt x="199" y="848"/>
                  </a:lnTo>
                  <a:lnTo>
                    <a:pt x="170" y="858"/>
                  </a:lnTo>
                  <a:lnTo>
                    <a:pt x="138" y="858"/>
                  </a:lnTo>
                  <a:lnTo>
                    <a:pt x="120" y="818"/>
                  </a:lnTo>
                  <a:lnTo>
                    <a:pt x="120" y="796"/>
                  </a:lnTo>
                  <a:lnTo>
                    <a:pt x="86" y="766"/>
                  </a:lnTo>
                  <a:lnTo>
                    <a:pt x="74" y="736"/>
                  </a:lnTo>
                  <a:lnTo>
                    <a:pt x="98" y="706"/>
                  </a:lnTo>
                  <a:lnTo>
                    <a:pt x="8" y="615"/>
                  </a:lnTo>
                  <a:lnTo>
                    <a:pt x="4" y="599"/>
                  </a:lnTo>
                  <a:lnTo>
                    <a:pt x="0" y="591"/>
                  </a:lnTo>
                  <a:lnTo>
                    <a:pt x="40" y="553"/>
                  </a:lnTo>
                  <a:close/>
                </a:path>
              </a:pathLst>
            </a:custGeom>
            <a:solidFill>
              <a:schemeClr val="accent4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" name="Freeform 20"/>
            <p:cNvSpPr>
              <a:spLocks/>
            </p:cNvSpPr>
            <p:nvPr/>
          </p:nvSpPr>
          <p:spPr bwMode="auto">
            <a:xfrm>
              <a:off x="1968" y="2640"/>
              <a:ext cx="1564" cy="834"/>
            </a:xfrm>
            <a:custGeom>
              <a:avLst/>
              <a:gdLst/>
              <a:ahLst/>
              <a:cxnLst>
                <a:cxn ang="0">
                  <a:pos x="243" y="236"/>
                </a:cxn>
                <a:cxn ang="0">
                  <a:pos x="329" y="268"/>
                </a:cxn>
                <a:cxn ang="0">
                  <a:pos x="559" y="343"/>
                </a:cxn>
                <a:cxn ang="0">
                  <a:pos x="620" y="310"/>
                </a:cxn>
                <a:cxn ang="0">
                  <a:pos x="658" y="220"/>
                </a:cxn>
                <a:cxn ang="0">
                  <a:pos x="762" y="214"/>
                </a:cxn>
                <a:cxn ang="0">
                  <a:pos x="748" y="120"/>
                </a:cxn>
                <a:cxn ang="0">
                  <a:pos x="862" y="46"/>
                </a:cxn>
                <a:cxn ang="0">
                  <a:pos x="900" y="2"/>
                </a:cxn>
                <a:cxn ang="0">
                  <a:pos x="1035" y="80"/>
                </a:cxn>
                <a:cxn ang="0">
                  <a:pos x="1255" y="180"/>
                </a:cxn>
                <a:cxn ang="0">
                  <a:pos x="1363" y="152"/>
                </a:cxn>
                <a:cxn ang="0">
                  <a:pos x="1472" y="170"/>
                </a:cxn>
                <a:cxn ang="0">
                  <a:pos x="1598" y="142"/>
                </a:cxn>
                <a:cxn ang="0">
                  <a:pos x="1686" y="142"/>
                </a:cxn>
                <a:cxn ang="0">
                  <a:pos x="1790" y="128"/>
                </a:cxn>
                <a:cxn ang="0">
                  <a:pos x="1810" y="323"/>
                </a:cxn>
                <a:cxn ang="0">
                  <a:pos x="1899" y="349"/>
                </a:cxn>
                <a:cxn ang="0">
                  <a:pos x="1999" y="437"/>
                </a:cxn>
                <a:cxn ang="0">
                  <a:pos x="2019" y="513"/>
                </a:cxn>
                <a:cxn ang="0">
                  <a:pos x="2119" y="617"/>
                </a:cxn>
                <a:cxn ang="0">
                  <a:pos x="2101" y="655"/>
                </a:cxn>
                <a:cxn ang="0">
                  <a:pos x="2035" y="794"/>
                </a:cxn>
                <a:cxn ang="0">
                  <a:pos x="1971" y="908"/>
                </a:cxn>
                <a:cxn ang="0">
                  <a:pos x="1893" y="870"/>
                </a:cxn>
                <a:cxn ang="0">
                  <a:pos x="1750" y="922"/>
                </a:cxn>
                <a:cxn ang="0">
                  <a:pos x="1676" y="896"/>
                </a:cxn>
                <a:cxn ang="0">
                  <a:pos x="1582" y="896"/>
                </a:cxn>
                <a:cxn ang="0">
                  <a:pos x="1496" y="918"/>
                </a:cxn>
                <a:cxn ang="0">
                  <a:pos x="1397" y="890"/>
                </a:cxn>
                <a:cxn ang="0">
                  <a:pos x="1281" y="908"/>
                </a:cxn>
                <a:cxn ang="0">
                  <a:pos x="1139" y="904"/>
                </a:cxn>
                <a:cxn ang="0">
                  <a:pos x="974" y="1008"/>
                </a:cxn>
                <a:cxn ang="0">
                  <a:pos x="874" y="1024"/>
                </a:cxn>
                <a:cxn ang="0">
                  <a:pos x="802" y="1129"/>
                </a:cxn>
                <a:cxn ang="0">
                  <a:pos x="762" y="1137"/>
                </a:cxn>
                <a:cxn ang="0">
                  <a:pos x="676" y="1195"/>
                </a:cxn>
                <a:cxn ang="0">
                  <a:pos x="489" y="1046"/>
                </a:cxn>
                <a:cxn ang="0">
                  <a:pos x="485" y="990"/>
                </a:cxn>
                <a:cxn ang="0">
                  <a:pos x="475" y="930"/>
                </a:cxn>
                <a:cxn ang="0">
                  <a:pos x="393" y="878"/>
                </a:cxn>
                <a:cxn ang="0">
                  <a:pos x="411" y="816"/>
                </a:cxn>
                <a:cxn ang="0">
                  <a:pos x="329" y="726"/>
                </a:cxn>
                <a:cxn ang="0">
                  <a:pos x="194" y="659"/>
                </a:cxn>
                <a:cxn ang="0">
                  <a:pos x="36" y="639"/>
                </a:cxn>
                <a:cxn ang="0">
                  <a:pos x="30" y="523"/>
                </a:cxn>
                <a:cxn ang="0">
                  <a:pos x="52" y="411"/>
                </a:cxn>
                <a:cxn ang="0">
                  <a:pos x="168" y="254"/>
                </a:cxn>
              </a:cxnLst>
              <a:rect l="0" t="0" r="r" b="b"/>
              <a:pathLst>
                <a:path w="2133" h="1195">
                  <a:moveTo>
                    <a:pt x="194" y="214"/>
                  </a:moveTo>
                  <a:lnTo>
                    <a:pt x="223" y="210"/>
                  </a:lnTo>
                  <a:lnTo>
                    <a:pt x="243" y="236"/>
                  </a:lnTo>
                  <a:lnTo>
                    <a:pt x="285" y="214"/>
                  </a:lnTo>
                  <a:lnTo>
                    <a:pt x="303" y="218"/>
                  </a:lnTo>
                  <a:lnTo>
                    <a:pt x="329" y="268"/>
                  </a:lnTo>
                  <a:lnTo>
                    <a:pt x="437" y="304"/>
                  </a:lnTo>
                  <a:lnTo>
                    <a:pt x="539" y="353"/>
                  </a:lnTo>
                  <a:lnTo>
                    <a:pt x="559" y="343"/>
                  </a:lnTo>
                  <a:lnTo>
                    <a:pt x="573" y="323"/>
                  </a:lnTo>
                  <a:lnTo>
                    <a:pt x="606" y="333"/>
                  </a:lnTo>
                  <a:lnTo>
                    <a:pt x="620" y="310"/>
                  </a:lnTo>
                  <a:lnTo>
                    <a:pt x="610" y="292"/>
                  </a:lnTo>
                  <a:lnTo>
                    <a:pt x="606" y="274"/>
                  </a:lnTo>
                  <a:lnTo>
                    <a:pt x="658" y="220"/>
                  </a:lnTo>
                  <a:lnTo>
                    <a:pt x="678" y="218"/>
                  </a:lnTo>
                  <a:lnTo>
                    <a:pt x="722" y="254"/>
                  </a:lnTo>
                  <a:lnTo>
                    <a:pt x="762" y="214"/>
                  </a:lnTo>
                  <a:lnTo>
                    <a:pt x="746" y="172"/>
                  </a:lnTo>
                  <a:lnTo>
                    <a:pt x="742" y="150"/>
                  </a:lnTo>
                  <a:lnTo>
                    <a:pt x="748" y="120"/>
                  </a:lnTo>
                  <a:lnTo>
                    <a:pt x="768" y="100"/>
                  </a:lnTo>
                  <a:lnTo>
                    <a:pt x="794" y="72"/>
                  </a:lnTo>
                  <a:lnTo>
                    <a:pt x="862" y="46"/>
                  </a:lnTo>
                  <a:lnTo>
                    <a:pt x="862" y="16"/>
                  </a:lnTo>
                  <a:lnTo>
                    <a:pt x="880" y="0"/>
                  </a:lnTo>
                  <a:lnTo>
                    <a:pt x="900" y="2"/>
                  </a:lnTo>
                  <a:lnTo>
                    <a:pt x="922" y="8"/>
                  </a:lnTo>
                  <a:lnTo>
                    <a:pt x="990" y="70"/>
                  </a:lnTo>
                  <a:lnTo>
                    <a:pt x="1035" y="80"/>
                  </a:lnTo>
                  <a:lnTo>
                    <a:pt x="1191" y="194"/>
                  </a:lnTo>
                  <a:lnTo>
                    <a:pt x="1205" y="180"/>
                  </a:lnTo>
                  <a:lnTo>
                    <a:pt x="1255" y="180"/>
                  </a:lnTo>
                  <a:lnTo>
                    <a:pt x="1277" y="174"/>
                  </a:lnTo>
                  <a:lnTo>
                    <a:pt x="1339" y="166"/>
                  </a:lnTo>
                  <a:lnTo>
                    <a:pt x="1363" y="152"/>
                  </a:lnTo>
                  <a:lnTo>
                    <a:pt x="1401" y="184"/>
                  </a:lnTo>
                  <a:lnTo>
                    <a:pt x="1432" y="152"/>
                  </a:lnTo>
                  <a:lnTo>
                    <a:pt x="1472" y="170"/>
                  </a:lnTo>
                  <a:lnTo>
                    <a:pt x="1504" y="134"/>
                  </a:lnTo>
                  <a:lnTo>
                    <a:pt x="1548" y="152"/>
                  </a:lnTo>
                  <a:lnTo>
                    <a:pt x="1598" y="142"/>
                  </a:lnTo>
                  <a:lnTo>
                    <a:pt x="1630" y="170"/>
                  </a:lnTo>
                  <a:lnTo>
                    <a:pt x="1656" y="134"/>
                  </a:lnTo>
                  <a:lnTo>
                    <a:pt x="1686" y="142"/>
                  </a:lnTo>
                  <a:lnTo>
                    <a:pt x="1710" y="110"/>
                  </a:lnTo>
                  <a:lnTo>
                    <a:pt x="1762" y="134"/>
                  </a:lnTo>
                  <a:lnTo>
                    <a:pt x="1790" y="128"/>
                  </a:lnTo>
                  <a:lnTo>
                    <a:pt x="1859" y="228"/>
                  </a:lnTo>
                  <a:lnTo>
                    <a:pt x="1808" y="306"/>
                  </a:lnTo>
                  <a:lnTo>
                    <a:pt x="1810" y="323"/>
                  </a:lnTo>
                  <a:lnTo>
                    <a:pt x="1822" y="327"/>
                  </a:lnTo>
                  <a:lnTo>
                    <a:pt x="1867" y="335"/>
                  </a:lnTo>
                  <a:lnTo>
                    <a:pt x="1899" y="349"/>
                  </a:lnTo>
                  <a:lnTo>
                    <a:pt x="1939" y="407"/>
                  </a:lnTo>
                  <a:lnTo>
                    <a:pt x="1977" y="409"/>
                  </a:lnTo>
                  <a:lnTo>
                    <a:pt x="1999" y="437"/>
                  </a:lnTo>
                  <a:lnTo>
                    <a:pt x="1989" y="461"/>
                  </a:lnTo>
                  <a:lnTo>
                    <a:pt x="1991" y="485"/>
                  </a:lnTo>
                  <a:lnTo>
                    <a:pt x="2019" y="513"/>
                  </a:lnTo>
                  <a:lnTo>
                    <a:pt x="2069" y="589"/>
                  </a:lnTo>
                  <a:lnTo>
                    <a:pt x="2101" y="591"/>
                  </a:lnTo>
                  <a:lnTo>
                    <a:pt x="2119" y="617"/>
                  </a:lnTo>
                  <a:lnTo>
                    <a:pt x="2133" y="629"/>
                  </a:lnTo>
                  <a:lnTo>
                    <a:pt x="2123" y="647"/>
                  </a:lnTo>
                  <a:lnTo>
                    <a:pt x="2101" y="655"/>
                  </a:lnTo>
                  <a:lnTo>
                    <a:pt x="2075" y="685"/>
                  </a:lnTo>
                  <a:lnTo>
                    <a:pt x="2057" y="738"/>
                  </a:lnTo>
                  <a:lnTo>
                    <a:pt x="2035" y="794"/>
                  </a:lnTo>
                  <a:lnTo>
                    <a:pt x="2001" y="868"/>
                  </a:lnTo>
                  <a:lnTo>
                    <a:pt x="1989" y="890"/>
                  </a:lnTo>
                  <a:lnTo>
                    <a:pt x="1971" y="908"/>
                  </a:lnTo>
                  <a:lnTo>
                    <a:pt x="1945" y="908"/>
                  </a:lnTo>
                  <a:lnTo>
                    <a:pt x="1927" y="896"/>
                  </a:lnTo>
                  <a:lnTo>
                    <a:pt x="1893" y="870"/>
                  </a:lnTo>
                  <a:lnTo>
                    <a:pt x="1798" y="870"/>
                  </a:lnTo>
                  <a:lnTo>
                    <a:pt x="1772" y="908"/>
                  </a:lnTo>
                  <a:lnTo>
                    <a:pt x="1750" y="922"/>
                  </a:lnTo>
                  <a:lnTo>
                    <a:pt x="1720" y="926"/>
                  </a:lnTo>
                  <a:lnTo>
                    <a:pt x="1702" y="908"/>
                  </a:lnTo>
                  <a:lnTo>
                    <a:pt x="1676" y="896"/>
                  </a:lnTo>
                  <a:lnTo>
                    <a:pt x="1646" y="900"/>
                  </a:lnTo>
                  <a:lnTo>
                    <a:pt x="1620" y="912"/>
                  </a:lnTo>
                  <a:lnTo>
                    <a:pt x="1582" y="896"/>
                  </a:lnTo>
                  <a:lnTo>
                    <a:pt x="1556" y="900"/>
                  </a:lnTo>
                  <a:lnTo>
                    <a:pt x="1522" y="918"/>
                  </a:lnTo>
                  <a:lnTo>
                    <a:pt x="1496" y="918"/>
                  </a:lnTo>
                  <a:lnTo>
                    <a:pt x="1452" y="922"/>
                  </a:lnTo>
                  <a:lnTo>
                    <a:pt x="1424" y="908"/>
                  </a:lnTo>
                  <a:lnTo>
                    <a:pt x="1397" y="890"/>
                  </a:lnTo>
                  <a:lnTo>
                    <a:pt x="1385" y="900"/>
                  </a:lnTo>
                  <a:lnTo>
                    <a:pt x="1321" y="900"/>
                  </a:lnTo>
                  <a:lnTo>
                    <a:pt x="1281" y="908"/>
                  </a:lnTo>
                  <a:lnTo>
                    <a:pt x="1247" y="900"/>
                  </a:lnTo>
                  <a:lnTo>
                    <a:pt x="1147" y="900"/>
                  </a:lnTo>
                  <a:lnTo>
                    <a:pt x="1139" y="904"/>
                  </a:lnTo>
                  <a:lnTo>
                    <a:pt x="1061" y="982"/>
                  </a:lnTo>
                  <a:lnTo>
                    <a:pt x="1008" y="1012"/>
                  </a:lnTo>
                  <a:lnTo>
                    <a:pt x="974" y="1008"/>
                  </a:lnTo>
                  <a:lnTo>
                    <a:pt x="944" y="1012"/>
                  </a:lnTo>
                  <a:lnTo>
                    <a:pt x="900" y="1016"/>
                  </a:lnTo>
                  <a:lnTo>
                    <a:pt x="874" y="1024"/>
                  </a:lnTo>
                  <a:lnTo>
                    <a:pt x="832" y="1064"/>
                  </a:lnTo>
                  <a:lnTo>
                    <a:pt x="814" y="1086"/>
                  </a:lnTo>
                  <a:lnTo>
                    <a:pt x="802" y="1129"/>
                  </a:lnTo>
                  <a:lnTo>
                    <a:pt x="776" y="1165"/>
                  </a:lnTo>
                  <a:lnTo>
                    <a:pt x="772" y="1137"/>
                  </a:lnTo>
                  <a:lnTo>
                    <a:pt x="762" y="1137"/>
                  </a:lnTo>
                  <a:lnTo>
                    <a:pt x="750" y="1151"/>
                  </a:lnTo>
                  <a:lnTo>
                    <a:pt x="750" y="1169"/>
                  </a:lnTo>
                  <a:lnTo>
                    <a:pt x="676" y="1195"/>
                  </a:lnTo>
                  <a:lnTo>
                    <a:pt x="656" y="1173"/>
                  </a:lnTo>
                  <a:lnTo>
                    <a:pt x="493" y="1082"/>
                  </a:lnTo>
                  <a:lnTo>
                    <a:pt x="489" y="1046"/>
                  </a:lnTo>
                  <a:lnTo>
                    <a:pt x="453" y="1002"/>
                  </a:lnTo>
                  <a:lnTo>
                    <a:pt x="457" y="978"/>
                  </a:lnTo>
                  <a:lnTo>
                    <a:pt x="485" y="990"/>
                  </a:lnTo>
                  <a:lnTo>
                    <a:pt x="497" y="978"/>
                  </a:lnTo>
                  <a:lnTo>
                    <a:pt x="489" y="956"/>
                  </a:lnTo>
                  <a:lnTo>
                    <a:pt x="475" y="930"/>
                  </a:lnTo>
                  <a:lnTo>
                    <a:pt x="453" y="918"/>
                  </a:lnTo>
                  <a:lnTo>
                    <a:pt x="441" y="926"/>
                  </a:lnTo>
                  <a:lnTo>
                    <a:pt x="393" y="878"/>
                  </a:lnTo>
                  <a:lnTo>
                    <a:pt x="399" y="868"/>
                  </a:lnTo>
                  <a:lnTo>
                    <a:pt x="415" y="850"/>
                  </a:lnTo>
                  <a:lnTo>
                    <a:pt x="411" y="816"/>
                  </a:lnTo>
                  <a:lnTo>
                    <a:pt x="385" y="764"/>
                  </a:lnTo>
                  <a:lnTo>
                    <a:pt x="359" y="744"/>
                  </a:lnTo>
                  <a:lnTo>
                    <a:pt x="329" y="726"/>
                  </a:lnTo>
                  <a:lnTo>
                    <a:pt x="261" y="685"/>
                  </a:lnTo>
                  <a:lnTo>
                    <a:pt x="217" y="655"/>
                  </a:lnTo>
                  <a:lnTo>
                    <a:pt x="194" y="659"/>
                  </a:lnTo>
                  <a:lnTo>
                    <a:pt x="152" y="625"/>
                  </a:lnTo>
                  <a:lnTo>
                    <a:pt x="48" y="625"/>
                  </a:lnTo>
                  <a:lnTo>
                    <a:pt x="36" y="639"/>
                  </a:lnTo>
                  <a:lnTo>
                    <a:pt x="26" y="613"/>
                  </a:lnTo>
                  <a:lnTo>
                    <a:pt x="30" y="569"/>
                  </a:lnTo>
                  <a:lnTo>
                    <a:pt x="30" y="523"/>
                  </a:lnTo>
                  <a:lnTo>
                    <a:pt x="14" y="479"/>
                  </a:lnTo>
                  <a:lnTo>
                    <a:pt x="0" y="457"/>
                  </a:lnTo>
                  <a:lnTo>
                    <a:pt x="52" y="411"/>
                  </a:lnTo>
                  <a:lnTo>
                    <a:pt x="120" y="327"/>
                  </a:lnTo>
                  <a:lnTo>
                    <a:pt x="126" y="296"/>
                  </a:lnTo>
                  <a:lnTo>
                    <a:pt x="168" y="254"/>
                  </a:lnTo>
                  <a:lnTo>
                    <a:pt x="199" y="254"/>
                  </a:lnTo>
                  <a:lnTo>
                    <a:pt x="194" y="214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3" name="Freeform 21"/>
            <p:cNvSpPr>
              <a:spLocks/>
            </p:cNvSpPr>
            <p:nvPr/>
          </p:nvSpPr>
          <p:spPr bwMode="auto">
            <a:xfrm>
              <a:off x="3312" y="2638"/>
              <a:ext cx="493" cy="464"/>
            </a:xfrm>
            <a:custGeom>
              <a:avLst/>
              <a:gdLst/>
              <a:ahLst/>
              <a:cxnLst>
                <a:cxn ang="0">
                  <a:pos x="264" y="617"/>
                </a:cxn>
                <a:cxn ang="0">
                  <a:pos x="288" y="591"/>
                </a:cxn>
                <a:cxn ang="0">
                  <a:pos x="314" y="581"/>
                </a:cxn>
                <a:cxn ang="0">
                  <a:pos x="332" y="581"/>
                </a:cxn>
                <a:cxn ang="0">
                  <a:pos x="332" y="547"/>
                </a:cxn>
                <a:cxn ang="0">
                  <a:pos x="352" y="525"/>
                </a:cxn>
                <a:cxn ang="0">
                  <a:pos x="387" y="521"/>
                </a:cxn>
                <a:cxn ang="0">
                  <a:pos x="469" y="517"/>
                </a:cxn>
                <a:cxn ang="0">
                  <a:pos x="509" y="521"/>
                </a:cxn>
                <a:cxn ang="0">
                  <a:pos x="541" y="505"/>
                </a:cxn>
                <a:cxn ang="0">
                  <a:pos x="563" y="505"/>
                </a:cxn>
                <a:cxn ang="0">
                  <a:pos x="581" y="495"/>
                </a:cxn>
                <a:cxn ang="0">
                  <a:pos x="599" y="483"/>
                </a:cxn>
                <a:cxn ang="0">
                  <a:pos x="585" y="453"/>
                </a:cxn>
                <a:cxn ang="0">
                  <a:pos x="573" y="465"/>
                </a:cxn>
                <a:cxn ang="0">
                  <a:pos x="559" y="461"/>
                </a:cxn>
                <a:cxn ang="0">
                  <a:pos x="541" y="453"/>
                </a:cxn>
                <a:cxn ang="0">
                  <a:pos x="551" y="413"/>
                </a:cxn>
                <a:cxn ang="0">
                  <a:pos x="563" y="401"/>
                </a:cxn>
                <a:cxn ang="0">
                  <a:pos x="561" y="383"/>
                </a:cxn>
                <a:cxn ang="0">
                  <a:pos x="529" y="343"/>
                </a:cxn>
                <a:cxn ang="0">
                  <a:pos x="503" y="313"/>
                </a:cxn>
                <a:cxn ang="0">
                  <a:pos x="473" y="292"/>
                </a:cxn>
                <a:cxn ang="0">
                  <a:pos x="473" y="268"/>
                </a:cxn>
                <a:cxn ang="0">
                  <a:pos x="479" y="236"/>
                </a:cxn>
                <a:cxn ang="0">
                  <a:pos x="487" y="196"/>
                </a:cxn>
                <a:cxn ang="0">
                  <a:pos x="467" y="172"/>
                </a:cxn>
                <a:cxn ang="0">
                  <a:pos x="475" y="112"/>
                </a:cxn>
                <a:cxn ang="0">
                  <a:pos x="465" y="30"/>
                </a:cxn>
                <a:cxn ang="0">
                  <a:pos x="435" y="4"/>
                </a:cxn>
                <a:cxn ang="0">
                  <a:pos x="421" y="0"/>
                </a:cxn>
                <a:cxn ang="0">
                  <a:pos x="375" y="26"/>
                </a:cxn>
                <a:cxn ang="0">
                  <a:pos x="352" y="4"/>
                </a:cxn>
                <a:cxn ang="0">
                  <a:pos x="336" y="18"/>
                </a:cxn>
                <a:cxn ang="0">
                  <a:pos x="344" y="40"/>
                </a:cxn>
                <a:cxn ang="0">
                  <a:pos x="324" y="94"/>
                </a:cxn>
                <a:cxn ang="0">
                  <a:pos x="298" y="128"/>
                </a:cxn>
                <a:cxn ang="0">
                  <a:pos x="302" y="152"/>
                </a:cxn>
                <a:cxn ang="0">
                  <a:pos x="246" y="184"/>
                </a:cxn>
                <a:cxn ang="0">
                  <a:pos x="230" y="156"/>
                </a:cxn>
                <a:cxn ang="0">
                  <a:pos x="182" y="164"/>
                </a:cxn>
                <a:cxn ang="0">
                  <a:pos x="180" y="196"/>
                </a:cxn>
                <a:cxn ang="0">
                  <a:pos x="140" y="196"/>
                </a:cxn>
                <a:cxn ang="0">
                  <a:pos x="110" y="230"/>
                </a:cxn>
                <a:cxn ang="0">
                  <a:pos x="72" y="250"/>
                </a:cxn>
                <a:cxn ang="0">
                  <a:pos x="52" y="264"/>
                </a:cxn>
                <a:cxn ang="0">
                  <a:pos x="28" y="292"/>
                </a:cxn>
                <a:cxn ang="0">
                  <a:pos x="0" y="323"/>
                </a:cxn>
                <a:cxn ang="0">
                  <a:pos x="32" y="335"/>
                </a:cxn>
                <a:cxn ang="0">
                  <a:pos x="72" y="393"/>
                </a:cxn>
                <a:cxn ang="0">
                  <a:pos x="112" y="397"/>
                </a:cxn>
                <a:cxn ang="0">
                  <a:pos x="130" y="421"/>
                </a:cxn>
                <a:cxn ang="0">
                  <a:pos x="122" y="447"/>
                </a:cxn>
                <a:cxn ang="0">
                  <a:pos x="126" y="473"/>
                </a:cxn>
                <a:cxn ang="0">
                  <a:pos x="152" y="499"/>
                </a:cxn>
                <a:cxn ang="0">
                  <a:pos x="176" y="537"/>
                </a:cxn>
                <a:cxn ang="0">
                  <a:pos x="202" y="573"/>
                </a:cxn>
                <a:cxn ang="0">
                  <a:pos x="234" y="577"/>
                </a:cxn>
                <a:cxn ang="0">
                  <a:pos x="264" y="617"/>
                </a:cxn>
              </a:cxnLst>
              <a:rect l="0" t="0" r="r" b="b"/>
              <a:pathLst>
                <a:path w="599" h="617">
                  <a:moveTo>
                    <a:pt x="264" y="617"/>
                  </a:moveTo>
                  <a:lnTo>
                    <a:pt x="288" y="591"/>
                  </a:lnTo>
                  <a:lnTo>
                    <a:pt x="314" y="581"/>
                  </a:lnTo>
                  <a:lnTo>
                    <a:pt x="332" y="581"/>
                  </a:lnTo>
                  <a:lnTo>
                    <a:pt x="332" y="547"/>
                  </a:lnTo>
                  <a:lnTo>
                    <a:pt x="352" y="525"/>
                  </a:lnTo>
                  <a:lnTo>
                    <a:pt x="387" y="521"/>
                  </a:lnTo>
                  <a:lnTo>
                    <a:pt x="469" y="517"/>
                  </a:lnTo>
                  <a:lnTo>
                    <a:pt x="509" y="521"/>
                  </a:lnTo>
                  <a:lnTo>
                    <a:pt x="541" y="505"/>
                  </a:lnTo>
                  <a:lnTo>
                    <a:pt x="563" y="505"/>
                  </a:lnTo>
                  <a:lnTo>
                    <a:pt x="581" y="495"/>
                  </a:lnTo>
                  <a:lnTo>
                    <a:pt x="599" y="483"/>
                  </a:lnTo>
                  <a:lnTo>
                    <a:pt x="585" y="453"/>
                  </a:lnTo>
                  <a:lnTo>
                    <a:pt x="573" y="465"/>
                  </a:lnTo>
                  <a:lnTo>
                    <a:pt x="559" y="461"/>
                  </a:lnTo>
                  <a:lnTo>
                    <a:pt x="541" y="453"/>
                  </a:lnTo>
                  <a:lnTo>
                    <a:pt x="551" y="413"/>
                  </a:lnTo>
                  <a:lnTo>
                    <a:pt x="563" y="401"/>
                  </a:lnTo>
                  <a:lnTo>
                    <a:pt x="561" y="383"/>
                  </a:lnTo>
                  <a:lnTo>
                    <a:pt x="529" y="343"/>
                  </a:lnTo>
                  <a:lnTo>
                    <a:pt x="503" y="313"/>
                  </a:lnTo>
                  <a:lnTo>
                    <a:pt x="473" y="292"/>
                  </a:lnTo>
                  <a:lnTo>
                    <a:pt x="473" y="268"/>
                  </a:lnTo>
                  <a:lnTo>
                    <a:pt x="479" y="236"/>
                  </a:lnTo>
                  <a:lnTo>
                    <a:pt x="487" y="196"/>
                  </a:lnTo>
                  <a:lnTo>
                    <a:pt x="467" y="172"/>
                  </a:lnTo>
                  <a:lnTo>
                    <a:pt x="475" y="112"/>
                  </a:lnTo>
                  <a:lnTo>
                    <a:pt x="465" y="30"/>
                  </a:lnTo>
                  <a:lnTo>
                    <a:pt x="435" y="4"/>
                  </a:lnTo>
                  <a:lnTo>
                    <a:pt x="421" y="0"/>
                  </a:lnTo>
                  <a:lnTo>
                    <a:pt x="375" y="26"/>
                  </a:lnTo>
                  <a:lnTo>
                    <a:pt x="352" y="4"/>
                  </a:lnTo>
                  <a:lnTo>
                    <a:pt x="336" y="18"/>
                  </a:lnTo>
                  <a:lnTo>
                    <a:pt x="344" y="40"/>
                  </a:lnTo>
                  <a:lnTo>
                    <a:pt x="324" y="94"/>
                  </a:lnTo>
                  <a:lnTo>
                    <a:pt x="298" y="128"/>
                  </a:lnTo>
                  <a:lnTo>
                    <a:pt x="302" y="152"/>
                  </a:lnTo>
                  <a:lnTo>
                    <a:pt x="246" y="184"/>
                  </a:lnTo>
                  <a:lnTo>
                    <a:pt x="230" y="156"/>
                  </a:lnTo>
                  <a:lnTo>
                    <a:pt x="182" y="164"/>
                  </a:lnTo>
                  <a:lnTo>
                    <a:pt x="180" y="196"/>
                  </a:lnTo>
                  <a:lnTo>
                    <a:pt x="140" y="196"/>
                  </a:lnTo>
                  <a:lnTo>
                    <a:pt x="110" y="230"/>
                  </a:lnTo>
                  <a:lnTo>
                    <a:pt x="72" y="250"/>
                  </a:lnTo>
                  <a:lnTo>
                    <a:pt x="52" y="264"/>
                  </a:lnTo>
                  <a:lnTo>
                    <a:pt x="28" y="292"/>
                  </a:lnTo>
                  <a:lnTo>
                    <a:pt x="0" y="323"/>
                  </a:lnTo>
                  <a:lnTo>
                    <a:pt x="32" y="335"/>
                  </a:lnTo>
                  <a:lnTo>
                    <a:pt x="72" y="393"/>
                  </a:lnTo>
                  <a:lnTo>
                    <a:pt x="112" y="397"/>
                  </a:lnTo>
                  <a:lnTo>
                    <a:pt x="130" y="421"/>
                  </a:lnTo>
                  <a:lnTo>
                    <a:pt x="122" y="447"/>
                  </a:lnTo>
                  <a:lnTo>
                    <a:pt x="126" y="473"/>
                  </a:lnTo>
                  <a:lnTo>
                    <a:pt x="152" y="499"/>
                  </a:lnTo>
                  <a:lnTo>
                    <a:pt x="176" y="537"/>
                  </a:lnTo>
                  <a:lnTo>
                    <a:pt x="202" y="573"/>
                  </a:lnTo>
                  <a:lnTo>
                    <a:pt x="234" y="577"/>
                  </a:lnTo>
                  <a:lnTo>
                    <a:pt x="264" y="617"/>
                  </a:lnTo>
                  <a:close/>
                </a:path>
              </a:pathLst>
            </a:custGeom>
            <a:solidFill>
              <a:schemeClr val="accent2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Freeform 22"/>
            <p:cNvSpPr>
              <a:spLocks/>
            </p:cNvSpPr>
            <p:nvPr/>
          </p:nvSpPr>
          <p:spPr bwMode="auto">
            <a:xfrm>
              <a:off x="3538" y="2026"/>
              <a:ext cx="485" cy="899"/>
            </a:xfrm>
            <a:custGeom>
              <a:avLst/>
              <a:gdLst/>
              <a:ahLst/>
              <a:cxnLst>
                <a:cxn ang="0">
                  <a:pos x="299" y="1270"/>
                </a:cxn>
                <a:cxn ang="0">
                  <a:pos x="345" y="1167"/>
                </a:cxn>
                <a:cxn ang="0">
                  <a:pos x="353" y="1097"/>
                </a:cxn>
                <a:cxn ang="0">
                  <a:pos x="435" y="1003"/>
                </a:cxn>
                <a:cxn ang="0">
                  <a:pos x="524" y="971"/>
                </a:cxn>
                <a:cxn ang="0">
                  <a:pos x="570" y="905"/>
                </a:cxn>
                <a:cxn ang="0">
                  <a:pos x="604" y="891"/>
                </a:cxn>
                <a:cxn ang="0">
                  <a:pos x="618" y="879"/>
                </a:cxn>
                <a:cxn ang="0">
                  <a:pos x="582" y="841"/>
                </a:cxn>
                <a:cxn ang="0">
                  <a:pos x="532" y="823"/>
                </a:cxn>
                <a:cxn ang="0">
                  <a:pos x="518" y="804"/>
                </a:cxn>
                <a:cxn ang="0">
                  <a:pos x="439" y="702"/>
                </a:cxn>
                <a:cxn ang="0">
                  <a:pos x="427" y="646"/>
                </a:cxn>
                <a:cxn ang="0">
                  <a:pos x="427" y="576"/>
                </a:cxn>
                <a:cxn ang="0">
                  <a:pos x="439" y="512"/>
                </a:cxn>
                <a:cxn ang="0">
                  <a:pos x="457" y="460"/>
                </a:cxn>
                <a:cxn ang="0">
                  <a:pos x="487" y="391"/>
                </a:cxn>
                <a:cxn ang="0">
                  <a:pos x="562" y="263"/>
                </a:cxn>
                <a:cxn ang="0">
                  <a:pos x="596" y="199"/>
                </a:cxn>
                <a:cxn ang="0">
                  <a:pos x="662" y="109"/>
                </a:cxn>
                <a:cxn ang="0">
                  <a:pos x="644" y="65"/>
                </a:cxn>
                <a:cxn ang="0">
                  <a:pos x="604" y="83"/>
                </a:cxn>
                <a:cxn ang="0">
                  <a:pos x="588" y="25"/>
                </a:cxn>
                <a:cxn ang="0">
                  <a:pos x="550" y="4"/>
                </a:cxn>
                <a:cxn ang="0">
                  <a:pos x="510" y="25"/>
                </a:cxn>
                <a:cxn ang="0">
                  <a:pos x="449" y="0"/>
                </a:cxn>
                <a:cxn ang="0">
                  <a:pos x="395" y="49"/>
                </a:cxn>
                <a:cxn ang="0">
                  <a:pos x="419" y="145"/>
                </a:cxn>
                <a:cxn ang="0">
                  <a:pos x="395" y="189"/>
                </a:cxn>
                <a:cxn ang="0">
                  <a:pos x="349" y="255"/>
                </a:cxn>
                <a:cxn ang="0">
                  <a:pos x="311" y="233"/>
                </a:cxn>
                <a:cxn ang="0">
                  <a:pos x="301" y="287"/>
                </a:cxn>
                <a:cxn ang="0">
                  <a:pos x="269" y="327"/>
                </a:cxn>
                <a:cxn ang="0">
                  <a:pos x="235" y="365"/>
                </a:cxn>
                <a:cxn ang="0">
                  <a:pos x="187" y="393"/>
                </a:cxn>
                <a:cxn ang="0">
                  <a:pos x="177" y="359"/>
                </a:cxn>
                <a:cxn ang="0">
                  <a:pos x="147" y="357"/>
                </a:cxn>
                <a:cxn ang="0">
                  <a:pos x="111" y="418"/>
                </a:cxn>
                <a:cxn ang="0">
                  <a:pos x="82" y="468"/>
                </a:cxn>
                <a:cxn ang="0">
                  <a:pos x="68" y="482"/>
                </a:cxn>
                <a:cxn ang="0">
                  <a:pos x="50" y="506"/>
                </a:cxn>
                <a:cxn ang="0">
                  <a:pos x="0" y="604"/>
                </a:cxn>
                <a:cxn ang="0">
                  <a:pos x="44" y="624"/>
                </a:cxn>
                <a:cxn ang="0">
                  <a:pos x="125" y="662"/>
                </a:cxn>
                <a:cxn ang="0">
                  <a:pos x="111" y="724"/>
                </a:cxn>
                <a:cxn ang="0">
                  <a:pos x="121" y="800"/>
                </a:cxn>
                <a:cxn ang="0">
                  <a:pos x="201" y="833"/>
                </a:cxn>
                <a:cxn ang="0">
                  <a:pos x="223" y="875"/>
                </a:cxn>
                <a:cxn ang="0">
                  <a:pos x="187" y="935"/>
                </a:cxn>
                <a:cxn ang="0">
                  <a:pos x="195" y="1017"/>
                </a:cxn>
                <a:cxn ang="0">
                  <a:pos x="187" y="1075"/>
                </a:cxn>
                <a:cxn ang="0">
                  <a:pos x="199" y="1139"/>
                </a:cxn>
                <a:cxn ang="0">
                  <a:pos x="191" y="1197"/>
                </a:cxn>
                <a:cxn ang="0">
                  <a:pos x="211" y="1210"/>
                </a:cxn>
                <a:cxn ang="0">
                  <a:pos x="255" y="1258"/>
                </a:cxn>
              </a:cxnLst>
              <a:rect l="0" t="0" r="r" b="b"/>
              <a:pathLst>
                <a:path w="662" h="1288">
                  <a:moveTo>
                    <a:pt x="281" y="1288"/>
                  </a:moveTo>
                  <a:lnTo>
                    <a:pt x="299" y="1270"/>
                  </a:lnTo>
                  <a:lnTo>
                    <a:pt x="303" y="1230"/>
                  </a:lnTo>
                  <a:lnTo>
                    <a:pt x="345" y="1167"/>
                  </a:lnTo>
                  <a:lnTo>
                    <a:pt x="349" y="1117"/>
                  </a:lnTo>
                  <a:lnTo>
                    <a:pt x="353" y="1097"/>
                  </a:lnTo>
                  <a:lnTo>
                    <a:pt x="367" y="1071"/>
                  </a:lnTo>
                  <a:lnTo>
                    <a:pt x="435" y="1003"/>
                  </a:lnTo>
                  <a:lnTo>
                    <a:pt x="465" y="987"/>
                  </a:lnTo>
                  <a:lnTo>
                    <a:pt x="524" y="971"/>
                  </a:lnTo>
                  <a:lnTo>
                    <a:pt x="550" y="949"/>
                  </a:lnTo>
                  <a:lnTo>
                    <a:pt x="570" y="905"/>
                  </a:lnTo>
                  <a:lnTo>
                    <a:pt x="592" y="901"/>
                  </a:lnTo>
                  <a:lnTo>
                    <a:pt x="604" y="891"/>
                  </a:lnTo>
                  <a:lnTo>
                    <a:pt x="622" y="887"/>
                  </a:lnTo>
                  <a:lnTo>
                    <a:pt x="618" y="879"/>
                  </a:lnTo>
                  <a:lnTo>
                    <a:pt x="614" y="863"/>
                  </a:lnTo>
                  <a:lnTo>
                    <a:pt x="582" y="841"/>
                  </a:lnTo>
                  <a:lnTo>
                    <a:pt x="558" y="827"/>
                  </a:lnTo>
                  <a:lnTo>
                    <a:pt x="532" y="823"/>
                  </a:lnTo>
                  <a:lnTo>
                    <a:pt x="518" y="819"/>
                  </a:lnTo>
                  <a:lnTo>
                    <a:pt x="518" y="804"/>
                  </a:lnTo>
                  <a:lnTo>
                    <a:pt x="491" y="766"/>
                  </a:lnTo>
                  <a:lnTo>
                    <a:pt x="439" y="702"/>
                  </a:lnTo>
                  <a:lnTo>
                    <a:pt x="435" y="662"/>
                  </a:lnTo>
                  <a:lnTo>
                    <a:pt x="427" y="646"/>
                  </a:lnTo>
                  <a:lnTo>
                    <a:pt x="415" y="638"/>
                  </a:lnTo>
                  <a:lnTo>
                    <a:pt x="427" y="576"/>
                  </a:lnTo>
                  <a:lnTo>
                    <a:pt x="431" y="538"/>
                  </a:lnTo>
                  <a:lnTo>
                    <a:pt x="439" y="512"/>
                  </a:lnTo>
                  <a:lnTo>
                    <a:pt x="445" y="472"/>
                  </a:lnTo>
                  <a:lnTo>
                    <a:pt x="457" y="460"/>
                  </a:lnTo>
                  <a:lnTo>
                    <a:pt x="457" y="438"/>
                  </a:lnTo>
                  <a:lnTo>
                    <a:pt x="487" y="391"/>
                  </a:lnTo>
                  <a:lnTo>
                    <a:pt x="506" y="353"/>
                  </a:lnTo>
                  <a:lnTo>
                    <a:pt x="562" y="263"/>
                  </a:lnTo>
                  <a:lnTo>
                    <a:pt x="574" y="241"/>
                  </a:lnTo>
                  <a:lnTo>
                    <a:pt x="596" y="199"/>
                  </a:lnTo>
                  <a:lnTo>
                    <a:pt x="658" y="133"/>
                  </a:lnTo>
                  <a:lnTo>
                    <a:pt x="662" y="109"/>
                  </a:lnTo>
                  <a:lnTo>
                    <a:pt x="648" y="89"/>
                  </a:lnTo>
                  <a:lnTo>
                    <a:pt x="644" y="65"/>
                  </a:lnTo>
                  <a:lnTo>
                    <a:pt x="622" y="59"/>
                  </a:lnTo>
                  <a:lnTo>
                    <a:pt x="604" y="83"/>
                  </a:lnTo>
                  <a:lnTo>
                    <a:pt x="592" y="67"/>
                  </a:lnTo>
                  <a:lnTo>
                    <a:pt x="588" y="25"/>
                  </a:lnTo>
                  <a:lnTo>
                    <a:pt x="568" y="29"/>
                  </a:lnTo>
                  <a:lnTo>
                    <a:pt x="550" y="4"/>
                  </a:lnTo>
                  <a:lnTo>
                    <a:pt x="528" y="4"/>
                  </a:lnTo>
                  <a:lnTo>
                    <a:pt x="510" y="25"/>
                  </a:lnTo>
                  <a:lnTo>
                    <a:pt x="483" y="4"/>
                  </a:lnTo>
                  <a:lnTo>
                    <a:pt x="449" y="0"/>
                  </a:lnTo>
                  <a:lnTo>
                    <a:pt x="417" y="21"/>
                  </a:lnTo>
                  <a:lnTo>
                    <a:pt x="395" y="49"/>
                  </a:lnTo>
                  <a:lnTo>
                    <a:pt x="371" y="67"/>
                  </a:lnTo>
                  <a:lnTo>
                    <a:pt x="419" y="145"/>
                  </a:lnTo>
                  <a:lnTo>
                    <a:pt x="419" y="175"/>
                  </a:lnTo>
                  <a:lnTo>
                    <a:pt x="395" y="189"/>
                  </a:lnTo>
                  <a:lnTo>
                    <a:pt x="365" y="227"/>
                  </a:lnTo>
                  <a:lnTo>
                    <a:pt x="349" y="255"/>
                  </a:lnTo>
                  <a:lnTo>
                    <a:pt x="333" y="241"/>
                  </a:lnTo>
                  <a:lnTo>
                    <a:pt x="311" y="233"/>
                  </a:lnTo>
                  <a:lnTo>
                    <a:pt x="301" y="239"/>
                  </a:lnTo>
                  <a:lnTo>
                    <a:pt x="301" y="287"/>
                  </a:lnTo>
                  <a:lnTo>
                    <a:pt x="297" y="319"/>
                  </a:lnTo>
                  <a:lnTo>
                    <a:pt x="269" y="327"/>
                  </a:lnTo>
                  <a:lnTo>
                    <a:pt x="247" y="339"/>
                  </a:lnTo>
                  <a:lnTo>
                    <a:pt x="235" y="365"/>
                  </a:lnTo>
                  <a:lnTo>
                    <a:pt x="229" y="393"/>
                  </a:lnTo>
                  <a:lnTo>
                    <a:pt x="187" y="393"/>
                  </a:lnTo>
                  <a:lnTo>
                    <a:pt x="177" y="383"/>
                  </a:lnTo>
                  <a:lnTo>
                    <a:pt x="177" y="359"/>
                  </a:lnTo>
                  <a:lnTo>
                    <a:pt x="163" y="345"/>
                  </a:lnTo>
                  <a:lnTo>
                    <a:pt x="147" y="357"/>
                  </a:lnTo>
                  <a:lnTo>
                    <a:pt x="107" y="381"/>
                  </a:lnTo>
                  <a:lnTo>
                    <a:pt x="111" y="418"/>
                  </a:lnTo>
                  <a:lnTo>
                    <a:pt x="109" y="434"/>
                  </a:lnTo>
                  <a:lnTo>
                    <a:pt x="82" y="468"/>
                  </a:lnTo>
                  <a:lnTo>
                    <a:pt x="66" y="468"/>
                  </a:lnTo>
                  <a:lnTo>
                    <a:pt x="68" y="482"/>
                  </a:lnTo>
                  <a:lnTo>
                    <a:pt x="72" y="500"/>
                  </a:lnTo>
                  <a:lnTo>
                    <a:pt x="50" y="506"/>
                  </a:lnTo>
                  <a:lnTo>
                    <a:pt x="18" y="512"/>
                  </a:lnTo>
                  <a:lnTo>
                    <a:pt x="0" y="604"/>
                  </a:lnTo>
                  <a:lnTo>
                    <a:pt x="18" y="612"/>
                  </a:lnTo>
                  <a:lnTo>
                    <a:pt x="44" y="624"/>
                  </a:lnTo>
                  <a:lnTo>
                    <a:pt x="82" y="638"/>
                  </a:lnTo>
                  <a:lnTo>
                    <a:pt x="125" y="662"/>
                  </a:lnTo>
                  <a:lnTo>
                    <a:pt x="125" y="676"/>
                  </a:lnTo>
                  <a:lnTo>
                    <a:pt x="111" y="724"/>
                  </a:lnTo>
                  <a:lnTo>
                    <a:pt x="111" y="780"/>
                  </a:lnTo>
                  <a:lnTo>
                    <a:pt x="121" y="800"/>
                  </a:lnTo>
                  <a:lnTo>
                    <a:pt x="149" y="811"/>
                  </a:lnTo>
                  <a:lnTo>
                    <a:pt x="201" y="833"/>
                  </a:lnTo>
                  <a:lnTo>
                    <a:pt x="219" y="845"/>
                  </a:lnTo>
                  <a:lnTo>
                    <a:pt x="223" y="875"/>
                  </a:lnTo>
                  <a:lnTo>
                    <a:pt x="207" y="891"/>
                  </a:lnTo>
                  <a:lnTo>
                    <a:pt x="187" y="935"/>
                  </a:lnTo>
                  <a:lnTo>
                    <a:pt x="187" y="961"/>
                  </a:lnTo>
                  <a:lnTo>
                    <a:pt x="195" y="1017"/>
                  </a:lnTo>
                  <a:lnTo>
                    <a:pt x="191" y="1039"/>
                  </a:lnTo>
                  <a:lnTo>
                    <a:pt x="187" y="1075"/>
                  </a:lnTo>
                  <a:lnTo>
                    <a:pt x="207" y="1101"/>
                  </a:lnTo>
                  <a:lnTo>
                    <a:pt x="199" y="1139"/>
                  </a:lnTo>
                  <a:lnTo>
                    <a:pt x="191" y="1171"/>
                  </a:lnTo>
                  <a:lnTo>
                    <a:pt x="191" y="1197"/>
                  </a:lnTo>
                  <a:lnTo>
                    <a:pt x="195" y="1201"/>
                  </a:lnTo>
                  <a:lnTo>
                    <a:pt x="211" y="1210"/>
                  </a:lnTo>
                  <a:lnTo>
                    <a:pt x="241" y="1236"/>
                  </a:lnTo>
                  <a:lnTo>
                    <a:pt x="255" y="1258"/>
                  </a:lnTo>
                  <a:lnTo>
                    <a:pt x="281" y="1288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16456" name="Group 23"/>
            <p:cNvGrpSpPr>
              <a:grpSpLocks/>
            </p:cNvGrpSpPr>
            <p:nvPr/>
          </p:nvGrpSpPr>
          <p:grpSpPr bwMode="auto">
            <a:xfrm>
              <a:off x="4374" y="2159"/>
              <a:ext cx="595" cy="298"/>
              <a:chOff x="4087" y="1684"/>
              <a:chExt cx="1040" cy="664"/>
            </a:xfrm>
          </p:grpSpPr>
          <p:sp>
            <p:nvSpPr>
              <p:cNvPr id="25" name="Freeform 24"/>
              <p:cNvSpPr>
                <a:spLocks/>
              </p:cNvSpPr>
              <p:nvPr/>
            </p:nvSpPr>
            <p:spPr bwMode="auto">
              <a:xfrm>
                <a:off x="4087" y="2145"/>
                <a:ext cx="140" cy="123"/>
              </a:xfrm>
              <a:custGeom>
                <a:avLst/>
                <a:gdLst/>
                <a:ahLst/>
                <a:cxnLst>
                  <a:cxn ang="0">
                    <a:pos x="118" y="0"/>
                  </a:cxn>
                  <a:cxn ang="0">
                    <a:pos x="78" y="0"/>
                  </a:cxn>
                  <a:cxn ang="0">
                    <a:pos x="32" y="26"/>
                  </a:cxn>
                  <a:cxn ang="0">
                    <a:pos x="32" y="52"/>
                  </a:cxn>
                  <a:cxn ang="0">
                    <a:pos x="18" y="56"/>
                  </a:cxn>
                  <a:cxn ang="0">
                    <a:pos x="4" y="74"/>
                  </a:cxn>
                  <a:cxn ang="0">
                    <a:pos x="0" y="92"/>
                  </a:cxn>
                  <a:cxn ang="0">
                    <a:pos x="14" y="96"/>
                  </a:cxn>
                  <a:cxn ang="0">
                    <a:pos x="40" y="123"/>
                  </a:cxn>
                  <a:cxn ang="0">
                    <a:pos x="58" y="123"/>
                  </a:cxn>
                  <a:cxn ang="0">
                    <a:pos x="58" y="109"/>
                  </a:cxn>
                  <a:cxn ang="0">
                    <a:pos x="70" y="82"/>
                  </a:cxn>
                  <a:cxn ang="0">
                    <a:pos x="88" y="86"/>
                  </a:cxn>
                  <a:cxn ang="0">
                    <a:pos x="100" y="68"/>
                  </a:cxn>
                  <a:cxn ang="0">
                    <a:pos x="136" y="36"/>
                  </a:cxn>
                  <a:cxn ang="0">
                    <a:pos x="140" y="26"/>
                  </a:cxn>
                  <a:cxn ang="0">
                    <a:pos x="136" y="22"/>
                  </a:cxn>
                  <a:cxn ang="0">
                    <a:pos x="118" y="0"/>
                  </a:cxn>
                </a:cxnLst>
                <a:rect l="0" t="0" r="r" b="b"/>
                <a:pathLst>
                  <a:path w="140" h="123">
                    <a:moveTo>
                      <a:pt x="118" y="0"/>
                    </a:moveTo>
                    <a:lnTo>
                      <a:pt x="78" y="0"/>
                    </a:lnTo>
                    <a:lnTo>
                      <a:pt x="32" y="26"/>
                    </a:lnTo>
                    <a:lnTo>
                      <a:pt x="32" y="52"/>
                    </a:lnTo>
                    <a:lnTo>
                      <a:pt x="18" y="56"/>
                    </a:lnTo>
                    <a:lnTo>
                      <a:pt x="4" y="74"/>
                    </a:lnTo>
                    <a:lnTo>
                      <a:pt x="0" y="92"/>
                    </a:lnTo>
                    <a:lnTo>
                      <a:pt x="14" y="96"/>
                    </a:lnTo>
                    <a:lnTo>
                      <a:pt x="40" y="123"/>
                    </a:lnTo>
                    <a:lnTo>
                      <a:pt x="58" y="123"/>
                    </a:lnTo>
                    <a:lnTo>
                      <a:pt x="58" y="109"/>
                    </a:lnTo>
                    <a:lnTo>
                      <a:pt x="70" y="82"/>
                    </a:lnTo>
                    <a:lnTo>
                      <a:pt x="88" y="86"/>
                    </a:lnTo>
                    <a:lnTo>
                      <a:pt x="100" y="68"/>
                    </a:lnTo>
                    <a:lnTo>
                      <a:pt x="136" y="36"/>
                    </a:lnTo>
                    <a:lnTo>
                      <a:pt x="140" y="26"/>
                    </a:lnTo>
                    <a:lnTo>
                      <a:pt x="136" y="22"/>
                    </a:lnTo>
                    <a:lnTo>
                      <a:pt x="118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6" name="Freeform 25"/>
              <p:cNvSpPr>
                <a:spLocks/>
              </p:cNvSpPr>
              <p:nvPr/>
            </p:nvSpPr>
            <p:spPr bwMode="auto">
              <a:xfrm>
                <a:off x="4153" y="2284"/>
                <a:ext cx="74" cy="6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14"/>
                  </a:cxn>
                  <a:cxn ang="0">
                    <a:pos x="0" y="26"/>
                  </a:cxn>
                  <a:cxn ang="0">
                    <a:pos x="0" y="46"/>
                  </a:cxn>
                  <a:cxn ang="0">
                    <a:pos x="12" y="64"/>
                  </a:cxn>
                  <a:cxn ang="0">
                    <a:pos x="26" y="52"/>
                  </a:cxn>
                  <a:cxn ang="0">
                    <a:pos x="34" y="56"/>
                  </a:cxn>
                  <a:cxn ang="0">
                    <a:pos x="56" y="64"/>
                  </a:cxn>
                  <a:cxn ang="0">
                    <a:pos x="74" y="56"/>
                  </a:cxn>
                  <a:cxn ang="0">
                    <a:pos x="70" y="42"/>
                  </a:cxn>
                  <a:cxn ang="0">
                    <a:pos x="52" y="26"/>
                  </a:cxn>
                  <a:cxn ang="0">
                    <a:pos x="38" y="22"/>
                  </a:cxn>
                  <a:cxn ang="0">
                    <a:pos x="26" y="22"/>
                  </a:cxn>
                  <a:cxn ang="0">
                    <a:pos x="12" y="0"/>
                  </a:cxn>
                </a:cxnLst>
                <a:rect l="0" t="0" r="r" b="b"/>
                <a:pathLst>
                  <a:path w="74" h="64">
                    <a:moveTo>
                      <a:pt x="12" y="0"/>
                    </a:moveTo>
                    <a:lnTo>
                      <a:pt x="12" y="14"/>
                    </a:lnTo>
                    <a:lnTo>
                      <a:pt x="0" y="26"/>
                    </a:lnTo>
                    <a:lnTo>
                      <a:pt x="0" y="46"/>
                    </a:lnTo>
                    <a:lnTo>
                      <a:pt x="12" y="64"/>
                    </a:lnTo>
                    <a:lnTo>
                      <a:pt x="26" y="52"/>
                    </a:lnTo>
                    <a:lnTo>
                      <a:pt x="34" y="56"/>
                    </a:lnTo>
                    <a:lnTo>
                      <a:pt x="56" y="64"/>
                    </a:lnTo>
                    <a:lnTo>
                      <a:pt x="74" y="56"/>
                    </a:lnTo>
                    <a:lnTo>
                      <a:pt x="70" y="42"/>
                    </a:lnTo>
                    <a:lnTo>
                      <a:pt x="52" y="26"/>
                    </a:lnTo>
                    <a:lnTo>
                      <a:pt x="38" y="22"/>
                    </a:lnTo>
                    <a:lnTo>
                      <a:pt x="26" y="2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4445" y="1728"/>
                <a:ext cx="385" cy="313"/>
              </a:xfrm>
              <a:custGeom>
                <a:avLst/>
                <a:gdLst/>
                <a:ahLst/>
                <a:cxnLst>
                  <a:cxn ang="0">
                    <a:pos x="301" y="0"/>
                  </a:cxn>
                  <a:cxn ang="0">
                    <a:pos x="271" y="22"/>
                  </a:cxn>
                  <a:cxn ang="0">
                    <a:pos x="279" y="30"/>
                  </a:cxn>
                  <a:cxn ang="0">
                    <a:pos x="295" y="30"/>
                  </a:cxn>
                  <a:cxn ang="0">
                    <a:pos x="287" y="48"/>
                  </a:cxn>
                  <a:cxn ang="0">
                    <a:pos x="265" y="68"/>
                  </a:cxn>
                  <a:cxn ang="0">
                    <a:pos x="287" y="64"/>
                  </a:cxn>
                  <a:cxn ang="0">
                    <a:pos x="297" y="74"/>
                  </a:cxn>
                  <a:cxn ang="0">
                    <a:pos x="297" y="80"/>
                  </a:cxn>
                  <a:cxn ang="0">
                    <a:pos x="315" y="96"/>
                  </a:cxn>
                  <a:cxn ang="0">
                    <a:pos x="333" y="88"/>
                  </a:cxn>
                  <a:cxn ang="0">
                    <a:pos x="341" y="64"/>
                  </a:cxn>
                  <a:cxn ang="0">
                    <a:pos x="363" y="68"/>
                  </a:cxn>
                  <a:cxn ang="0">
                    <a:pos x="377" y="80"/>
                  </a:cxn>
                  <a:cxn ang="0">
                    <a:pos x="385" y="96"/>
                  </a:cxn>
                  <a:cxn ang="0">
                    <a:pos x="371" y="114"/>
                  </a:cxn>
                  <a:cxn ang="0">
                    <a:pos x="355" y="125"/>
                  </a:cxn>
                  <a:cxn ang="0">
                    <a:pos x="367" y="145"/>
                  </a:cxn>
                  <a:cxn ang="0">
                    <a:pos x="363" y="167"/>
                  </a:cxn>
                  <a:cxn ang="0">
                    <a:pos x="359" y="193"/>
                  </a:cxn>
                  <a:cxn ang="0">
                    <a:pos x="349" y="219"/>
                  </a:cxn>
                  <a:cxn ang="0">
                    <a:pos x="319" y="223"/>
                  </a:cxn>
                  <a:cxn ang="0">
                    <a:pos x="327" y="241"/>
                  </a:cxn>
                  <a:cxn ang="0">
                    <a:pos x="341" y="261"/>
                  </a:cxn>
                  <a:cxn ang="0">
                    <a:pos x="323" y="275"/>
                  </a:cxn>
                  <a:cxn ang="0">
                    <a:pos x="315" y="299"/>
                  </a:cxn>
                  <a:cxn ang="0">
                    <a:pos x="301" y="305"/>
                  </a:cxn>
                  <a:cxn ang="0">
                    <a:pos x="291" y="295"/>
                  </a:cxn>
                  <a:cxn ang="0">
                    <a:pos x="279" y="295"/>
                  </a:cxn>
                  <a:cxn ang="0">
                    <a:pos x="253" y="313"/>
                  </a:cxn>
                  <a:cxn ang="0">
                    <a:pos x="217" y="271"/>
                  </a:cxn>
                  <a:cxn ang="0">
                    <a:pos x="187" y="279"/>
                  </a:cxn>
                  <a:cxn ang="0">
                    <a:pos x="167" y="257"/>
                  </a:cxn>
                  <a:cxn ang="0">
                    <a:pos x="157" y="231"/>
                  </a:cxn>
                  <a:cxn ang="0">
                    <a:pos x="157" y="205"/>
                  </a:cxn>
                  <a:cxn ang="0">
                    <a:pos x="131" y="197"/>
                  </a:cxn>
                  <a:cxn ang="0">
                    <a:pos x="117" y="197"/>
                  </a:cxn>
                  <a:cxn ang="0">
                    <a:pos x="109" y="183"/>
                  </a:cxn>
                  <a:cxn ang="0">
                    <a:pos x="95" y="197"/>
                  </a:cxn>
                  <a:cxn ang="0">
                    <a:pos x="87" y="219"/>
                  </a:cxn>
                  <a:cxn ang="0">
                    <a:pos x="67" y="237"/>
                  </a:cxn>
                  <a:cxn ang="0">
                    <a:pos x="41" y="205"/>
                  </a:cxn>
                  <a:cxn ang="0">
                    <a:pos x="0" y="201"/>
                  </a:cxn>
                  <a:cxn ang="0">
                    <a:pos x="9" y="183"/>
                  </a:cxn>
                  <a:cxn ang="0">
                    <a:pos x="37" y="167"/>
                  </a:cxn>
                  <a:cxn ang="0">
                    <a:pos x="41" y="145"/>
                  </a:cxn>
                  <a:cxn ang="0">
                    <a:pos x="71" y="106"/>
                  </a:cxn>
                  <a:cxn ang="0">
                    <a:pos x="105" y="102"/>
                  </a:cxn>
                  <a:cxn ang="0">
                    <a:pos x="135" y="72"/>
                  </a:cxn>
                  <a:cxn ang="0">
                    <a:pos x="145" y="56"/>
                  </a:cxn>
                  <a:cxn ang="0">
                    <a:pos x="167" y="34"/>
                  </a:cxn>
                  <a:cxn ang="0">
                    <a:pos x="179" y="44"/>
                  </a:cxn>
                  <a:cxn ang="0">
                    <a:pos x="209" y="30"/>
                  </a:cxn>
                  <a:cxn ang="0">
                    <a:pos x="217" y="8"/>
                  </a:cxn>
                  <a:cxn ang="0">
                    <a:pos x="261" y="4"/>
                  </a:cxn>
                  <a:cxn ang="0">
                    <a:pos x="301" y="0"/>
                  </a:cxn>
                </a:cxnLst>
                <a:rect l="0" t="0" r="r" b="b"/>
                <a:pathLst>
                  <a:path w="385" h="313">
                    <a:moveTo>
                      <a:pt x="301" y="0"/>
                    </a:moveTo>
                    <a:lnTo>
                      <a:pt x="271" y="22"/>
                    </a:lnTo>
                    <a:lnTo>
                      <a:pt x="279" y="30"/>
                    </a:lnTo>
                    <a:lnTo>
                      <a:pt x="295" y="30"/>
                    </a:lnTo>
                    <a:lnTo>
                      <a:pt x="287" y="48"/>
                    </a:lnTo>
                    <a:lnTo>
                      <a:pt x="265" y="68"/>
                    </a:lnTo>
                    <a:lnTo>
                      <a:pt x="287" y="64"/>
                    </a:lnTo>
                    <a:lnTo>
                      <a:pt x="297" y="74"/>
                    </a:lnTo>
                    <a:lnTo>
                      <a:pt x="297" y="80"/>
                    </a:lnTo>
                    <a:lnTo>
                      <a:pt x="315" y="96"/>
                    </a:lnTo>
                    <a:lnTo>
                      <a:pt x="333" y="88"/>
                    </a:lnTo>
                    <a:lnTo>
                      <a:pt x="341" y="64"/>
                    </a:lnTo>
                    <a:lnTo>
                      <a:pt x="363" y="68"/>
                    </a:lnTo>
                    <a:lnTo>
                      <a:pt x="377" y="80"/>
                    </a:lnTo>
                    <a:lnTo>
                      <a:pt x="385" y="96"/>
                    </a:lnTo>
                    <a:lnTo>
                      <a:pt x="371" y="114"/>
                    </a:lnTo>
                    <a:lnTo>
                      <a:pt x="355" y="125"/>
                    </a:lnTo>
                    <a:lnTo>
                      <a:pt x="367" y="145"/>
                    </a:lnTo>
                    <a:lnTo>
                      <a:pt x="363" y="167"/>
                    </a:lnTo>
                    <a:lnTo>
                      <a:pt x="359" y="193"/>
                    </a:lnTo>
                    <a:lnTo>
                      <a:pt x="349" y="219"/>
                    </a:lnTo>
                    <a:lnTo>
                      <a:pt x="319" y="223"/>
                    </a:lnTo>
                    <a:lnTo>
                      <a:pt x="327" y="241"/>
                    </a:lnTo>
                    <a:lnTo>
                      <a:pt x="341" y="261"/>
                    </a:lnTo>
                    <a:lnTo>
                      <a:pt x="323" y="275"/>
                    </a:lnTo>
                    <a:lnTo>
                      <a:pt x="315" y="299"/>
                    </a:lnTo>
                    <a:lnTo>
                      <a:pt x="301" y="305"/>
                    </a:lnTo>
                    <a:lnTo>
                      <a:pt x="291" y="295"/>
                    </a:lnTo>
                    <a:lnTo>
                      <a:pt x="279" y="295"/>
                    </a:lnTo>
                    <a:lnTo>
                      <a:pt x="253" y="313"/>
                    </a:lnTo>
                    <a:lnTo>
                      <a:pt x="217" y="271"/>
                    </a:lnTo>
                    <a:lnTo>
                      <a:pt x="187" y="279"/>
                    </a:lnTo>
                    <a:lnTo>
                      <a:pt x="167" y="257"/>
                    </a:lnTo>
                    <a:lnTo>
                      <a:pt x="157" y="231"/>
                    </a:lnTo>
                    <a:lnTo>
                      <a:pt x="157" y="205"/>
                    </a:lnTo>
                    <a:lnTo>
                      <a:pt x="131" y="197"/>
                    </a:lnTo>
                    <a:lnTo>
                      <a:pt x="117" y="197"/>
                    </a:lnTo>
                    <a:lnTo>
                      <a:pt x="109" y="183"/>
                    </a:lnTo>
                    <a:lnTo>
                      <a:pt x="95" y="197"/>
                    </a:lnTo>
                    <a:lnTo>
                      <a:pt x="87" y="219"/>
                    </a:lnTo>
                    <a:lnTo>
                      <a:pt x="67" y="237"/>
                    </a:lnTo>
                    <a:lnTo>
                      <a:pt x="41" y="205"/>
                    </a:lnTo>
                    <a:lnTo>
                      <a:pt x="0" y="201"/>
                    </a:lnTo>
                    <a:lnTo>
                      <a:pt x="9" y="183"/>
                    </a:lnTo>
                    <a:lnTo>
                      <a:pt x="37" y="167"/>
                    </a:lnTo>
                    <a:lnTo>
                      <a:pt x="41" y="145"/>
                    </a:lnTo>
                    <a:lnTo>
                      <a:pt x="71" y="106"/>
                    </a:lnTo>
                    <a:lnTo>
                      <a:pt x="105" y="102"/>
                    </a:lnTo>
                    <a:lnTo>
                      <a:pt x="135" y="72"/>
                    </a:lnTo>
                    <a:lnTo>
                      <a:pt x="145" y="56"/>
                    </a:lnTo>
                    <a:lnTo>
                      <a:pt x="167" y="34"/>
                    </a:lnTo>
                    <a:lnTo>
                      <a:pt x="179" y="44"/>
                    </a:lnTo>
                    <a:lnTo>
                      <a:pt x="209" y="30"/>
                    </a:lnTo>
                    <a:lnTo>
                      <a:pt x="217" y="8"/>
                    </a:lnTo>
                    <a:lnTo>
                      <a:pt x="261" y="4"/>
                    </a:lnTo>
                    <a:lnTo>
                      <a:pt x="301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4947" y="1684"/>
                <a:ext cx="180" cy="12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14" y="0"/>
                  </a:cxn>
                  <a:cxn ang="0">
                    <a:pos x="54" y="8"/>
                  </a:cxn>
                  <a:cxn ang="0">
                    <a:pos x="68" y="12"/>
                  </a:cxn>
                  <a:cxn ang="0">
                    <a:pos x="84" y="8"/>
                  </a:cxn>
                  <a:cxn ang="0">
                    <a:pos x="104" y="0"/>
                  </a:cxn>
                  <a:cxn ang="0">
                    <a:pos x="128" y="4"/>
                  </a:cxn>
                  <a:cxn ang="0">
                    <a:pos x="152" y="16"/>
                  </a:cxn>
                  <a:cxn ang="0">
                    <a:pos x="166" y="48"/>
                  </a:cxn>
                  <a:cxn ang="0">
                    <a:pos x="158" y="66"/>
                  </a:cxn>
                  <a:cxn ang="0">
                    <a:pos x="170" y="88"/>
                  </a:cxn>
                  <a:cxn ang="0">
                    <a:pos x="180" y="108"/>
                  </a:cxn>
                  <a:cxn ang="0">
                    <a:pos x="176" y="128"/>
                  </a:cxn>
                  <a:cxn ang="0">
                    <a:pos x="166" y="112"/>
                  </a:cxn>
                  <a:cxn ang="0">
                    <a:pos x="138" y="82"/>
                  </a:cxn>
                  <a:cxn ang="0">
                    <a:pos x="90" y="66"/>
                  </a:cxn>
                  <a:cxn ang="0">
                    <a:pos x="54" y="62"/>
                  </a:cxn>
                  <a:cxn ang="0">
                    <a:pos x="28" y="70"/>
                  </a:cxn>
                  <a:cxn ang="0">
                    <a:pos x="16" y="58"/>
                  </a:cxn>
                  <a:cxn ang="0">
                    <a:pos x="14" y="38"/>
                  </a:cxn>
                  <a:cxn ang="0">
                    <a:pos x="0" y="30"/>
                  </a:cxn>
                  <a:cxn ang="0">
                    <a:pos x="0" y="8"/>
                  </a:cxn>
                </a:cxnLst>
                <a:rect l="0" t="0" r="r" b="b"/>
                <a:pathLst>
                  <a:path w="180" h="128">
                    <a:moveTo>
                      <a:pt x="0" y="8"/>
                    </a:moveTo>
                    <a:lnTo>
                      <a:pt x="14" y="0"/>
                    </a:lnTo>
                    <a:lnTo>
                      <a:pt x="54" y="8"/>
                    </a:lnTo>
                    <a:lnTo>
                      <a:pt x="68" y="12"/>
                    </a:lnTo>
                    <a:lnTo>
                      <a:pt x="84" y="8"/>
                    </a:lnTo>
                    <a:lnTo>
                      <a:pt x="104" y="0"/>
                    </a:lnTo>
                    <a:lnTo>
                      <a:pt x="128" y="4"/>
                    </a:lnTo>
                    <a:lnTo>
                      <a:pt x="152" y="16"/>
                    </a:lnTo>
                    <a:lnTo>
                      <a:pt x="166" y="48"/>
                    </a:lnTo>
                    <a:lnTo>
                      <a:pt x="158" y="66"/>
                    </a:lnTo>
                    <a:lnTo>
                      <a:pt x="170" y="88"/>
                    </a:lnTo>
                    <a:lnTo>
                      <a:pt x="180" y="108"/>
                    </a:lnTo>
                    <a:lnTo>
                      <a:pt x="176" y="128"/>
                    </a:lnTo>
                    <a:lnTo>
                      <a:pt x="166" y="112"/>
                    </a:lnTo>
                    <a:lnTo>
                      <a:pt x="138" y="82"/>
                    </a:lnTo>
                    <a:lnTo>
                      <a:pt x="90" y="66"/>
                    </a:lnTo>
                    <a:lnTo>
                      <a:pt x="54" y="62"/>
                    </a:lnTo>
                    <a:lnTo>
                      <a:pt x="28" y="70"/>
                    </a:lnTo>
                    <a:lnTo>
                      <a:pt x="16" y="58"/>
                    </a:lnTo>
                    <a:lnTo>
                      <a:pt x="14" y="38"/>
                    </a:lnTo>
                    <a:lnTo>
                      <a:pt x="0" y="30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29" name="Freeform 28"/>
              <p:cNvSpPr>
                <a:spLocks/>
              </p:cNvSpPr>
              <p:nvPr/>
            </p:nvSpPr>
            <p:spPr bwMode="auto">
              <a:xfrm>
                <a:off x="4650" y="2073"/>
                <a:ext cx="60" cy="46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0" y="20"/>
                  </a:cxn>
                  <a:cxn ang="0">
                    <a:pos x="8" y="38"/>
                  </a:cxn>
                  <a:cxn ang="0">
                    <a:pos x="22" y="46"/>
                  </a:cxn>
                  <a:cxn ang="0">
                    <a:pos x="42" y="38"/>
                  </a:cxn>
                  <a:cxn ang="0">
                    <a:pos x="60" y="28"/>
                  </a:cxn>
                  <a:cxn ang="0">
                    <a:pos x="52" y="16"/>
                  </a:cxn>
                  <a:cxn ang="0">
                    <a:pos x="18" y="0"/>
                  </a:cxn>
                </a:cxnLst>
                <a:rect l="0" t="0" r="r" b="b"/>
                <a:pathLst>
                  <a:path w="60" h="46">
                    <a:moveTo>
                      <a:pt x="18" y="0"/>
                    </a:moveTo>
                    <a:lnTo>
                      <a:pt x="0" y="20"/>
                    </a:lnTo>
                    <a:lnTo>
                      <a:pt x="8" y="38"/>
                    </a:lnTo>
                    <a:lnTo>
                      <a:pt x="22" y="46"/>
                    </a:lnTo>
                    <a:lnTo>
                      <a:pt x="42" y="38"/>
                    </a:lnTo>
                    <a:lnTo>
                      <a:pt x="60" y="28"/>
                    </a:lnTo>
                    <a:lnTo>
                      <a:pt x="52" y="16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solidFill>
                  <a:schemeClr val="bg1"/>
                </a:solidFill>
                <a:headEnd/>
                <a:tailEnd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>
                  <a:defRPr/>
                </a:pPr>
                <a:endParaRPr lang="es-ES" i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16" name="Freeform 29"/>
            <p:cNvSpPr>
              <a:spLocks/>
            </p:cNvSpPr>
            <p:nvPr/>
          </p:nvSpPr>
          <p:spPr bwMode="auto">
            <a:xfrm>
              <a:off x="3937" y="1360"/>
              <a:ext cx="746" cy="753"/>
            </a:xfrm>
            <a:custGeom>
              <a:avLst/>
              <a:gdLst/>
              <a:ahLst/>
              <a:cxnLst>
                <a:cxn ang="0">
                  <a:pos x="180" y="251"/>
                </a:cxn>
                <a:cxn ang="0">
                  <a:pos x="158" y="331"/>
                </a:cxn>
                <a:cxn ang="0">
                  <a:pos x="152" y="411"/>
                </a:cxn>
                <a:cxn ang="0">
                  <a:pos x="42" y="543"/>
                </a:cxn>
                <a:cxn ang="0">
                  <a:pos x="68" y="582"/>
                </a:cxn>
                <a:cxn ang="0">
                  <a:pos x="56" y="698"/>
                </a:cxn>
                <a:cxn ang="0">
                  <a:pos x="44" y="780"/>
                </a:cxn>
                <a:cxn ang="0">
                  <a:pos x="30" y="838"/>
                </a:cxn>
                <a:cxn ang="0">
                  <a:pos x="14" y="904"/>
                </a:cxn>
                <a:cxn ang="0">
                  <a:pos x="0" y="950"/>
                </a:cxn>
                <a:cxn ang="0">
                  <a:pos x="46" y="979"/>
                </a:cxn>
                <a:cxn ang="0">
                  <a:pos x="60" y="1037"/>
                </a:cxn>
                <a:cxn ang="0">
                  <a:pos x="94" y="1019"/>
                </a:cxn>
                <a:cxn ang="0">
                  <a:pos x="116" y="1057"/>
                </a:cxn>
                <a:cxn ang="0">
                  <a:pos x="158" y="1019"/>
                </a:cxn>
                <a:cxn ang="0">
                  <a:pos x="180" y="989"/>
                </a:cxn>
                <a:cxn ang="0">
                  <a:pos x="238" y="971"/>
                </a:cxn>
                <a:cxn ang="0">
                  <a:pos x="250" y="928"/>
                </a:cxn>
                <a:cxn ang="0">
                  <a:pos x="206" y="906"/>
                </a:cxn>
                <a:cxn ang="0">
                  <a:pos x="300" y="816"/>
                </a:cxn>
                <a:cxn ang="0">
                  <a:pos x="481" y="738"/>
                </a:cxn>
                <a:cxn ang="0">
                  <a:pos x="623" y="672"/>
                </a:cxn>
                <a:cxn ang="0">
                  <a:pos x="703" y="576"/>
                </a:cxn>
                <a:cxn ang="0">
                  <a:pos x="844" y="503"/>
                </a:cxn>
                <a:cxn ang="0">
                  <a:pos x="996" y="341"/>
                </a:cxn>
                <a:cxn ang="0">
                  <a:pos x="940" y="239"/>
                </a:cxn>
                <a:cxn ang="0">
                  <a:pos x="944" y="207"/>
                </a:cxn>
                <a:cxn ang="0">
                  <a:pos x="1018" y="183"/>
                </a:cxn>
                <a:cxn ang="0">
                  <a:pos x="978" y="164"/>
                </a:cxn>
                <a:cxn ang="0">
                  <a:pos x="960" y="120"/>
                </a:cxn>
                <a:cxn ang="0">
                  <a:pos x="918" y="130"/>
                </a:cxn>
                <a:cxn ang="0">
                  <a:pos x="914" y="108"/>
                </a:cxn>
                <a:cxn ang="0">
                  <a:pos x="866" y="104"/>
                </a:cxn>
                <a:cxn ang="0">
                  <a:pos x="816" y="148"/>
                </a:cxn>
                <a:cxn ang="0">
                  <a:pos x="820" y="160"/>
                </a:cxn>
                <a:cxn ang="0">
                  <a:pos x="767" y="175"/>
                </a:cxn>
                <a:cxn ang="0">
                  <a:pos x="715" y="175"/>
                </a:cxn>
                <a:cxn ang="0">
                  <a:pos x="667" y="160"/>
                </a:cxn>
                <a:cxn ang="0">
                  <a:pos x="615" y="170"/>
                </a:cxn>
                <a:cxn ang="0">
                  <a:pos x="547" y="164"/>
                </a:cxn>
                <a:cxn ang="0">
                  <a:pos x="495" y="130"/>
                </a:cxn>
                <a:cxn ang="0">
                  <a:pos x="507" y="108"/>
                </a:cxn>
                <a:cxn ang="0">
                  <a:pos x="503" y="86"/>
                </a:cxn>
                <a:cxn ang="0">
                  <a:pos x="447" y="70"/>
                </a:cxn>
                <a:cxn ang="0">
                  <a:pos x="383" y="70"/>
                </a:cxn>
                <a:cxn ang="0">
                  <a:pos x="284" y="30"/>
                </a:cxn>
                <a:cxn ang="0">
                  <a:pos x="198" y="14"/>
                </a:cxn>
                <a:cxn ang="0">
                  <a:pos x="146" y="8"/>
                </a:cxn>
                <a:cxn ang="0">
                  <a:pos x="112" y="66"/>
                </a:cxn>
              </a:cxnLst>
              <a:rect l="0" t="0" r="r" b="b"/>
              <a:pathLst>
                <a:path w="1018" h="1079">
                  <a:moveTo>
                    <a:pt x="112" y="66"/>
                  </a:moveTo>
                  <a:lnTo>
                    <a:pt x="180" y="251"/>
                  </a:lnTo>
                  <a:lnTo>
                    <a:pt x="138" y="273"/>
                  </a:lnTo>
                  <a:lnTo>
                    <a:pt x="158" y="331"/>
                  </a:lnTo>
                  <a:lnTo>
                    <a:pt x="162" y="377"/>
                  </a:lnTo>
                  <a:lnTo>
                    <a:pt x="152" y="411"/>
                  </a:lnTo>
                  <a:lnTo>
                    <a:pt x="126" y="447"/>
                  </a:lnTo>
                  <a:lnTo>
                    <a:pt x="42" y="543"/>
                  </a:lnTo>
                  <a:lnTo>
                    <a:pt x="46" y="561"/>
                  </a:lnTo>
                  <a:lnTo>
                    <a:pt x="68" y="582"/>
                  </a:lnTo>
                  <a:lnTo>
                    <a:pt x="34" y="650"/>
                  </a:lnTo>
                  <a:lnTo>
                    <a:pt x="56" y="698"/>
                  </a:lnTo>
                  <a:lnTo>
                    <a:pt x="68" y="716"/>
                  </a:lnTo>
                  <a:lnTo>
                    <a:pt x="44" y="780"/>
                  </a:lnTo>
                  <a:lnTo>
                    <a:pt x="18" y="798"/>
                  </a:lnTo>
                  <a:lnTo>
                    <a:pt x="30" y="838"/>
                  </a:lnTo>
                  <a:lnTo>
                    <a:pt x="30" y="876"/>
                  </a:lnTo>
                  <a:lnTo>
                    <a:pt x="14" y="904"/>
                  </a:lnTo>
                  <a:lnTo>
                    <a:pt x="18" y="932"/>
                  </a:lnTo>
                  <a:lnTo>
                    <a:pt x="0" y="950"/>
                  </a:lnTo>
                  <a:lnTo>
                    <a:pt x="26" y="983"/>
                  </a:lnTo>
                  <a:lnTo>
                    <a:pt x="46" y="979"/>
                  </a:lnTo>
                  <a:lnTo>
                    <a:pt x="46" y="1019"/>
                  </a:lnTo>
                  <a:lnTo>
                    <a:pt x="60" y="1037"/>
                  </a:lnTo>
                  <a:lnTo>
                    <a:pt x="76" y="1015"/>
                  </a:lnTo>
                  <a:lnTo>
                    <a:pt x="94" y="1019"/>
                  </a:lnTo>
                  <a:lnTo>
                    <a:pt x="104" y="1045"/>
                  </a:lnTo>
                  <a:lnTo>
                    <a:pt x="116" y="1057"/>
                  </a:lnTo>
                  <a:lnTo>
                    <a:pt x="116" y="1079"/>
                  </a:lnTo>
                  <a:lnTo>
                    <a:pt x="158" y="1019"/>
                  </a:lnTo>
                  <a:lnTo>
                    <a:pt x="158" y="1005"/>
                  </a:lnTo>
                  <a:lnTo>
                    <a:pt x="180" y="989"/>
                  </a:lnTo>
                  <a:lnTo>
                    <a:pt x="216" y="1009"/>
                  </a:lnTo>
                  <a:lnTo>
                    <a:pt x="238" y="971"/>
                  </a:lnTo>
                  <a:lnTo>
                    <a:pt x="254" y="950"/>
                  </a:lnTo>
                  <a:lnTo>
                    <a:pt x="250" y="928"/>
                  </a:lnTo>
                  <a:lnTo>
                    <a:pt x="238" y="928"/>
                  </a:lnTo>
                  <a:lnTo>
                    <a:pt x="206" y="906"/>
                  </a:lnTo>
                  <a:lnTo>
                    <a:pt x="232" y="892"/>
                  </a:lnTo>
                  <a:lnTo>
                    <a:pt x="300" y="816"/>
                  </a:lnTo>
                  <a:lnTo>
                    <a:pt x="361" y="790"/>
                  </a:lnTo>
                  <a:lnTo>
                    <a:pt x="481" y="738"/>
                  </a:lnTo>
                  <a:lnTo>
                    <a:pt x="541" y="704"/>
                  </a:lnTo>
                  <a:lnTo>
                    <a:pt x="623" y="672"/>
                  </a:lnTo>
                  <a:lnTo>
                    <a:pt x="689" y="616"/>
                  </a:lnTo>
                  <a:lnTo>
                    <a:pt x="703" y="576"/>
                  </a:lnTo>
                  <a:lnTo>
                    <a:pt x="731" y="580"/>
                  </a:lnTo>
                  <a:lnTo>
                    <a:pt x="844" y="503"/>
                  </a:lnTo>
                  <a:lnTo>
                    <a:pt x="1000" y="363"/>
                  </a:lnTo>
                  <a:lnTo>
                    <a:pt x="996" y="341"/>
                  </a:lnTo>
                  <a:lnTo>
                    <a:pt x="974" y="277"/>
                  </a:lnTo>
                  <a:lnTo>
                    <a:pt x="940" y="239"/>
                  </a:lnTo>
                  <a:lnTo>
                    <a:pt x="936" y="221"/>
                  </a:lnTo>
                  <a:lnTo>
                    <a:pt x="944" y="207"/>
                  </a:lnTo>
                  <a:lnTo>
                    <a:pt x="966" y="199"/>
                  </a:lnTo>
                  <a:lnTo>
                    <a:pt x="1018" y="183"/>
                  </a:lnTo>
                  <a:lnTo>
                    <a:pt x="1004" y="175"/>
                  </a:lnTo>
                  <a:lnTo>
                    <a:pt x="978" y="164"/>
                  </a:lnTo>
                  <a:lnTo>
                    <a:pt x="952" y="138"/>
                  </a:lnTo>
                  <a:lnTo>
                    <a:pt x="960" y="120"/>
                  </a:lnTo>
                  <a:lnTo>
                    <a:pt x="944" y="120"/>
                  </a:lnTo>
                  <a:lnTo>
                    <a:pt x="918" y="130"/>
                  </a:lnTo>
                  <a:lnTo>
                    <a:pt x="910" y="120"/>
                  </a:lnTo>
                  <a:lnTo>
                    <a:pt x="914" y="108"/>
                  </a:lnTo>
                  <a:lnTo>
                    <a:pt x="888" y="112"/>
                  </a:lnTo>
                  <a:lnTo>
                    <a:pt x="866" y="104"/>
                  </a:lnTo>
                  <a:lnTo>
                    <a:pt x="844" y="126"/>
                  </a:lnTo>
                  <a:lnTo>
                    <a:pt x="816" y="148"/>
                  </a:lnTo>
                  <a:lnTo>
                    <a:pt x="802" y="148"/>
                  </a:lnTo>
                  <a:lnTo>
                    <a:pt x="820" y="160"/>
                  </a:lnTo>
                  <a:lnTo>
                    <a:pt x="802" y="170"/>
                  </a:lnTo>
                  <a:lnTo>
                    <a:pt x="767" y="175"/>
                  </a:lnTo>
                  <a:lnTo>
                    <a:pt x="735" y="183"/>
                  </a:lnTo>
                  <a:lnTo>
                    <a:pt x="715" y="175"/>
                  </a:lnTo>
                  <a:lnTo>
                    <a:pt x="703" y="160"/>
                  </a:lnTo>
                  <a:lnTo>
                    <a:pt x="667" y="160"/>
                  </a:lnTo>
                  <a:lnTo>
                    <a:pt x="641" y="156"/>
                  </a:lnTo>
                  <a:lnTo>
                    <a:pt x="615" y="170"/>
                  </a:lnTo>
                  <a:lnTo>
                    <a:pt x="581" y="179"/>
                  </a:lnTo>
                  <a:lnTo>
                    <a:pt x="547" y="164"/>
                  </a:lnTo>
                  <a:lnTo>
                    <a:pt x="515" y="148"/>
                  </a:lnTo>
                  <a:lnTo>
                    <a:pt x="495" y="130"/>
                  </a:lnTo>
                  <a:lnTo>
                    <a:pt x="491" y="116"/>
                  </a:lnTo>
                  <a:lnTo>
                    <a:pt x="507" y="108"/>
                  </a:lnTo>
                  <a:lnTo>
                    <a:pt x="511" y="94"/>
                  </a:lnTo>
                  <a:lnTo>
                    <a:pt x="503" y="86"/>
                  </a:lnTo>
                  <a:lnTo>
                    <a:pt x="473" y="82"/>
                  </a:lnTo>
                  <a:lnTo>
                    <a:pt x="447" y="70"/>
                  </a:lnTo>
                  <a:lnTo>
                    <a:pt x="403" y="62"/>
                  </a:lnTo>
                  <a:lnTo>
                    <a:pt x="383" y="70"/>
                  </a:lnTo>
                  <a:lnTo>
                    <a:pt x="348" y="58"/>
                  </a:lnTo>
                  <a:lnTo>
                    <a:pt x="284" y="30"/>
                  </a:lnTo>
                  <a:lnTo>
                    <a:pt x="238" y="30"/>
                  </a:lnTo>
                  <a:lnTo>
                    <a:pt x="198" y="14"/>
                  </a:lnTo>
                  <a:lnTo>
                    <a:pt x="172" y="0"/>
                  </a:lnTo>
                  <a:lnTo>
                    <a:pt x="146" y="8"/>
                  </a:lnTo>
                  <a:lnTo>
                    <a:pt x="134" y="26"/>
                  </a:lnTo>
                  <a:lnTo>
                    <a:pt x="112" y="66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Freeform 30"/>
            <p:cNvSpPr>
              <a:spLocks/>
            </p:cNvSpPr>
            <p:nvPr/>
          </p:nvSpPr>
          <p:spPr bwMode="auto">
            <a:xfrm>
              <a:off x="3356" y="1354"/>
              <a:ext cx="713" cy="948"/>
            </a:xfrm>
            <a:custGeom>
              <a:avLst/>
              <a:gdLst/>
              <a:ahLst/>
              <a:cxnLst>
                <a:cxn ang="0">
                  <a:pos x="972" y="261"/>
                </a:cxn>
                <a:cxn ang="0">
                  <a:pos x="946" y="319"/>
                </a:cxn>
                <a:cxn ang="0">
                  <a:pos x="950" y="407"/>
                </a:cxn>
                <a:cxn ang="0">
                  <a:pos x="890" y="485"/>
                </a:cxn>
                <a:cxn ang="0">
                  <a:pos x="838" y="571"/>
                </a:cxn>
                <a:cxn ang="0">
                  <a:pos x="822" y="660"/>
                </a:cxn>
                <a:cxn ang="0">
                  <a:pos x="860" y="724"/>
                </a:cxn>
                <a:cxn ang="0">
                  <a:pos x="834" y="788"/>
                </a:cxn>
                <a:cxn ang="0">
                  <a:pos x="822" y="850"/>
                </a:cxn>
                <a:cxn ang="0">
                  <a:pos x="810" y="910"/>
                </a:cxn>
                <a:cxn ang="0">
                  <a:pos x="792" y="958"/>
                </a:cxn>
                <a:cxn ang="0">
                  <a:pos x="774" y="970"/>
                </a:cxn>
                <a:cxn ang="0">
                  <a:pos x="752" y="979"/>
                </a:cxn>
                <a:cxn ang="0">
                  <a:pos x="701" y="962"/>
                </a:cxn>
                <a:cxn ang="0">
                  <a:pos x="631" y="1019"/>
                </a:cxn>
                <a:cxn ang="0">
                  <a:pos x="623" y="1041"/>
                </a:cxn>
                <a:cxn ang="0">
                  <a:pos x="671" y="1121"/>
                </a:cxn>
                <a:cxn ang="0">
                  <a:pos x="649" y="1149"/>
                </a:cxn>
                <a:cxn ang="0">
                  <a:pos x="597" y="1217"/>
                </a:cxn>
                <a:cxn ang="0">
                  <a:pos x="559" y="1195"/>
                </a:cxn>
                <a:cxn ang="0">
                  <a:pos x="549" y="1251"/>
                </a:cxn>
                <a:cxn ang="0">
                  <a:pos x="537" y="1281"/>
                </a:cxn>
                <a:cxn ang="0">
                  <a:pos x="489" y="1311"/>
                </a:cxn>
                <a:cxn ang="0">
                  <a:pos x="471" y="1353"/>
                </a:cxn>
                <a:cxn ang="0">
                  <a:pos x="437" y="1353"/>
                </a:cxn>
                <a:cxn ang="0">
                  <a:pos x="425" y="1319"/>
                </a:cxn>
                <a:cxn ang="0">
                  <a:pos x="389" y="1323"/>
                </a:cxn>
                <a:cxn ang="0">
                  <a:pos x="339" y="1315"/>
                </a:cxn>
                <a:cxn ang="0">
                  <a:pos x="300" y="1293"/>
                </a:cxn>
                <a:cxn ang="0">
                  <a:pos x="252" y="1255"/>
                </a:cxn>
                <a:cxn ang="0">
                  <a:pos x="198" y="1207"/>
                </a:cxn>
                <a:cxn ang="0">
                  <a:pos x="120" y="1113"/>
                </a:cxn>
                <a:cxn ang="0">
                  <a:pos x="172" y="1079"/>
                </a:cxn>
                <a:cxn ang="0">
                  <a:pos x="194" y="1041"/>
                </a:cxn>
                <a:cxn ang="0">
                  <a:pos x="220" y="1049"/>
                </a:cxn>
                <a:cxn ang="0">
                  <a:pos x="232" y="1015"/>
                </a:cxn>
                <a:cxn ang="0">
                  <a:pos x="210" y="958"/>
                </a:cxn>
                <a:cxn ang="0">
                  <a:pos x="210" y="906"/>
                </a:cxn>
                <a:cxn ang="0">
                  <a:pos x="82" y="788"/>
                </a:cxn>
                <a:cxn ang="0">
                  <a:pos x="16" y="772"/>
                </a:cxn>
                <a:cxn ang="0">
                  <a:pos x="28" y="698"/>
                </a:cxn>
                <a:cxn ang="0">
                  <a:pos x="50" y="698"/>
                </a:cxn>
                <a:cxn ang="0">
                  <a:pos x="64" y="654"/>
                </a:cxn>
                <a:cxn ang="0">
                  <a:pos x="98" y="575"/>
                </a:cxn>
                <a:cxn ang="0">
                  <a:pos x="124" y="489"/>
                </a:cxn>
                <a:cxn ang="0">
                  <a:pos x="88" y="445"/>
                </a:cxn>
                <a:cxn ang="0">
                  <a:pos x="186" y="427"/>
                </a:cxn>
                <a:cxn ang="0">
                  <a:pos x="288" y="373"/>
                </a:cxn>
                <a:cxn ang="0">
                  <a:pos x="262" y="259"/>
                </a:cxn>
                <a:cxn ang="0">
                  <a:pos x="347" y="120"/>
                </a:cxn>
                <a:cxn ang="0">
                  <a:pos x="451" y="40"/>
                </a:cxn>
                <a:cxn ang="0">
                  <a:pos x="519" y="30"/>
                </a:cxn>
                <a:cxn ang="0">
                  <a:pos x="579" y="44"/>
                </a:cxn>
                <a:cxn ang="0">
                  <a:pos x="671" y="74"/>
                </a:cxn>
                <a:cxn ang="0">
                  <a:pos x="756" y="86"/>
                </a:cxn>
                <a:cxn ang="0">
                  <a:pos x="860" y="74"/>
                </a:cxn>
              </a:cxnLst>
              <a:rect l="0" t="0" r="r" b="b"/>
              <a:pathLst>
                <a:path w="972" h="1357">
                  <a:moveTo>
                    <a:pt x="904" y="70"/>
                  </a:moveTo>
                  <a:lnTo>
                    <a:pt x="972" y="261"/>
                  </a:lnTo>
                  <a:lnTo>
                    <a:pt x="930" y="283"/>
                  </a:lnTo>
                  <a:lnTo>
                    <a:pt x="946" y="319"/>
                  </a:lnTo>
                  <a:lnTo>
                    <a:pt x="954" y="373"/>
                  </a:lnTo>
                  <a:lnTo>
                    <a:pt x="950" y="407"/>
                  </a:lnTo>
                  <a:lnTo>
                    <a:pt x="938" y="427"/>
                  </a:lnTo>
                  <a:lnTo>
                    <a:pt x="890" y="485"/>
                  </a:lnTo>
                  <a:lnTo>
                    <a:pt x="834" y="549"/>
                  </a:lnTo>
                  <a:lnTo>
                    <a:pt x="838" y="571"/>
                  </a:lnTo>
                  <a:lnTo>
                    <a:pt x="860" y="588"/>
                  </a:lnTo>
                  <a:lnTo>
                    <a:pt x="822" y="660"/>
                  </a:lnTo>
                  <a:lnTo>
                    <a:pt x="838" y="690"/>
                  </a:lnTo>
                  <a:lnTo>
                    <a:pt x="860" y="724"/>
                  </a:lnTo>
                  <a:lnTo>
                    <a:pt x="846" y="758"/>
                  </a:lnTo>
                  <a:lnTo>
                    <a:pt x="834" y="788"/>
                  </a:lnTo>
                  <a:lnTo>
                    <a:pt x="810" y="806"/>
                  </a:lnTo>
                  <a:lnTo>
                    <a:pt x="822" y="850"/>
                  </a:lnTo>
                  <a:lnTo>
                    <a:pt x="822" y="880"/>
                  </a:lnTo>
                  <a:lnTo>
                    <a:pt x="810" y="910"/>
                  </a:lnTo>
                  <a:lnTo>
                    <a:pt x="810" y="940"/>
                  </a:lnTo>
                  <a:lnTo>
                    <a:pt x="792" y="958"/>
                  </a:lnTo>
                  <a:lnTo>
                    <a:pt x="792" y="966"/>
                  </a:lnTo>
                  <a:lnTo>
                    <a:pt x="774" y="970"/>
                  </a:lnTo>
                  <a:lnTo>
                    <a:pt x="762" y="987"/>
                  </a:lnTo>
                  <a:lnTo>
                    <a:pt x="752" y="979"/>
                  </a:lnTo>
                  <a:lnTo>
                    <a:pt x="725" y="962"/>
                  </a:lnTo>
                  <a:lnTo>
                    <a:pt x="701" y="962"/>
                  </a:lnTo>
                  <a:lnTo>
                    <a:pt x="675" y="975"/>
                  </a:lnTo>
                  <a:lnTo>
                    <a:pt x="631" y="1019"/>
                  </a:lnTo>
                  <a:lnTo>
                    <a:pt x="617" y="1027"/>
                  </a:lnTo>
                  <a:lnTo>
                    <a:pt x="623" y="1041"/>
                  </a:lnTo>
                  <a:lnTo>
                    <a:pt x="665" y="1105"/>
                  </a:lnTo>
                  <a:lnTo>
                    <a:pt x="671" y="1121"/>
                  </a:lnTo>
                  <a:lnTo>
                    <a:pt x="665" y="1139"/>
                  </a:lnTo>
                  <a:lnTo>
                    <a:pt x="649" y="1149"/>
                  </a:lnTo>
                  <a:lnTo>
                    <a:pt x="613" y="1187"/>
                  </a:lnTo>
                  <a:lnTo>
                    <a:pt x="597" y="1217"/>
                  </a:lnTo>
                  <a:lnTo>
                    <a:pt x="579" y="1203"/>
                  </a:lnTo>
                  <a:lnTo>
                    <a:pt x="559" y="1195"/>
                  </a:lnTo>
                  <a:lnTo>
                    <a:pt x="549" y="1203"/>
                  </a:lnTo>
                  <a:lnTo>
                    <a:pt x="549" y="1251"/>
                  </a:lnTo>
                  <a:lnTo>
                    <a:pt x="545" y="1277"/>
                  </a:lnTo>
                  <a:lnTo>
                    <a:pt x="537" y="1281"/>
                  </a:lnTo>
                  <a:lnTo>
                    <a:pt x="497" y="1299"/>
                  </a:lnTo>
                  <a:lnTo>
                    <a:pt x="489" y="1311"/>
                  </a:lnTo>
                  <a:lnTo>
                    <a:pt x="481" y="1335"/>
                  </a:lnTo>
                  <a:lnTo>
                    <a:pt x="471" y="1353"/>
                  </a:lnTo>
                  <a:lnTo>
                    <a:pt x="459" y="1357"/>
                  </a:lnTo>
                  <a:lnTo>
                    <a:pt x="437" y="1353"/>
                  </a:lnTo>
                  <a:lnTo>
                    <a:pt x="425" y="1343"/>
                  </a:lnTo>
                  <a:lnTo>
                    <a:pt x="425" y="1319"/>
                  </a:lnTo>
                  <a:lnTo>
                    <a:pt x="411" y="1307"/>
                  </a:lnTo>
                  <a:lnTo>
                    <a:pt x="389" y="1323"/>
                  </a:lnTo>
                  <a:lnTo>
                    <a:pt x="347" y="1343"/>
                  </a:lnTo>
                  <a:lnTo>
                    <a:pt x="339" y="1315"/>
                  </a:lnTo>
                  <a:lnTo>
                    <a:pt x="316" y="1303"/>
                  </a:lnTo>
                  <a:lnTo>
                    <a:pt x="300" y="1293"/>
                  </a:lnTo>
                  <a:lnTo>
                    <a:pt x="278" y="1289"/>
                  </a:lnTo>
                  <a:lnTo>
                    <a:pt x="252" y="1255"/>
                  </a:lnTo>
                  <a:lnTo>
                    <a:pt x="220" y="1199"/>
                  </a:lnTo>
                  <a:lnTo>
                    <a:pt x="198" y="1207"/>
                  </a:lnTo>
                  <a:lnTo>
                    <a:pt x="176" y="1217"/>
                  </a:lnTo>
                  <a:lnTo>
                    <a:pt x="120" y="1113"/>
                  </a:lnTo>
                  <a:lnTo>
                    <a:pt x="136" y="1113"/>
                  </a:lnTo>
                  <a:lnTo>
                    <a:pt x="172" y="1079"/>
                  </a:lnTo>
                  <a:lnTo>
                    <a:pt x="176" y="1053"/>
                  </a:lnTo>
                  <a:lnTo>
                    <a:pt x="194" y="1041"/>
                  </a:lnTo>
                  <a:lnTo>
                    <a:pt x="206" y="1041"/>
                  </a:lnTo>
                  <a:lnTo>
                    <a:pt x="220" y="1049"/>
                  </a:lnTo>
                  <a:lnTo>
                    <a:pt x="232" y="1035"/>
                  </a:lnTo>
                  <a:lnTo>
                    <a:pt x="232" y="1015"/>
                  </a:lnTo>
                  <a:lnTo>
                    <a:pt x="206" y="1005"/>
                  </a:lnTo>
                  <a:lnTo>
                    <a:pt x="210" y="958"/>
                  </a:lnTo>
                  <a:lnTo>
                    <a:pt x="210" y="918"/>
                  </a:lnTo>
                  <a:lnTo>
                    <a:pt x="210" y="906"/>
                  </a:lnTo>
                  <a:lnTo>
                    <a:pt x="180" y="888"/>
                  </a:lnTo>
                  <a:lnTo>
                    <a:pt x="82" y="788"/>
                  </a:lnTo>
                  <a:lnTo>
                    <a:pt x="38" y="824"/>
                  </a:lnTo>
                  <a:lnTo>
                    <a:pt x="16" y="772"/>
                  </a:lnTo>
                  <a:lnTo>
                    <a:pt x="0" y="746"/>
                  </a:lnTo>
                  <a:lnTo>
                    <a:pt x="28" y="698"/>
                  </a:lnTo>
                  <a:lnTo>
                    <a:pt x="38" y="672"/>
                  </a:lnTo>
                  <a:lnTo>
                    <a:pt x="50" y="698"/>
                  </a:lnTo>
                  <a:lnTo>
                    <a:pt x="72" y="690"/>
                  </a:lnTo>
                  <a:lnTo>
                    <a:pt x="64" y="654"/>
                  </a:lnTo>
                  <a:lnTo>
                    <a:pt x="54" y="606"/>
                  </a:lnTo>
                  <a:lnTo>
                    <a:pt x="98" y="575"/>
                  </a:lnTo>
                  <a:lnTo>
                    <a:pt x="116" y="553"/>
                  </a:lnTo>
                  <a:lnTo>
                    <a:pt x="124" y="489"/>
                  </a:lnTo>
                  <a:lnTo>
                    <a:pt x="98" y="475"/>
                  </a:lnTo>
                  <a:lnTo>
                    <a:pt x="88" y="445"/>
                  </a:lnTo>
                  <a:lnTo>
                    <a:pt x="102" y="423"/>
                  </a:lnTo>
                  <a:lnTo>
                    <a:pt x="186" y="427"/>
                  </a:lnTo>
                  <a:lnTo>
                    <a:pt x="240" y="453"/>
                  </a:lnTo>
                  <a:lnTo>
                    <a:pt x="288" y="373"/>
                  </a:lnTo>
                  <a:lnTo>
                    <a:pt x="254" y="349"/>
                  </a:lnTo>
                  <a:lnTo>
                    <a:pt x="262" y="259"/>
                  </a:lnTo>
                  <a:lnTo>
                    <a:pt x="343" y="144"/>
                  </a:lnTo>
                  <a:lnTo>
                    <a:pt x="347" y="120"/>
                  </a:lnTo>
                  <a:lnTo>
                    <a:pt x="413" y="98"/>
                  </a:lnTo>
                  <a:lnTo>
                    <a:pt x="451" y="40"/>
                  </a:lnTo>
                  <a:lnTo>
                    <a:pt x="489" y="0"/>
                  </a:lnTo>
                  <a:lnTo>
                    <a:pt x="519" y="30"/>
                  </a:lnTo>
                  <a:lnTo>
                    <a:pt x="541" y="30"/>
                  </a:lnTo>
                  <a:lnTo>
                    <a:pt x="579" y="44"/>
                  </a:lnTo>
                  <a:lnTo>
                    <a:pt x="635" y="48"/>
                  </a:lnTo>
                  <a:lnTo>
                    <a:pt x="671" y="74"/>
                  </a:lnTo>
                  <a:lnTo>
                    <a:pt x="713" y="90"/>
                  </a:lnTo>
                  <a:lnTo>
                    <a:pt x="756" y="86"/>
                  </a:lnTo>
                  <a:lnTo>
                    <a:pt x="814" y="74"/>
                  </a:lnTo>
                  <a:lnTo>
                    <a:pt x="860" y="74"/>
                  </a:lnTo>
                  <a:lnTo>
                    <a:pt x="904" y="70"/>
                  </a:lnTo>
                  <a:close/>
                </a:path>
              </a:pathLst>
            </a:custGeom>
            <a:solidFill>
              <a:schemeClr val="accent4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8" name="Freeform 31"/>
            <p:cNvSpPr>
              <a:spLocks/>
            </p:cNvSpPr>
            <p:nvPr/>
          </p:nvSpPr>
          <p:spPr bwMode="auto">
            <a:xfrm>
              <a:off x="3296" y="1228"/>
              <a:ext cx="417" cy="444"/>
            </a:xfrm>
            <a:custGeom>
              <a:avLst/>
              <a:gdLst/>
              <a:ahLst/>
              <a:cxnLst>
                <a:cxn ang="0">
                  <a:pos x="568" y="180"/>
                </a:cxn>
                <a:cxn ang="0">
                  <a:pos x="552" y="162"/>
                </a:cxn>
                <a:cxn ang="0">
                  <a:pos x="520" y="162"/>
                </a:cxn>
                <a:cxn ang="0">
                  <a:pos x="480" y="154"/>
                </a:cxn>
                <a:cxn ang="0">
                  <a:pos x="411" y="132"/>
                </a:cxn>
                <a:cxn ang="0">
                  <a:pos x="381" y="100"/>
                </a:cxn>
                <a:cxn ang="0">
                  <a:pos x="369" y="92"/>
                </a:cxn>
                <a:cxn ang="0">
                  <a:pos x="359" y="108"/>
                </a:cxn>
                <a:cxn ang="0">
                  <a:pos x="351" y="138"/>
                </a:cxn>
                <a:cxn ang="0">
                  <a:pos x="325" y="112"/>
                </a:cxn>
                <a:cxn ang="0">
                  <a:pos x="321" y="96"/>
                </a:cxn>
                <a:cxn ang="0">
                  <a:pos x="343" y="78"/>
                </a:cxn>
                <a:cxn ang="0">
                  <a:pos x="347" y="74"/>
                </a:cxn>
                <a:cxn ang="0">
                  <a:pos x="321" y="18"/>
                </a:cxn>
                <a:cxn ang="0">
                  <a:pos x="291" y="28"/>
                </a:cxn>
                <a:cxn ang="0">
                  <a:pos x="257" y="28"/>
                </a:cxn>
                <a:cxn ang="0">
                  <a:pos x="211" y="0"/>
                </a:cxn>
                <a:cxn ang="0">
                  <a:pos x="205" y="28"/>
                </a:cxn>
                <a:cxn ang="0">
                  <a:pos x="197" y="52"/>
                </a:cxn>
                <a:cxn ang="0">
                  <a:pos x="175" y="60"/>
                </a:cxn>
                <a:cxn ang="0">
                  <a:pos x="157" y="74"/>
                </a:cxn>
                <a:cxn ang="0">
                  <a:pos x="149" y="104"/>
                </a:cxn>
                <a:cxn ang="0">
                  <a:pos x="143" y="124"/>
                </a:cxn>
                <a:cxn ang="0">
                  <a:pos x="105" y="150"/>
                </a:cxn>
                <a:cxn ang="0">
                  <a:pos x="97" y="180"/>
                </a:cxn>
                <a:cxn ang="0">
                  <a:pos x="79" y="192"/>
                </a:cxn>
                <a:cxn ang="0">
                  <a:pos x="59" y="202"/>
                </a:cxn>
                <a:cxn ang="0">
                  <a:pos x="57" y="236"/>
                </a:cxn>
                <a:cxn ang="0">
                  <a:pos x="41" y="258"/>
                </a:cxn>
                <a:cxn ang="0">
                  <a:pos x="23" y="292"/>
                </a:cxn>
                <a:cxn ang="0">
                  <a:pos x="27" y="314"/>
                </a:cxn>
                <a:cxn ang="0">
                  <a:pos x="0" y="330"/>
                </a:cxn>
                <a:cxn ang="0">
                  <a:pos x="8" y="358"/>
                </a:cxn>
                <a:cxn ang="0">
                  <a:pos x="4" y="391"/>
                </a:cxn>
                <a:cxn ang="0">
                  <a:pos x="41" y="419"/>
                </a:cxn>
                <a:cxn ang="0">
                  <a:pos x="65" y="437"/>
                </a:cxn>
                <a:cxn ang="0">
                  <a:pos x="97" y="421"/>
                </a:cxn>
                <a:cxn ang="0">
                  <a:pos x="135" y="441"/>
                </a:cxn>
                <a:cxn ang="0">
                  <a:pos x="153" y="467"/>
                </a:cxn>
                <a:cxn ang="0">
                  <a:pos x="161" y="495"/>
                </a:cxn>
                <a:cxn ang="0">
                  <a:pos x="211" y="505"/>
                </a:cxn>
                <a:cxn ang="0">
                  <a:pos x="231" y="517"/>
                </a:cxn>
                <a:cxn ang="0">
                  <a:pos x="225" y="551"/>
                </a:cxn>
                <a:cxn ang="0">
                  <a:pos x="193" y="557"/>
                </a:cxn>
                <a:cxn ang="0">
                  <a:pos x="189" y="607"/>
                </a:cxn>
                <a:cxn ang="0">
                  <a:pos x="269" y="607"/>
                </a:cxn>
                <a:cxn ang="0">
                  <a:pos x="321" y="635"/>
                </a:cxn>
                <a:cxn ang="0">
                  <a:pos x="369" y="551"/>
                </a:cxn>
                <a:cxn ang="0">
                  <a:pos x="333" y="525"/>
                </a:cxn>
                <a:cxn ang="0">
                  <a:pos x="343" y="435"/>
                </a:cxn>
                <a:cxn ang="0">
                  <a:pos x="422" y="328"/>
                </a:cxn>
                <a:cxn ang="0">
                  <a:pos x="428" y="300"/>
                </a:cxn>
                <a:cxn ang="0">
                  <a:pos x="494" y="278"/>
                </a:cxn>
                <a:cxn ang="0">
                  <a:pos x="532" y="218"/>
                </a:cxn>
                <a:cxn ang="0">
                  <a:pos x="568" y="180"/>
                </a:cxn>
              </a:cxnLst>
              <a:rect l="0" t="0" r="r" b="b"/>
              <a:pathLst>
                <a:path w="568" h="635">
                  <a:moveTo>
                    <a:pt x="568" y="180"/>
                  </a:moveTo>
                  <a:lnTo>
                    <a:pt x="552" y="162"/>
                  </a:lnTo>
                  <a:lnTo>
                    <a:pt x="520" y="162"/>
                  </a:lnTo>
                  <a:lnTo>
                    <a:pt x="480" y="154"/>
                  </a:lnTo>
                  <a:lnTo>
                    <a:pt x="411" y="132"/>
                  </a:lnTo>
                  <a:lnTo>
                    <a:pt x="381" y="100"/>
                  </a:lnTo>
                  <a:lnTo>
                    <a:pt x="369" y="92"/>
                  </a:lnTo>
                  <a:lnTo>
                    <a:pt x="359" y="108"/>
                  </a:lnTo>
                  <a:lnTo>
                    <a:pt x="351" y="138"/>
                  </a:lnTo>
                  <a:lnTo>
                    <a:pt x="325" y="112"/>
                  </a:lnTo>
                  <a:lnTo>
                    <a:pt x="321" y="96"/>
                  </a:lnTo>
                  <a:lnTo>
                    <a:pt x="343" y="78"/>
                  </a:lnTo>
                  <a:lnTo>
                    <a:pt x="347" y="74"/>
                  </a:lnTo>
                  <a:lnTo>
                    <a:pt x="321" y="18"/>
                  </a:lnTo>
                  <a:lnTo>
                    <a:pt x="291" y="28"/>
                  </a:lnTo>
                  <a:lnTo>
                    <a:pt x="257" y="28"/>
                  </a:lnTo>
                  <a:lnTo>
                    <a:pt x="211" y="0"/>
                  </a:lnTo>
                  <a:lnTo>
                    <a:pt x="205" y="28"/>
                  </a:lnTo>
                  <a:lnTo>
                    <a:pt x="197" y="52"/>
                  </a:lnTo>
                  <a:lnTo>
                    <a:pt x="175" y="60"/>
                  </a:lnTo>
                  <a:lnTo>
                    <a:pt x="157" y="74"/>
                  </a:lnTo>
                  <a:lnTo>
                    <a:pt x="149" y="104"/>
                  </a:lnTo>
                  <a:lnTo>
                    <a:pt x="143" y="124"/>
                  </a:lnTo>
                  <a:lnTo>
                    <a:pt x="105" y="150"/>
                  </a:lnTo>
                  <a:lnTo>
                    <a:pt x="97" y="180"/>
                  </a:lnTo>
                  <a:lnTo>
                    <a:pt x="79" y="192"/>
                  </a:lnTo>
                  <a:lnTo>
                    <a:pt x="59" y="202"/>
                  </a:lnTo>
                  <a:lnTo>
                    <a:pt x="57" y="236"/>
                  </a:lnTo>
                  <a:lnTo>
                    <a:pt x="41" y="258"/>
                  </a:lnTo>
                  <a:lnTo>
                    <a:pt x="23" y="292"/>
                  </a:lnTo>
                  <a:lnTo>
                    <a:pt x="27" y="314"/>
                  </a:lnTo>
                  <a:lnTo>
                    <a:pt x="0" y="330"/>
                  </a:lnTo>
                  <a:lnTo>
                    <a:pt x="8" y="358"/>
                  </a:lnTo>
                  <a:lnTo>
                    <a:pt x="4" y="391"/>
                  </a:lnTo>
                  <a:lnTo>
                    <a:pt x="41" y="419"/>
                  </a:lnTo>
                  <a:lnTo>
                    <a:pt x="65" y="437"/>
                  </a:lnTo>
                  <a:lnTo>
                    <a:pt x="97" y="421"/>
                  </a:lnTo>
                  <a:lnTo>
                    <a:pt x="135" y="441"/>
                  </a:lnTo>
                  <a:lnTo>
                    <a:pt x="153" y="467"/>
                  </a:lnTo>
                  <a:lnTo>
                    <a:pt x="161" y="495"/>
                  </a:lnTo>
                  <a:lnTo>
                    <a:pt x="211" y="505"/>
                  </a:lnTo>
                  <a:lnTo>
                    <a:pt x="231" y="517"/>
                  </a:lnTo>
                  <a:lnTo>
                    <a:pt x="225" y="551"/>
                  </a:lnTo>
                  <a:lnTo>
                    <a:pt x="193" y="557"/>
                  </a:lnTo>
                  <a:lnTo>
                    <a:pt x="189" y="607"/>
                  </a:lnTo>
                  <a:lnTo>
                    <a:pt x="269" y="607"/>
                  </a:lnTo>
                  <a:lnTo>
                    <a:pt x="321" y="635"/>
                  </a:lnTo>
                  <a:lnTo>
                    <a:pt x="369" y="551"/>
                  </a:lnTo>
                  <a:lnTo>
                    <a:pt x="333" y="525"/>
                  </a:lnTo>
                  <a:lnTo>
                    <a:pt x="343" y="435"/>
                  </a:lnTo>
                  <a:lnTo>
                    <a:pt x="422" y="328"/>
                  </a:lnTo>
                  <a:lnTo>
                    <a:pt x="428" y="300"/>
                  </a:lnTo>
                  <a:lnTo>
                    <a:pt x="494" y="278"/>
                  </a:lnTo>
                  <a:lnTo>
                    <a:pt x="532" y="218"/>
                  </a:lnTo>
                  <a:lnTo>
                    <a:pt x="568" y="18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9" name="Freeform 32"/>
            <p:cNvSpPr>
              <a:spLocks/>
            </p:cNvSpPr>
            <p:nvPr/>
          </p:nvSpPr>
          <p:spPr bwMode="auto">
            <a:xfrm>
              <a:off x="3104" y="1196"/>
              <a:ext cx="347" cy="308"/>
            </a:xfrm>
            <a:custGeom>
              <a:avLst/>
              <a:gdLst/>
              <a:ahLst/>
              <a:cxnLst>
                <a:cxn ang="0">
                  <a:pos x="473" y="45"/>
                </a:cxn>
                <a:cxn ang="0">
                  <a:pos x="459" y="35"/>
                </a:cxn>
                <a:cxn ang="0">
                  <a:pos x="421" y="67"/>
                </a:cxn>
                <a:cxn ang="0">
                  <a:pos x="381" y="67"/>
                </a:cxn>
                <a:cxn ang="0">
                  <a:pos x="363" y="79"/>
                </a:cxn>
                <a:cxn ang="0">
                  <a:pos x="333" y="79"/>
                </a:cxn>
                <a:cxn ang="0">
                  <a:pos x="287" y="53"/>
                </a:cxn>
                <a:cxn ang="0">
                  <a:pos x="254" y="35"/>
                </a:cxn>
                <a:cxn ang="0">
                  <a:pos x="224" y="41"/>
                </a:cxn>
                <a:cxn ang="0">
                  <a:pos x="138" y="0"/>
                </a:cxn>
                <a:cxn ang="0">
                  <a:pos x="112" y="19"/>
                </a:cxn>
                <a:cxn ang="0">
                  <a:pos x="92" y="23"/>
                </a:cxn>
                <a:cxn ang="0">
                  <a:pos x="84" y="41"/>
                </a:cxn>
                <a:cxn ang="0">
                  <a:pos x="92" y="53"/>
                </a:cxn>
                <a:cxn ang="0">
                  <a:pos x="88" y="67"/>
                </a:cxn>
                <a:cxn ang="0">
                  <a:pos x="34" y="55"/>
                </a:cxn>
                <a:cxn ang="0">
                  <a:pos x="10" y="71"/>
                </a:cxn>
                <a:cxn ang="0">
                  <a:pos x="0" y="93"/>
                </a:cxn>
                <a:cxn ang="0">
                  <a:pos x="4" y="123"/>
                </a:cxn>
                <a:cxn ang="0">
                  <a:pos x="40" y="167"/>
                </a:cxn>
                <a:cxn ang="0">
                  <a:pos x="30" y="201"/>
                </a:cxn>
                <a:cxn ang="0">
                  <a:pos x="66" y="235"/>
                </a:cxn>
                <a:cxn ang="0">
                  <a:pos x="64" y="255"/>
                </a:cxn>
                <a:cxn ang="0">
                  <a:pos x="22" y="267"/>
                </a:cxn>
                <a:cxn ang="0">
                  <a:pos x="30" y="309"/>
                </a:cxn>
                <a:cxn ang="0">
                  <a:pos x="62" y="317"/>
                </a:cxn>
                <a:cxn ang="0">
                  <a:pos x="76" y="365"/>
                </a:cxn>
                <a:cxn ang="0">
                  <a:pos x="142" y="373"/>
                </a:cxn>
                <a:cxn ang="0">
                  <a:pos x="168" y="395"/>
                </a:cxn>
                <a:cxn ang="0">
                  <a:pos x="200" y="426"/>
                </a:cxn>
                <a:cxn ang="0">
                  <a:pos x="218" y="424"/>
                </a:cxn>
                <a:cxn ang="0">
                  <a:pos x="270" y="442"/>
                </a:cxn>
                <a:cxn ang="0">
                  <a:pos x="273" y="410"/>
                </a:cxn>
                <a:cxn ang="0">
                  <a:pos x="266" y="375"/>
                </a:cxn>
                <a:cxn ang="0">
                  <a:pos x="293" y="361"/>
                </a:cxn>
                <a:cxn ang="0">
                  <a:pos x="287" y="339"/>
                </a:cxn>
                <a:cxn ang="0">
                  <a:pos x="309" y="297"/>
                </a:cxn>
                <a:cxn ang="0">
                  <a:pos x="317" y="283"/>
                </a:cxn>
                <a:cxn ang="0">
                  <a:pos x="321" y="249"/>
                </a:cxn>
                <a:cxn ang="0">
                  <a:pos x="363" y="227"/>
                </a:cxn>
                <a:cxn ang="0">
                  <a:pos x="367" y="197"/>
                </a:cxn>
                <a:cxn ang="0">
                  <a:pos x="399" y="177"/>
                </a:cxn>
                <a:cxn ang="0">
                  <a:pos x="411" y="159"/>
                </a:cxn>
                <a:cxn ang="0">
                  <a:pos x="417" y="121"/>
                </a:cxn>
                <a:cxn ang="0">
                  <a:pos x="441" y="105"/>
                </a:cxn>
                <a:cxn ang="0">
                  <a:pos x="461" y="99"/>
                </a:cxn>
                <a:cxn ang="0">
                  <a:pos x="473" y="45"/>
                </a:cxn>
              </a:cxnLst>
              <a:rect l="0" t="0" r="r" b="b"/>
              <a:pathLst>
                <a:path w="473" h="442">
                  <a:moveTo>
                    <a:pt x="473" y="45"/>
                  </a:moveTo>
                  <a:lnTo>
                    <a:pt x="459" y="35"/>
                  </a:lnTo>
                  <a:lnTo>
                    <a:pt x="421" y="67"/>
                  </a:lnTo>
                  <a:lnTo>
                    <a:pt x="381" y="67"/>
                  </a:lnTo>
                  <a:lnTo>
                    <a:pt x="363" y="79"/>
                  </a:lnTo>
                  <a:lnTo>
                    <a:pt x="333" y="79"/>
                  </a:lnTo>
                  <a:lnTo>
                    <a:pt x="287" y="53"/>
                  </a:lnTo>
                  <a:lnTo>
                    <a:pt x="254" y="35"/>
                  </a:lnTo>
                  <a:lnTo>
                    <a:pt x="224" y="41"/>
                  </a:lnTo>
                  <a:lnTo>
                    <a:pt x="138" y="0"/>
                  </a:lnTo>
                  <a:lnTo>
                    <a:pt x="112" y="19"/>
                  </a:lnTo>
                  <a:lnTo>
                    <a:pt x="92" y="23"/>
                  </a:lnTo>
                  <a:lnTo>
                    <a:pt x="84" y="41"/>
                  </a:lnTo>
                  <a:lnTo>
                    <a:pt x="92" y="53"/>
                  </a:lnTo>
                  <a:lnTo>
                    <a:pt x="88" y="67"/>
                  </a:lnTo>
                  <a:lnTo>
                    <a:pt x="34" y="55"/>
                  </a:lnTo>
                  <a:lnTo>
                    <a:pt x="10" y="71"/>
                  </a:lnTo>
                  <a:lnTo>
                    <a:pt x="0" y="93"/>
                  </a:lnTo>
                  <a:lnTo>
                    <a:pt x="4" y="123"/>
                  </a:lnTo>
                  <a:lnTo>
                    <a:pt x="40" y="167"/>
                  </a:lnTo>
                  <a:lnTo>
                    <a:pt x="30" y="201"/>
                  </a:lnTo>
                  <a:lnTo>
                    <a:pt x="66" y="235"/>
                  </a:lnTo>
                  <a:lnTo>
                    <a:pt x="64" y="255"/>
                  </a:lnTo>
                  <a:lnTo>
                    <a:pt x="22" y="267"/>
                  </a:lnTo>
                  <a:lnTo>
                    <a:pt x="30" y="309"/>
                  </a:lnTo>
                  <a:lnTo>
                    <a:pt x="62" y="317"/>
                  </a:lnTo>
                  <a:lnTo>
                    <a:pt x="76" y="365"/>
                  </a:lnTo>
                  <a:lnTo>
                    <a:pt x="142" y="373"/>
                  </a:lnTo>
                  <a:lnTo>
                    <a:pt x="168" y="395"/>
                  </a:lnTo>
                  <a:lnTo>
                    <a:pt x="200" y="426"/>
                  </a:lnTo>
                  <a:lnTo>
                    <a:pt x="218" y="424"/>
                  </a:lnTo>
                  <a:lnTo>
                    <a:pt x="270" y="442"/>
                  </a:lnTo>
                  <a:lnTo>
                    <a:pt x="273" y="410"/>
                  </a:lnTo>
                  <a:lnTo>
                    <a:pt x="266" y="375"/>
                  </a:lnTo>
                  <a:lnTo>
                    <a:pt x="293" y="361"/>
                  </a:lnTo>
                  <a:lnTo>
                    <a:pt x="287" y="339"/>
                  </a:lnTo>
                  <a:lnTo>
                    <a:pt x="309" y="297"/>
                  </a:lnTo>
                  <a:lnTo>
                    <a:pt x="317" y="283"/>
                  </a:lnTo>
                  <a:lnTo>
                    <a:pt x="321" y="249"/>
                  </a:lnTo>
                  <a:lnTo>
                    <a:pt x="363" y="227"/>
                  </a:lnTo>
                  <a:lnTo>
                    <a:pt x="367" y="197"/>
                  </a:lnTo>
                  <a:lnTo>
                    <a:pt x="399" y="177"/>
                  </a:lnTo>
                  <a:lnTo>
                    <a:pt x="411" y="159"/>
                  </a:lnTo>
                  <a:lnTo>
                    <a:pt x="417" y="121"/>
                  </a:lnTo>
                  <a:lnTo>
                    <a:pt x="441" y="105"/>
                  </a:lnTo>
                  <a:lnTo>
                    <a:pt x="461" y="99"/>
                  </a:lnTo>
                  <a:lnTo>
                    <a:pt x="473" y="45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0" name="Freeform 33"/>
            <p:cNvSpPr>
              <a:spLocks/>
            </p:cNvSpPr>
            <p:nvPr/>
          </p:nvSpPr>
          <p:spPr bwMode="auto">
            <a:xfrm>
              <a:off x="3132" y="1452"/>
              <a:ext cx="334" cy="213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100" y="6"/>
                </a:cxn>
                <a:cxn ang="0">
                  <a:pos x="130" y="28"/>
                </a:cxn>
                <a:cxn ang="0">
                  <a:pos x="158" y="59"/>
                </a:cxn>
                <a:cxn ang="0">
                  <a:pos x="182" y="59"/>
                </a:cxn>
                <a:cxn ang="0">
                  <a:pos x="237" y="75"/>
                </a:cxn>
                <a:cxn ang="0">
                  <a:pos x="289" y="117"/>
                </a:cxn>
                <a:cxn ang="0">
                  <a:pos x="321" y="99"/>
                </a:cxn>
                <a:cxn ang="0">
                  <a:pos x="365" y="121"/>
                </a:cxn>
                <a:cxn ang="0">
                  <a:pos x="377" y="147"/>
                </a:cxn>
                <a:cxn ang="0">
                  <a:pos x="387" y="175"/>
                </a:cxn>
                <a:cxn ang="0">
                  <a:pos x="437" y="183"/>
                </a:cxn>
                <a:cxn ang="0">
                  <a:pos x="455" y="197"/>
                </a:cxn>
                <a:cxn ang="0">
                  <a:pos x="447" y="233"/>
                </a:cxn>
                <a:cxn ang="0">
                  <a:pos x="417" y="239"/>
                </a:cxn>
                <a:cxn ang="0">
                  <a:pos x="413" y="279"/>
                </a:cxn>
                <a:cxn ang="0">
                  <a:pos x="391" y="305"/>
                </a:cxn>
                <a:cxn ang="0">
                  <a:pos x="365" y="305"/>
                </a:cxn>
                <a:cxn ang="0">
                  <a:pos x="333" y="291"/>
                </a:cxn>
                <a:cxn ang="0">
                  <a:pos x="329" y="245"/>
                </a:cxn>
                <a:cxn ang="0">
                  <a:pos x="325" y="227"/>
                </a:cxn>
                <a:cxn ang="0">
                  <a:pos x="200" y="227"/>
                </a:cxn>
                <a:cxn ang="0">
                  <a:pos x="186" y="259"/>
                </a:cxn>
                <a:cxn ang="0">
                  <a:pos x="170" y="283"/>
                </a:cxn>
                <a:cxn ang="0">
                  <a:pos x="138" y="291"/>
                </a:cxn>
                <a:cxn ang="0">
                  <a:pos x="122" y="283"/>
                </a:cxn>
                <a:cxn ang="0">
                  <a:pos x="122" y="245"/>
                </a:cxn>
                <a:cxn ang="0">
                  <a:pos x="116" y="227"/>
                </a:cxn>
                <a:cxn ang="0">
                  <a:pos x="100" y="223"/>
                </a:cxn>
                <a:cxn ang="0">
                  <a:pos x="78" y="243"/>
                </a:cxn>
                <a:cxn ang="0">
                  <a:pos x="78" y="279"/>
                </a:cxn>
                <a:cxn ang="0">
                  <a:pos x="54" y="291"/>
                </a:cxn>
                <a:cxn ang="0">
                  <a:pos x="34" y="291"/>
                </a:cxn>
                <a:cxn ang="0">
                  <a:pos x="36" y="233"/>
                </a:cxn>
                <a:cxn ang="0">
                  <a:pos x="18" y="189"/>
                </a:cxn>
                <a:cxn ang="0">
                  <a:pos x="0" y="163"/>
                </a:cxn>
                <a:cxn ang="0">
                  <a:pos x="8" y="137"/>
                </a:cxn>
                <a:cxn ang="0">
                  <a:pos x="36" y="115"/>
                </a:cxn>
                <a:cxn ang="0">
                  <a:pos x="30" y="77"/>
                </a:cxn>
                <a:cxn ang="0">
                  <a:pos x="12" y="43"/>
                </a:cxn>
                <a:cxn ang="0">
                  <a:pos x="14" y="26"/>
                </a:cxn>
                <a:cxn ang="0">
                  <a:pos x="38" y="0"/>
                </a:cxn>
              </a:cxnLst>
              <a:rect l="0" t="0" r="r" b="b"/>
              <a:pathLst>
                <a:path w="455" h="305">
                  <a:moveTo>
                    <a:pt x="38" y="0"/>
                  </a:moveTo>
                  <a:lnTo>
                    <a:pt x="100" y="6"/>
                  </a:lnTo>
                  <a:lnTo>
                    <a:pt x="130" y="28"/>
                  </a:lnTo>
                  <a:lnTo>
                    <a:pt x="158" y="59"/>
                  </a:lnTo>
                  <a:lnTo>
                    <a:pt x="182" y="59"/>
                  </a:lnTo>
                  <a:lnTo>
                    <a:pt x="237" y="75"/>
                  </a:lnTo>
                  <a:lnTo>
                    <a:pt x="289" y="117"/>
                  </a:lnTo>
                  <a:lnTo>
                    <a:pt x="321" y="99"/>
                  </a:lnTo>
                  <a:lnTo>
                    <a:pt x="365" y="121"/>
                  </a:lnTo>
                  <a:lnTo>
                    <a:pt x="377" y="147"/>
                  </a:lnTo>
                  <a:lnTo>
                    <a:pt x="387" y="175"/>
                  </a:lnTo>
                  <a:lnTo>
                    <a:pt x="437" y="183"/>
                  </a:lnTo>
                  <a:lnTo>
                    <a:pt x="455" y="197"/>
                  </a:lnTo>
                  <a:lnTo>
                    <a:pt x="447" y="233"/>
                  </a:lnTo>
                  <a:lnTo>
                    <a:pt x="417" y="239"/>
                  </a:lnTo>
                  <a:lnTo>
                    <a:pt x="413" y="279"/>
                  </a:lnTo>
                  <a:lnTo>
                    <a:pt x="391" y="305"/>
                  </a:lnTo>
                  <a:lnTo>
                    <a:pt x="365" y="305"/>
                  </a:lnTo>
                  <a:lnTo>
                    <a:pt x="333" y="291"/>
                  </a:lnTo>
                  <a:lnTo>
                    <a:pt x="329" y="245"/>
                  </a:lnTo>
                  <a:lnTo>
                    <a:pt x="325" y="227"/>
                  </a:lnTo>
                  <a:lnTo>
                    <a:pt x="200" y="227"/>
                  </a:lnTo>
                  <a:lnTo>
                    <a:pt x="186" y="259"/>
                  </a:lnTo>
                  <a:lnTo>
                    <a:pt x="170" y="283"/>
                  </a:lnTo>
                  <a:lnTo>
                    <a:pt x="138" y="291"/>
                  </a:lnTo>
                  <a:lnTo>
                    <a:pt x="122" y="283"/>
                  </a:lnTo>
                  <a:lnTo>
                    <a:pt x="122" y="245"/>
                  </a:lnTo>
                  <a:lnTo>
                    <a:pt x="116" y="227"/>
                  </a:lnTo>
                  <a:lnTo>
                    <a:pt x="100" y="223"/>
                  </a:lnTo>
                  <a:lnTo>
                    <a:pt x="78" y="243"/>
                  </a:lnTo>
                  <a:lnTo>
                    <a:pt x="78" y="279"/>
                  </a:lnTo>
                  <a:lnTo>
                    <a:pt x="54" y="291"/>
                  </a:lnTo>
                  <a:lnTo>
                    <a:pt x="34" y="291"/>
                  </a:lnTo>
                  <a:lnTo>
                    <a:pt x="36" y="233"/>
                  </a:lnTo>
                  <a:lnTo>
                    <a:pt x="18" y="189"/>
                  </a:lnTo>
                  <a:lnTo>
                    <a:pt x="0" y="163"/>
                  </a:lnTo>
                  <a:lnTo>
                    <a:pt x="8" y="137"/>
                  </a:lnTo>
                  <a:lnTo>
                    <a:pt x="36" y="115"/>
                  </a:lnTo>
                  <a:lnTo>
                    <a:pt x="30" y="77"/>
                  </a:lnTo>
                  <a:lnTo>
                    <a:pt x="12" y="43"/>
                  </a:lnTo>
                  <a:lnTo>
                    <a:pt x="14" y="26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Freeform 34"/>
            <p:cNvSpPr>
              <a:spLocks/>
            </p:cNvSpPr>
            <p:nvPr/>
          </p:nvSpPr>
          <p:spPr bwMode="auto">
            <a:xfrm>
              <a:off x="2194" y="1123"/>
              <a:ext cx="613" cy="226"/>
            </a:xfrm>
            <a:custGeom>
              <a:avLst/>
              <a:gdLst/>
              <a:ahLst/>
              <a:cxnLst>
                <a:cxn ang="0">
                  <a:pos x="58" y="18"/>
                </a:cxn>
                <a:cxn ang="0">
                  <a:pos x="62" y="38"/>
                </a:cxn>
                <a:cxn ang="0">
                  <a:pos x="38" y="58"/>
                </a:cxn>
                <a:cxn ang="0">
                  <a:pos x="16" y="90"/>
                </a:cxn>
                <a:cxn ang="0">
                  <a:pos x="0" y="145"/>
                </a:cxn>
                <a:cxn ang="0">
                  <a:pos x="30" y="187"/>
                </a:cxn>
                <a:cxn ang="0">
                  <a:pos x="36" y="219"/>
                </a:cxn>
                <a:cxn ang="0">
                  <a:pos x="30" y="251"/>
                </a:cxn>
                <a:cxn ang="0">
                  <a:pos x="22" y="271"/>
                </a:cxn>
                <a:cxn ang="0">
                  <a:pos x="28" y="297"/>
                </a:cxn>
                <a:cxn ang="0">
                  <a:pos x="44" y="321"/>
                </a:cxn>
                <a:cxn ang="0">
                  <a:pos x="100" y="321"/>
                </a:cxn>
                <a:cxn ang="0">
                  <a:pos x="162" y="323"/>
                </a:cxn>
                <a:cxn ang="0">
                  <a:pos x="194" y="309"/>
                </a:cxn>
                <a:cxn ang="0">
                  <a:pos x="216" y="269"/>
                </a:cxn>
                <a:cxn ang="0">
                  <a:pos x="236" y="277"/>
                </a:cxn>
                <a:cxn ang="0">
                  <a:pos x="258" y="293"/>
                </a:cxn>
                <a:cxn ang="0">
                  <a:pos x="307" y="263"/>
                </a:cxn>
                <a:cxn ang="0">
                  <a:pos x="333" y="275"/>
                </a:cxn>
                <a:cxn ang="0">
                  <a:pos x="369" y="301"/>
                </a:cxn>
                <a:cxn ang="0">
                  <a:pos x="397" y="309"/>
                </a:cxn>
                <a:cxn ang="0">
                  <a:pos x="461" y="267"/>
                </a:cxn>
                <a:cxn ang="0">
                  <a:pos x="485" y="273"/>
                </a:cxn>
                <a:cxn ang="0">
                  <a:pos x="529" y="289"/>
                </a:cxn>
                <a:cxn ang="0">
                  <a:pos x="553" y="279"/>
                </a:cxn>
                <a:cxn ang="0">
                  <a:pos x="581" y="267"/>
                </a:cxn>
                <a:cxn ang="0">
                  <a:pos x="613" y="277"/>
                </a:cxn>
                <a:cxn ang="0">
                  <a:pos x="645" y="263"/>
                </a:cxn>
                <a:cxn ang="0">
                  <a:pos x="673" y="245"/>
                </a:cxn>
                <a:cxn ang="0">
                  <a:pos x="698" y="225"/>
                </a:cxn>
                <a:cxn ang="0">
                  <a:pos x="738" y="247"/>
                </a:cxn>
                <a:cxn ang="0">
                  <a:pos x="746" y="217"/>
                </a:cxn>
                <a:cxn ang="0">
                  <a:pos x="752" y="191"/>
                </a:cxn>
                <a:cxn ang="0">
                  <a:pos x="786" y="183"/>
                </a:cxn>
                <a:cxn ang="0">
                  <a:pos x="836" y="169"/>
                </a:cxn>
                <a:cxn ang="0">
                  <a:pos x="836" y="149"/>
                </a:cxn>
                <a:cxn ang="0">
                  <a:pos x="836" y="117"/>
                </a:cxn>
                <a:cxn ang="0">
                  <a:pos x="710" y="86"/>
                </a:cxn>
                <a:cxn ang="0">
                  <a:pos x="589" y="52"/>
                </a:cxn>
                <a:cxn ang="0">
                  <a:pos x="565" y="58"/>
                </a:cxn>
                <a:cxn ang="0">
                  <a:pos x="431" y="0"/>
                </a:cxn>
                <a:cxn ang="0">
                  <a:pos x="383" y="18"/>
                </a:cxn>
                <a:cxn ang="0">
                  <a:pos x="325" y="36"/>
                </a:cxn>
                <a:cxn ang="0">
                  <a:pos x="250" y="36"/>
                </a:cxn>
                <a:cxn ang="0">
                  <a:pos x="228" y="40"/>
                </a:cxn>
                <a:cxn ang="0">
                  <a:pos x="220" y="22"/>
                </a:cxn>
                <a:cxn ang="0">
                  <a:pos x="200" y="40"/>
                </a:cxn>
                <a:cxn ang="0">
                  <a:pos x="160" y="36"/>
                </a:cxn>
                <a:cxn ang="0">
                  <a:pos x="116" y="18"/>
                </a:cxn>
                <a:cxn ang="0">
                  <a:pos x="96" y="14"/>
                </a:cxn>
                <a:cxn ang="0">
                  <a:pos x="58" y="18"/>
                </a:cxn>
              </a:cxnLst>
              <a:rect l="0" t="0" r="r" b="b"/>
              <a:pathLst>
                <a:path w="836" h="323">
                  <a:moveTo>
                    <a:pt x="58" y="18"/>
                  </a:moveTo>
                  <a:lnTo>
                    <a:pt x="62" y="38"/>
                  </a:lnTo>
                  <a:lnTo>
                    <a:pt x="38" y="58"/>
                  </a:lnTo>
                  <a:lnTo>
                    <a:pt x="16" y="90"/>
                  </a:lnTo>
                  <a:lnTo>
                    <a:pt x="0" y="145"/>
                  </a:lnTo>
                  <a:lnTo>
                    <a:pt x="30" y="187"/>
                  </a:lnTo>
                  <a:lnTo>
                    <a:pt x="36" y="219"/>
                  </a:lnTo>
                  <a:lnTo>
                    <a:pt x="30" y="251"/>
                  </a:lnTo>
                  <a:lnTo>
                    <a:pt x="22" y="271"/>
                  </a:lnTo>
                  <a:lnTo>
                    <a:pt x="28" y="297"/>
                  </a:lnTo>
                  <a:lnTo>
                    <a:pt x="44" y="321"/>
                  </a:lnTo>
                  <a:lnTo>
                    <a:pt x="100" y="321"/>
                  </a:lnTo>
                  <a:lnTo>
                    <a:pt x="162" y="323"/>
                  </a:lnTo>
                  <a:lnTo>
                    <a:pt x="194" y="309"/>
                  </a:lnTo>
                  <a:lnTo>
                    <a:pt x="216" y="269"/>
                  </a:lnTo>
                  <a:lnTo>
                    <a:pt x="236" y="277"/>
                  </a:lnTo>
                  <a:lnTo>
                    <a:pt x="258" y="293"/>
                  </a:lnTo>
                  <a:lnTo>
                    <a:pt x="307" y="263"/>
                  </a:lnTo>
                  <a:lnTo>
                    <a:pt x="333" y="275"/>
                  </a:lnTo>
                  <a:lnTo>
                    <a:pt x="369" y="301"/>
                  </a:lnTo>
                  <a:lnTo>
                    <a:pt x="397" y="309"/>
                  </a:lnTo>
                  <a:lnTo>
                    <a:pt x="461" y="267"/>
                  </a:lnTo>
                  <a:lnTo>
                    <a:pt x="485" y="273"/>
                  </a:lnTo>
                  <a:lnTo>
                    <a:pt x="529" y="289"/>
                  </a:lnTo>
                  <a:lnTo>
                    <a:pt x="553" y="279"/>
                  </a:lnTo>
                  <a:lnTo>
                    <a:pt x="581" y="267"/>
                  </a:lnTo>
                  <a:lnTo>
                    <a:pt x="613" y="277"/>
                  </a:lnTo>
                  <a:lnTo>
                    <a:pt x="645" y="263"/>
                  </a:lnTo>
                  <a:lnTo>
                    <a:pt x="673" y="245"/>
                  </a:lnTo>
                  <a:lnTo>
                    <a:pt x="698" y="225"/>
                  </a:lnTo>
                  <a:lnTo>
                    <a:pt x="738" y="247"/>
                  </a:lnTo>
                  <a:lnTo>
                    <a:pt x="746" y="217"/>
                  </a:lnTo>
                  <a:lnTo>
                    <a:pt x="752" y="191"/>
                  </a:lnTo>
                  <a:lnTo>
                    <a:pt x="786" y="183"/>
                  </a:lnTo>
                  <a:lnTo>
                    <a:pt x="836" y="169"/>
                  </a:lnTo>
                  <a:lnTo>
                    <a:pt x="836" y="149"/>
                  </a:lnTo>
                  <a:lnTo>
                    <a:pt x="836" y="117"/>
                  </a:lnTo>
                  <a:lnTo>
                    <a:pt x="710" y="86"/>
                  </a:lnTo>
                  <a:lnTo>
                    <a:pt x="589" y="52"/>
                  </a:lnTo>
                  <a:lnTo>
                    <a:pt x="565" y="58"/>
                  </a:lnTo>
                  <a:lnTo>
                    <a:pt x="431" y="0"/>
                  </a:lnTo>
                  <a:lnTo>
                    <a:pt x="383" y="18"/>
                  </a:lnTo>
                  <a:lnTo>
                    <a:pt x="325" y="36"/>
                  </a:lnTo>
                  <a:lnTo>
                    <a:pt x="250" y="36"/>
                  </a:lnTo>
                  <a:lnTo>
                    <a:pt x="228" y="40"/>
                  </a:lnTo>
                  <a:lnTo>
                    <a:pt x="220" y="22"/>
                  </a:lnTo>
                  <a:lnTo>
                    <a:pt x="200" y="40"/>
                  </a:lnTo>
                  <a:lnTo>
                    <a:pt x="160" y="36"/>
                  </a:lnTo>
                  <a:lnTo>
                    <a:pt x="116" y="18"/>
                  </a:lnTo>
                  <a:lnTo>
                    <a:pt x="96" y="14"/>
                  </a:lnTo>
                  <a:lnTo>
                    <a:pt x="58" y="18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Freeform 35"/>
            <p:cNvSpPr>
              <a:spLocks/>
            </p:cNvSpPr>
            <p:nvPr/>
          </p:nvSpPr>
          <p:spPr bwMode="auto">
            <a:xfrm>
              <a:off x="2735" y="1178"/>
              <a:ext cx="397" cy="228"/>
            </a:xfrm>
            <a:custGeom>
              <a:avLst/>
              <a:gdLst/>
              <a:ahLst/>
              <a:cxnLst>
                <a:cxn ang="0">
                  <a:pos x="98" y="34"/>
                </a:cxn>
                <a:cxn ang="0">
                  <a:pos x="98" y="91"/>
                </a:cxn>
                <a:cxn ang="0">
                  <a:pos x="14" y="117"/>
                </a:cxn>
                <a:cxn ang="0">
                  <a:pos x="0" y="169"/>
                </a:cxn>
                <a:cxn ang="0">
                  <a:pos x="14" y="219"/>
                </a:cxn>
                <a:cxn ang="0">
                  <a:pos x="34" y="235"/>
                </a:cxn>
                <a:cxn ang="0">
                  <a:pos x="64" y="227"/>
                </a:cxn>
                <a:cxn ang="0">
                  <a:pos x="108" y="219"/>
                </a:cxn>
                <a:cxn ang="0">
                  <a:pos x="138" y="277"/>
                </a:cxn>
                <a:cxn ang="0">
                  <a:pos x="160" y="269"/>
                </a:cxn>
                <a:cxn ang="0">
                  <a:pos x="214" y="311"/>
                </a:cxn>
                <a:cxn ang="0">
                  <a:pos x="234" y="327"/>
                </a:cxn>
                <a:cxn ang="0">
                  <a:pos x="260" y="319"/>
                </a:cxn>
                <a:cxn ang="0">
                  <a:pos x="284" y="311"/>
                </a:cxn>
                <a:cxn ang="0">
                  <a:pos x="304" y="309"/>
                </a:cxn>
                <a:cxn ang="0">
                  <a:pos x="314" y="301"/>
                </a:cxn>
                <a:cxn ang="0">
                  <a:pos x="318" y="257"/>
                </a:cxn>
                <a:cxn ang="0">
                  <a:pos x="306" y="235"/>
                </a:cxn>
                <a:cxn ang="0">
                  <a:pos x="306" y="219"/>
                </a:cxn>
                <a:cxn ang="0">
                  <a:pos x="322" y="205"/>
                </a:cxn>
                <a:cxn ang="0">
                  <a:pos x="354" y="189"/>
                </a:cxn>
                <a:cxn ang="0">
                  <a:pos x="377" y="185"/>
                </a:cxn>
                <a:cxn ang="0">
                  <a:pos x="395" y="203"/>
                </a:cxn>
                <a:cxn ang="0">
                  <a:pos x="417" y="185"/>
                </a:cxn>
                <a:cxn ang="0">
                  <a:pos x="437" y="169"/>
                </a:cxn>
                <a:cxn ang="0">
                  <a:pos x="473" y="159"/>
                </a:cxn>
                <a:cxn ang="0">
                  <a:pos x="493" y="153"/>
                </a:cxn>
                <a:cxn ang="0">
                  <a:pos x="511" y="155"/>
                </a:cxn>
                <a:cxn ang="0">
                  <a:pos x="503" y="151"/>
                </a:cxn>
                <a:cxn ang="0">
                  <a:pos x="503" y="121"/>
                </a:cxn>
                <a:cxn ang="0">
                  <a:pos x="515" y="101"/>
                </a:cxn>
                <a:cxn ang="0">
                  <a:pos x="533" y="87"/>
                </a:cxn>
                <a:cxn ang="0">
                  <a:pos x="541" y="83"/>
                </a:cxn>
                <a:cxn ang="0">
                  <a:pos x="537" y="69"/>
                </a:cxn>
                <a:cxn ang="0">
                  <a:pos x="521" y="61"/>
                </a:cxn>
                <a:cxn ang="0">
                  <a:pos x="499" y="51"/>
                </a:cxn>
                <a:cxn ang="0">
                  <a:pos x="477" y="47"/>
                </a:cxn>
                <a:cxn ang="0">
                  <a:pos x="451" y="47"/>
                </a:cxn>
                <a:cxn ang="0">
                  <a:pos x="437" y="47"/>
                </a:cxn>
                <a:cxn ang="0">
                  <a:pos x="433" y="39"/>
                </a:cxn>
                <a:cxn ang="0">
                  <a:pos x="433" y="26"/>
                </a:cxn>
                <a:cxn ang="0">
                  <a:pos x="447" y="20"/>
                </a:cxn>
                <a:cxn ang="0">
                  <a:pos x="459" y="20"/>
                </a:cxn>
                <a:cxn ang="0">
                  <a:pos x="459" y="8"/>
                </a:cxn>
                <a:cxn ang="0">
                  <a:pos x="443" y="0"/>
                </a:cxn>
                <a:cxn ang="0">
                  <a:pos x="407" y="4"/>
                </a:cxn>
                <a:cxn ang="0">
                  <a:pos x="371" y="12"/>
                </a:cxn>
                <a:cxn ang="0">
                  <a:pos x="348" y="12"/>
                </a:cxn>
                <a:cxn ang="0">
                  <a:pos x="318" y="12"/>
                </a:cxn>
                <a:cxn ang="0">
                  <a:pos x="306" y="4"/>
                </a:cxn>
                <a:cxn ang="0">
                  <a:pos x="292" y="8"/>
                </a:cxn>
                <a:cxn ang="0">
                  <a:pos x="276" y="20"/>
                </a:cxn>
                <a:cxn ang="0">
                  <a:pos x="254" y="26"/>
                </a:cxn>
                <a:cxn ang="0">
                  <a:pos x="224" y="20"/>
                </a:cxn>
                <a:cxn ang="0">
                  <a:pos x="210" y="30"/>
                </a:cxn>
                <a:cxn ang="0">
                  <a:pos x="188" y="47"/>
                </a:cxn>
                <a:cxn ang="0">
                  <a:pos x="180" y="47"/>
                </a:cxn>
                <a:cxn ang="0">
                  <a:pos x="152" y="39"/>
                </a:cxn>
                <a:cxn ang="0">
                  <a:pos x="126" y="39"/>
                </a:cxn>
                <a:cxn ang="0">
                  <a:pos x="98" y="34"/>
                </a:cxn>
              </a:cxnLst>
              <a:rect l="0" t="0" r="r" b="b"/>
              <a:pathLst>
                <a:path w="541" h="327">
                  <a:moveTo>
                    <a:pt x="98" y="34"/>
                  </a:moveTo>
                  <a:lnTo>
                    <a:pt x="98" y="91"/>
                  </a:lnTo>
                  <a:lnTo>
                    <a:pt x="14" y="117"/>
                  </a:lnTo>
                  <a:lnTo>
                    <a:pt x="0" y="169"/>
                  </a:lnTo>
                  <a:lnTo>
                    <a:pt x="14" y="219"/>
                  </a:lnTo>
                  <a:lnTo>
                    <a:pt x="34" y="235"/>
                  </a:lnTo>
                  <a:lnTo>
                    <a:pt x="64" y="227"/>
                  </a:lnTo>
                  <a:lnTo>
                    <a:pt x="108" y="219"/>
                  </a:lnTo>
                  <a:lnTo>
                    <a:pt x="138" y="277"/>
                  </a:lnTo>
                  <a:lnTo>
                    <a:pt x="160" y="269"/>
                  </a:lnTo>
                  <a:lnTo>
                    <a:pt x="214" y="311"/>
                  </a:lnTo>
                  <a:lnTo>
                    <a:pt x="234" y="327"/>
                  </a:lnTo>
                  <a:lnTo>
                    <a:pt x="260" y="319"/>
                  </a:lnTo>
                  <a:lnTo>
                    <a:pt x="284" y="311"/>
                  </a:lnTo>
                  <a:lnTo>
                    <a:pt x="304" y="309"/>
                  </a:lnTo>
                  <a:lnTo>
                    <a:pt x="314" y="301"/>
                  </a:lnTo>
                  <a:lnTo>
                    <a:pt x="318" y="257"/>
                  </a:lnTo>
                  <a:lnTo>
                    <a:pt x="306" y="235"/>
                  </a:lnTo>
                  <a:lnTo>
                    <a:pt x="306" y="219"/>
                  </a:lnTo>
                  <a:lnTo>
                    <a:pt x="322" y="205"/>
                  </a:lnTo>
                  <a:lnTo>
                    <a:pt x="354" y="189"/>
                  </a:lnTo>
                  <a:lnTo>
                    <a:pt x="377" y="185"/>
                  </a:lnTo>
                  <a:lnTo>
                    <a:pt x="395" y="203"/>
                  </a:lnTo>
                  <a:lnTo>
                    <a:pt x="417" y="185"/>
                  </a:lnTo>
                  <a:lnTo>
                    <a:pt x="437" y="169"/>
                  </a:lnTo>
                  <a:lnTo>
                    <a:pt x="473" y="159"/>
                  </a:lnTo>
                  <a:lnTo>
                    <a:pt x="493" y="153"/>
                  </a:lnTo>
                  <a:lnTo>
                    <a:pt x="511" y="155"/>
                  </a:lnTo>
                  <a:lnTo>
                    <a:pt x="503" y="151"/>
                  </a:lnTo>
                  <a:lnTo>
                    <a:pt x="503" y="121"/>
                  </a:lnTo>
                  <a:lnTo>
                    <a:pt x="515" y="101"/>
                  </a:lnTo>
                  <a:lnTo>
                    <a:pt x="533" y="87"/>
                  </a:lnTo>
                  <a:lnTo>
                    <a:pt x="541" y="83"/>
                  </a:lnTo>
                  <a:lnTo>
                    <a:pt x="537" y="69"/>
                  </a:lnTo>
                  <a:lnTo>
                    <a:pt x="521" y="61"/>
                  </a:lnTo>
                  <a:lnTo>
                    <a:pt x="499" y="51"/>
                  </a:lnTo>
                  <a:lnTo>
                    <a:pt x="477" y="47"/>
                  </a:lnTo>
                  <a:lnTo>
                    <a:pt x="451" y="47"/>
                  </a:lnTo>
                  <a:lnTo>
                    <a:pt x="437" y="47"/>
                  </a:lnTo>
                  <a:lnTo>
                    <a:pt x="433" y="39"/>
                  </a:lnTo>
                  <a:lnTo>
                    <a:pt x="433" y="26"/>
                  </a:lnTo>
                  <a:lnTo>
                    <a:pt x="447" y="20"/>
                  </a:lnTo>
                  <a:lnTo>
                    <a:pt x="459" y="20"/>
                  </a:lnTo>
                  <a:lnTo>
                    <a:pt x="459" y="8"/>
                  </a:lnTo>
                  <a:lnTo>
                    <a:pt x="443" y="0"/>
                  </a:lnTo>
                  <a:lnTo>
                    <a:pt x="407" y="4"/>
                  </a:lnTo>
                  <a:lnTo>
                    <a:pt x="371" y="12"/>
                  </a:lnTo>
                  <a:lnTo>
                    <a:pt x="348" y="12"/>
                  </a:lnTo>
                  <a:lnTo>
                    <a:pt x="318" y="12"/>
                  </a:lnTo>
                  <a:lnTo>
                    <a:pt x="306" y="4"/>
                  </a:lnTo>
                  <a:lnTo>
                    <a:pt x="292" y="8"/>
                  </a:lnTo>
                  <a:lnTo>
                    <a:pt x="276" y="20"/>
                  </a:lnTo>
                  <a:lnTo>
                    <a:pt x="254" y="26"/>
                  </a:lnTo>
                  <a:lnTo>
                    <a:pt x="224" y="20"/>
                  </a:lnTo>
                  <a:lnTo>
                    <a:pt x="210" y="30"/>
                  </a:lnTo>
                  <a:lnTo>
                    <a:pt x="188" y="47"/>
                  </a:lnTo>
                  <a:lnTo>
                    <a:pt x="180" y="47"/>
                  </a:lnTo>
                  <a:lnTo>
                    <a:pt x="152" y="39"/>
                  </a:lnTo>
                  <a:lnTo>
                    <a:pt x="126" y="39"/>
                  </a:lnTo>
                  <a:lnTo>
                    <a:pt x="98" y="34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3" name="Freeform 36"/>
            <p:cNvSpPr>
              <a:spLocks/>
            </p:cNvSpPr>
            <p:nvPr/>
          </p:nvSpPr>
          <p:spPr bwMode="auto">
            <a:xfrm>
              <a:off x="1658" y="1063"/>
              <a:ext cx="604" cy="610"/>
            </a:xfrm>
            <a:custGeom>
              <a:avLst/>
              <a:gdLst/>
              <a:ahLst/>
              <a:cxnLst>
                <a:cxn ang="0">
                  <a:pos x="780" y="134"/>
                </a:cxn>
                <a:cxn ang="0">
                  <a:pos x="732" y="221"/>
                </a:cxn>
                <a:cxn ang="0">
                  <a:pos x="762" y="289"/>
                </a:cxn>
                <a:cxn ang="0">
                  <a:pos x="754" y="353"/>
                </a:cxn>
                <a:cxn ang="0">
                  <a:pos x="788" y="433"/>
                </a:cxn>
                <a:cxn ang="0">
                  <a:pos x="724" y="555"/>
                </a:cxn>
                <a:cxn ang="0">
                  <a:pos x="766" y="595"/>
                </a:cxn>
                <a:cxn ang="0">
                  <a:pos x="816" y="664"/>
                </a:cxn>
                <a:cxn ang="0">
                  <a:pos x="802" y="698"/>
                </a:cxn>
                <a:cxn ang="0">
                  <a:pos x="740" y="798"/>
                </a:cxn>
                <a:cxn ang="0">
                  <a:pos x="676" y="802"/>
                </a:cxn>
                <a:cxn ang="0">
                  <a:pos x="672" y="874"/>
                </a:cxn>
                <a:cxn ang="0">
                  <a:pos x="593" y="840"/>
                </a:cxn>
                <a:cxn ang="0">
                  <a:pos x="499" y="828"/>
                </a:cxn>
                <a:cxn ang="0">
                  <a:pos x="413" y="802"/>
                </a:cxn>
                <a:cxn ang="0">
                  <a:pos x="349" y="832"/>
                </a:cxn>
                <a:cxn ang="0">
                  <a:pos x="349" y="702"/>
                </a:cxn>
                <a:cxn ang="0">
                  <a:pos x="323" y="680"/>
                </a:cxn>
                <a:cxn ang="0">
                  <a:pos x="225" y="728"/>
                </a:cxn>
                <a:cxn ang="0">
                  <a:pos x="154" y="754"/>
                </a:cxn>
                <a:cxn ang="0">
                  <a:pos x="108" y="770"/>
                </a:cxn>
                <a:cxn ang="0">
                  <a:pos x="94" y="712"/>
                </a:cxn>
                <a:cxn ang="0">
                  <a:pos x="154" y="636"/>
                </a:cxn>
                <a:cxn ang="0">
                  <a:pos x="142" y="604"/>
                </a:cxn>
                <a:cxn ang="0">
                  <a:pos x="198" y="573"/>
                </a:cxn>
                <a:cxn ang="0">
                  <a:pos x="154" y="555"/>
                </a:cxn>
                <a:cxn ang="0">
                  <a:pos x="134" y="503"/>
                </a:cxn>
                <a:cxn ang="0">
                  <a:pos x="176" y="469"/>
                </a:cxn>
                <a:cxn ang="0">
                  <a:pos x="120" y="473"/>
                </a:cxn>
                <a:cxn ang="0">
                  <a:pos x="76" y="447"/>
                </a:cxn>
                <a:cxn ang="0">
                  <a:pos x="104" y="395"/>
                </a:cxn>
                <a:cxn ang="0">
                  <a:pos x="64" y="395"/>
                </a:cxn>
                <a:cxn ang="0">
                  <a:pos x="22" y="337"/>
                </a:cxn>
                <a:cxn ang="0">
                  <a:pos x="14" y="255"/>
                </a:cxn>
                <a:cxn ang="0">
                  <a:pos x="76" y="207"/>
                </a:cxn>
                <a:cxn ang="0">
                  <a:pos x="116" y="190"/>
                </a:cxn>
                <a:cxn ang="0">
                  <a:pos x="211" y="176"/>
                </a:cxn>
                <a:cxn ang="0">
                  <a:pos x="281" y="160"/>
                </a:cxn>
                <a:cxn ang="0">
                  <a:pos x="313" y="148"/>
                </a:cxn>
                <a:cxn ang="0">
                  <a:pos x="361" y="152"/>
                </a:cxn>
                <a:cxn ang="0">
                  <a:pos x="349" y="90"/>
                </a:cxn>
                <a:cxn ang="0">
                  <a:pos x="435" y="64"/>
                </a:cxn>
                <a:cxn ang="0">
                  <a:pos x="461" y="14"/>
                </a:cxn>
                <a:cxn ang="0">
                  <a:pos x="511" y="22"/>
                </a:cxn>
                <a:cxn ang="0">
                  <a:pos x="555" y="18"/>
                </a:cxn>
                <a:cxn ang="0">
                  <a:pos x="650" y="52"/>
                </a:cxn>
                <a:cxn ang="0">
                  <a:pos x="698" y="82"/>
                </a:cxn>
                <a:cxn ang="0">
                  <a:pos x="788" y="98"/>
                </a:cxn>
              </a:cxnLst>
              <a:rect l="0" t="0" r="r" b="b"/>
              <a:pathLst>
                <a:path w="824" h="874">
                  <a:moveTo>
                    <a:pt x="788" y="98"/>
                  </a:moveTo>
                  <a:lnTo>
                    <a:pt x="794" y="120"/>
                  </a:lnTo>
                  <a:lnTo>
                    <a:pt x="780" y="134"/>
                  </a:lnTo>
                  <a:lnTo>
                    <a:pt x="766" y="148"/>
                  </a:lnTo>
                  <a:lnTo>
                    <a:pt x="746" y="176"/>
                  </a:lnTo>
                  <a:lnTo>
                    <a:pt x="732" y="221"/>
                  </a:lnTo>
                  <a:lnTo>
                    <a:pt x="728" y="229"/>
                  </a:lnTo>
                  <a:lnTo>
                    <a:pt x="762" y="273"/>
                  </a:lnTo>
                  <a:lnTo>
                    <a:pt x="762" y="289"/>
                  </a:lnTo>
                  <a:lnTo>
                    <a:pt x="766" y="311"/>
                  </a:lnTo>
                  <a:lnTo>
                    <a:pt x="758" y="337"/>
                  </a:lnTo>
                  <a:lnTo>
                    <a:pt x="754" y="353"/>
                  </a:lnTo>
                  <a:lnTo>
                    <a:pt x="758" y="383"/>
                  </a:lnTo>
                  <a:lnTo>
                    <a:pt x="776" y="417"/>
                  </a:lnTo>
                  <a:lnTo>
                    <a:pt x="788" y="433"/>
                  </a:lnTo>
                  <a:lnTo>
                    <a:pt x="780" y="455"/>
                  </a:lnTo>
                  <a:lnTo>
                    <a:pt x="736" y="507"/>
                  </a:lnTo>
                  <a:lnTo>
                    <a:pt x="724" y="555"/>
                  </a:lnTo>
                  <a:lnTo>
                    <a:pt x="732" y="585"/>
                  </a:lnTo>
                  <a:lnTo>
                    <a:pt x="746" y="600"/>
                  </a:lnTo>
                  <a:lnTo>
                    <a:pt x="766" y="595"/>
                  </a:lnTo>
                  <a:lnTo>
                    <a:pt x="780" y="595"/>
                  </a:lnTo>
                  <a:lnTo>
                    <a:pt x="802" y="628"/>
                  </a:lnTo>
                  <a:lnTo>
                    <a:pt x="816" y="664"/>
                  </a:lnTo>
                  <a:lnTo>
                    <a:pt x="824" y="686"/>
                  </a:lnTo>
                  <a:lnTo>
                    <a:pt x="820" y="698"/>
                  </a:lnTo>
                  <a:lnTo>
                    <a:pt x="802" y="698"/>
                  </a:lnTo>
                  <a:lnTo>
                    <a:pt x="788" y="720"/>
                  </a:lnTo>
                  <a:lnTo>
                    <a:pt x="762" y="762"/>
                  </a:lnTo>
                  <a:lnTo>
                    <a:pt x="740" y="798"/>
                  </a:lnTo>
                  <a:lnTo>
                    <a:pt x="716" y="784"/>
                  </a:lnTo>
                  <a:lnTo>
                    <a:pt x="694" y="784"/>
                  </a:lnTo>
                  <a:lnTo>
                    <a:pt x="676" y="802"/>
                  </a:lnTo>
                  <a:lnTo>
                    <a:pt x="660" y="824"/>
                  </a:lnTo>
                  <a:lnTo>
                    <a:pt x="668" y="840"/>
                  </a:lnTo>
                  <a:lnTo>
                    <a:pt x="672" y="874"/>
                  </a:lnTo>
                  <a:lnTo>
                    <a:pt x="632" y="832"/>
                  </a:lnTo>
                  <a:lnTo>
                    <a:pt x="616" y="840"/>
                  </a:lnTo>
                  <a:lnTo>
                    <a:pt x="593" y="840"/>
                  </a:lnTo>
                  <a:lnTo>
                    <a:pt x="573" y="844"/>
                  </a:lnTo>
                  <a:lnTo>
                    <a:pt x="525" y="832"/>
                  </a:lnTo>
                  <a:lnTo>
                    <a:pt x="499" y="828"/>
                  </a:lnTo>
                  <a:lnTo>
                    <a:pt x="461" y="836"/>
                  </a:lnTo>
                  <a:lnTo>
                    <a:pt x="429" y="820"/>
                  </a:lnTo>
                  <a:lnTo>
                    <a:pt x="413" y="802"/>
                  </a:lnTo>
                  <a:lnTo>
                    <a:pt x="403" y="806"/>
                  </a:lnTo>
                  <a:lnTo>
                    <a:pt x="391" y="820"/>
                  </a:lnTo>
                  <a:lnTo>
                    <a:pt x="349" y="832"/>
                  </a:lnTo>
                  <a:lnTo>
                    <a:pt x="323" y="784"/>
                  </a:lnTo>
                  <a:lnTo>
                    <a:pt x="349" y="724"/>
                  </a:lnTo>
                  <a:lnTo>
                    <a:pt x="349" y="702"/>
                  </a:lnTo>
                  <a:lnTo>
                    <a:pt x="343" y="680"/>
                  </a:lnTo>
                  <a:lnTo>
                    <a:pt x="331" y="658"/>
                  </a:lnTo>
                  <a:lnTo>
                    <a:pt x="323" y="680"/>
                  </a:lnTo>
                  <a:lnTo>
                    <a:pt x="303" y="690"/>
                  </a:lnTo>
                  <a:lnTo>
                    <a:pt x="275" y="708"/>
                  </a:lnTo>
                  <a:lnTo>
                    <a:pt x="225" y="728"/>
                  </a:lnTo>
                  <a:lnTo>
                    <a:pt x="194" y="732"/>
                  </a:lnTo>
                  <a:lnTo>
                    <a:pt x="168" y="736"/>
                  </a:lnTo>
                  <a:lnTo>
                    <a:pt x="154" y="754"/>
                  </a:lnTo>
                  <a:lnTo>
                    <a:pt x="138" y="770"/>
                  </a:lnTo>
                  <a:lnTo>
                    <a:pt x="104" y="788"/>
                  </a:lnTo>
                  <a:lnTo>
                    <a:pt x="108" y="770"/>
                  </a:lnTo>
                  <a:lnTo>
                    <a:pt x="94" y="762"/>
                  </a:lnTo>
                  <a:lnTo>
                    <a:pt x="98" y="736"/>
                  </a:lnTo>
                  <a:lnTo>
                    <a:pt x="94" y="712"/>
                  </a:lnTo>
                  <a:lnTo>
                    <a:pt x="86" y="694"/>
                  </a:lnTo>
                  <a:lnTo>
                    <a:pt x="116" y="672"/>
                  </a:lnTo>
                  <a:lnTo>
                    <a:pt x="154" y="636"/>
                  </a:lnTo>
                  <a:lnTo>
                    <a:pt x="138" y="628"/>
                  </a:lnTo>
                  <a:lnTo>
                    <a:pt x="126" y="608"/>
                  </a:lnTo>
                  <a:lnTo>
                    <a:pt x="142" y="604"/>
                  </a:lnTo>
                  <a:lnTo>
                    <a:pt x="154" y="589"/>
                  </a:lnTo>
                  <a:lnTo>
                    <a:pt x="184" y="581"/>
                  </a:lnTo>
                  <a:lnTo>
                    <a:pt x="198" y="573"/>
                  </a:lnTo>
                  <a:lnTo>
                    <a:pt x="194" y="555"/>
                  </a:lnTo>
                  <a:lnTo>
                    <a:pt x="168" y="555"/>
                  </a:lnTo>
                  <a:lnTo>
                    <a:pt x="154" y="555"/>
                  </a:lnTo>
                  <a:lnTo>
                    <a:pt x="138" y="545"/>
                  </a:lnTo>
                  <a:lnTo>
                    <a:pt x="134" y="529"/>
                  </a:lnTo>
                  <a:lnTo>
                    <a:pt x="134" y="503"/>
                  </a:lnTo>
                  <a:lnTo>
                    <a:pt x="142" y="487"/>
                  </a:lnTo>
                  <a:lnTo>
                    <a:pt x="154" y="469"/>
                  </a:lnTo>
                  <a:lnTo>
                    <a:pt x="176" y="469"/>
                  </a:lnTo>
                  <a:lnTo>
                    <a:pt x="158" y="451"/>
                  </a:lnTo>
                  <a:lnTo>
                    <a:pt x="130" y="461"/>
                  </a:lnTo>
                  <a:lnTo>
                    <a:pt x="120" y="473"/>
                  </a:lnTo>
                  <a:lnTo>
                    <a:pt x="86" y="495"/>
                  </a:lnTo>
                  <a:lnTo>
                    <a:pt x="72" y="473"/>
                  </a:lnTo>
                  <a:lnTo>
                    <a:pt x="76" y="447"/>
                  </a:lnTo>
                  <a:lnTo>
                    <a:pt x="82" y="425"/>
                  </a:lnTo>
                  <a:lnTo>
                    <a:pt x="98" y="407"/>
                  </a:lnTo>
                  <a:lnTo>
                    <a:pt x="104" y="395"/>
                  </a:lnTo>
                  <a:lnTo>
                    <a:pt x="94" y="383"/>
                  </a:lnTo>
                  <a:lnTo>
                    <a:pt x="76" y="391"/>
                  </a:lnTo>
                  <a:lnTo>
                    <a:pt x="64" y="395"/>
                  </a:lnTo>
                  <a:lnTo>
                    <a:pt x="46" y="365"/>
                  </a:lnTo>
                  <a:lnTo>
                    <a:pt x="34" y="345"/>
                  </a:lnTo>
                  <a:lnTo>
                    <a:pt x="22" y="337"/>
                  </a:lnTo>
                  <a:lnTo>
                    <a:pt x="0" y="329"/>
                  </a:lnTo>
                  <a:lnTo>
                    <a:pt x="14" y="315"/>
                  </a:lnTo>
                  <a:lnTo>
                    <a:pt x="14" y="255"/>
                  </a:lnTo>
                  <a:lnTo>
                    <a:pt x="26" y="243"/>
                  </a:lnTo>
                  <a:lnTo>
                    <a:pt x="56" y="221"/>
                  </a:lnTo>
                  <a:lnTo>
                    <a:pt x="76" y="207"/>
                  </a:lnTo>
                  <a:lnTo>
                    <a:pt x="94" y="198"/>
                  </a:lnTo>
                  <a:lnTo>
                    <a:pt x="116" y="207"/>
                  </a:lnTo>
                  <a:lnTo>
                    <a:pt x="116" y="190"/>
                  </a:lnTo>
                  <a:lnTo>
                    <a:pt x="142" y="160"/>
                  </a:lnTo>
                  <a:lnTo>
                    <a:pt x="158" y="164"/>
                  </a:lnTo>
                  <a:lnTo>
                    <a:pt x="211" y="176"/>
                  </a:lnTo>
                  <a:lnTo>
                    <a:pt x="229" y="184"/>
                  </a:lnTo>
                  <a:lnTo>
                    <a:pt x="247" y="176"/>
                  </a:lnTo>
                  <a:lnTo>
                    <a:pt x="281" y="160"/>
                  </a:lnTo>
                  <a:lnTo>
                    <a:pt x="289" y="152"/>
                  </a:lnTo>
                  <a:lnTo>
                    <a:pt x="303" y="160"/>
                  </a:lnTo>
                  <a:lnTo>
                    <a:pt x="313" y="148"/>
                  </a:lnTo>
                  <a:lnTo>
                    <a:pt x="327" y="156"/>
                  </a:lnTo>
                  <a:lnTo>
                    <a:pt x="353" y="164"/>
                  </a:lnTo>
                  <a:lnTo>
                    <a:pt x="361" y="152"/>
                  </a:lnTo>
                  <a:lnTo>
                    <a:pt x="361" y="130"/>
                  </a:lnTo>
                  <a:lnTo>
                    <a:pt x="353" y="108"/>
                  </a:lnTo>
                  <a:lnTo>
                    <a:pt x="349" y="90"/>
                  </a:lnTo>
                  <a:lnTo>
                    <a:pt x="377" y="78"/>
                  </a:lnTo>
                  <a:lnTo>
                    <a:pt x="413" y="56"/>
                  </a:lnTo>
                  <a:lnTo>
                    <a:pt x="435" y="64"/>
                  </a:lnTo>
                  <a:lnTo>
                    <a:pt x="421" y="40"/>
                  </a:lnTo>
                  <a:lnTo>
                    <a:pt x="439" y="30"/>
                  </a:lnTo>
                  <a:lnTo>
                    <a:pt x="461" y="14"/>
                  </a:lnTo>
                  <a:lnTo>
                    <a:pt x="477" y="0"/>
                  </a:lnTo>
                  <a:lnTo>
                    <a:pt x="495" y="0"/>
                  </a:lnTo>
                  <a:lnTo>
                    <a:pt x="511" y="22"/>
                  </a:lnTo>
                  <a:lnTo>
                    <a:pt x="525" y="4"/>
                  </a:lnTo>
                  <a:lnTo>
                    <a:pt x="547" y="4"/>
                  </a:lnTo>
                  <a:lnTo>
                    <a:pt x="555" y="18"/>
                  </a:lnTo>
                  <a:lnTo>
                    <a:pt x="589" y="18"/>
                  </a:lnTo>
                  <a:lnTo>
                    <a:pt x="628" y="30"/>
                  </a:lnTo>
                  <a:lnTo>
                    <a:pt x="650" y="52"/>
                  </a:lnTo>
                  <a:lnTo>
                    <a:pt x="660" y="82"/>
                  </a:lnTo>
                  <a:lnTo>
                    <a:pt x="672" y="90"/>
                  </a:lnTo>
                  <a:lnTo>
                    <a:pt x="698" y="82"/>
                  </a:lnTo>
                  <a:lnTo>
                    <a:pt x="720" y="94"/>
                  </a:lnTo>
                  <a:lnTo>
                    <a:pt x="750" y="104"/>
                  </a:lnTo>
                  <a:lnTo>
                    <a:pt x="788" y="98"/>
                  </a:lnTo>
                  <a:close/>
                </a:path>
              </a:pathLst>
            </a:custGeom>
            <a:solidFill>
              <a:schemeClr val="accent3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4" name="Freeform 37"/>
            <p:cNvSpPr>
              <a:spLocks/>
            </p:cNvSpPr>
            <p:nvPr/>
          </p:nvSpPr>
          <p:spPr bwMode="auto">
            <a:xfrm>
              <a:off x="2186" y="1280"/>
              <a:ext cx="1261" cy="960"/>
            </a:xfrm>
            <a:custGeom>
              <a:avLst/>
              <a:gdLst/>
              <a:ahLst/>
              <a:cxnLst>
                <a:cxn ang="0">
                  <a:pos x="94" y="387"/>
                </a:cxn>
                <a:cxn ang="0">
                  <a:pos x="46" y="284"/>
                </a:cxn>
                <a:cxn ang="0">
                  <a:pos x="12" y="188"/>
                </a:cxn>
                <a:cxn ang="0">
                  <a:pos x="94" y="92"/>
                </a:cxn>
                <a:cxn ang="0">
                  <a:pos x="228" y="56"/>
                </a:cxn>
                <a:cxn ang="0">
                  <a:pos x="319" y="38"/>
                </a:cxn>
                <a:cxn ang="0">
                  <a:pos x="433" y="72"/>
                </a:cxn>
                <a:cxn ang="0">
                  <a:pos x="593" y="42"/>
                </a:cxn>
                <a:cxn ang="0">
                  <a:pos x="710" y="0"/>
                </a:cxn>
                <a:cxn ang="0">
                  <a:pos x="784" y="88"/>
                </a:cxn>
                <a:cxn ang="0">
                  <a:pos x="910" y="118"/>
                </a:cxn>
                <a:cxn ang="0">
                  <a:pos x="1026" y="168"/>
                </a:cxn>
                <a:cxn ang="0">
                  <a:pos x="1060" y="96"/>
                </a:cxn>
                <a:cxn ang="0">
                  <a:pos x="1098" y="46"/>
                </a:cxn>
                <a:cxn ang="0">
                  <a:pos x="1187" y="22"/>
                </a:cxn>
                <a:cxn ang="0">
                  <a:pos x="1283" y="80"/>
                </a:cxn>
                <a:cxn ang="0">
                  <a:pos x="1275" y="146"/>
                </a:cxn>
                <a:cxn ang="0">
                  <a:pos x="1299" y="280"/>
                </a:cxn>
                <a:cxn ang="0">
                  <a:pos x="1295" y="383"/>
                </a:cxn>
                <a:cxn ang="0">
                  <a:pos x="1321" y="495"/>
                </a:cxn>
                <a:cxn ang="0">
                  <a:pos x="1369" y="525"/>
                </a:cxn>
                <a:cxn ang="0">
                  <a:pos x="1407" y="479"/>
                </a:cxn>
                <a:cxn ang="0">
                  <a:pos x="1459" y="529"/>
                </a:cxn>
                <a:cxn ang="0">
                  <a:pos x="1616" y="473"/>
                </a:cxn>
                <a:cxn ang="0">
                  <a:pos x="1684" y="551"/>
                </a:cxn>
                <a:cxn ang="0">
                  <a:pos x="1706" y="659"/>
                </a:cxn>
                <a:cxn ang="0">
                  <a:pos x="1668" y="792"/>
                </a:cxn>
                <a:cxn ang="0">
                  <a:pos x="1590" y="848"/>
                </a:cxn>
                <a:cxn ang="0">
                  <a:pos x="1568" y="952"/>
                </a:cxn>
                <a:cxn ang="0">
                  <a:pos x="1503" y="868"/>
                </a:cxn>
                <a:cxn ang="0">
                  <a:pos x="1339" y="818"/>
                </a:cxn>
                <a:cxn ang="0">
                  <a:pos x="1271" y="826"/>
                </a:cxn>
                <a:cxn ang="0">
                  <a:pos x="1149" y="904"/>
                </a:cxn>
                <a:cxn ang="0">
                  <a:pos x="982" y="1076"/>
                </a:cxn>
                <a:cxn ang="0">
                  <a:pos x="856" y="1185"/>
                </a:cxn>
                <a:cxn ang="0">
                  <a:pos x="818" y="1249"/>
                </a:cxn>
                <a:cxn ang="0">
                  <a:pos x="766" y="1345"/>
                </a:cxn>
                <a:cxn ang="0">
                  <a:pos x="675" y="1331"/>
                </a:cxn>
                <a:cxn ang="0">
                  <a:pos x="537" y="1357"/>
                </a:cxn>
                <a:cxn ang="0">
                  <a:pos x="433" y="1275"/>
                </a:cxn>
                <a:cxn ang="0">
                  <a:pos x="262" y="1201"/>
                </a:cxn>
                <a:cxn ang="0">
                  <a:pos x="104" y="1301"/>
                </a:cxn>
                <a:cxn ang="0">
                  <a:pos x="68" y="1219"/>
                </a:cxn>
                <a:cxn ang="0">
                  <a:pos x="72" y="1046"/>
                </a:cxn>
                <a:cxn ang="0">
                  <a:pos x="216" y="788"/>
                </a:cxn>
                <a:cxn ang="0">
                  <a:pos x="288" y="671"/>
                </a:cxn>
                <a:cxn ang="0">
                  <a:pos x="194" y="625"/>
                </a:cxn>
                <a:cxn ang="0">
                  <a:pos x="128" y="501"/>
                </a:cxn>
                <a:cxn ang="0">
                  <a:pos x="16" y="491"/>
                </a:cxn>
              </a:cxnLst>
              <a:rect l="0" t="0" r="r" b="b"/>
              <a:pathLst>
                <a:path w="1720" h="1375">
                  <a:moveTo>
                    <a:pt x="16" y="491"/>
                  </a:moveTo>
                  <a:lnTo>
                    <a:pt x="42" y="443"/>
                  </a:lnTo>
                  <a:lnTo>
                    <a:pt x="76" y="383"/>
                  </a:lnTo>
                  <a:lnTo>
                    <a:pt x="94" y="387"/>
                  </a:lnTo>
                  <a:lnTo>
                    <a:pt x="98" y="371"/>
                  </a:lnTo>
                  <a:lnTo>
                    <a:pt x="76" y="305"/>
                  </a:lnTo>
                  <a:lnTo>
                    <a:pt x="50" y="280"/>
                  </a:lnTo>
                  <a:lnTo>
                    <a:pt x="46" y="284"/>
                  </a:lnTo>
                  <a:lnTo>
                    <a:pt x="28" y="289"/>
                  </a:lnTo>
                  <a:lnTo>
                    <a:pt x="8" y="266"/>
                  </a:lnTo>
                  <a:lnTo>
                    <a:pt x="0" y="236"/>
                  </a:lnTo>
                  <a:lnTo>
                    <a:pt x="12" y="188"/>
                  </a:lnTo>
                  <a:lnTo>
                    <a:pt x="56" y="146"/>
                  </a:lnTo>
                  <a:lnTo>
                    <a:pt x="64" y="118"/>
                  </a:lnTo>
                  <a:lnTo>
                    <a:pt x="56" y="96"/>
                  </a:lnTo>
                  <a:lnTo>
                    <a:pt x="94" y="92"/>
                  </a:lnTo>
                  <a:lnTo>
                    <a:pt x="150" y="96"/>
                  </a:lnTo>
                  <a:lnTo>
                    <a:pt x="176" y="96"/>
                  </a:lnTo>
                  <a:lnTo>
                    <a:pt x="198" y="88"/>
                  </a:lnTo>
                  <a:lnTo>
                    <a:pt x="228" y="56"/>
                  </a:lnTo>
                  <a:lnTo>
                    <a:pt x="232" y="46"/>
                  </a:lnTo>
                  <a:lnTo>
                    <a:pt x="248" y="50"/>
                  </a:lnTo>
                  <a:lnTo>
                    <a:pt x="270" y="68"/>
                  </a:lnTo>
                  <a:lnTo>
                    <a:pt x="319" y="38"/>
                  </a:lnTo>
                  <a:lnTo>
                    <a:pt x="357" y="56"/>
                  </a:lnTo>
                  <a:lnTo>
                    <a:pt x="381" y="76"/>
                  </a:lnTo>
                  <a:lnTo>
                    <a:pt x="407" y="84"/>
                  </a:lnTo>
                  <a:lnTo>
                    <a:pt x="433" y="72"/>
                  </a:lnTo>
                  <a:lnTo>
                    <a:pt x="473" y="42"/>
                  </a:lnTo>
                  <a:lnTo>
                    <a:pt x="541" y="64"/>
                  </a:lnTo>
                  <a:lnTo>
                    <a:pt x="559" y="56"/>
                  </a:lnTo>
                  <a:lnTo>
                    <a:pt x="593" y="42"/>
                  </a:lnTo>
                  <a:lnTo>
                    <a:pt x="623" y="50"/>
                  </a:lnTo>
                  <a:lnTo>
                    <a:pt x="659" y="38"/>
                  </a:lnTo>
                  <a:lnTo>
                    <a:pt x="685" y="18"/>
                  </a:lnTo>
                  <a:lnTo>
                    <a:pt x="710" y="0"/>
                  </a:lnTo>
                  <a:lnTo>
                    <a:pt x="744" y="18"/>
                  </a:lnTo>
                  <a:lnTo>
                    <a:pt x="758" y="46"/>
                  </a:lnTo>
                  <a:lnTo>
                    <a:pt x="766" y="76"/>
                  </a:lnTo>
                  <a:lnTo>
                    <a:pt x="784" y="88"/>
                  </a:lnTo>
                  <a:lnTo>
                    <a:pt x="814" y="80"/>
                  </a:lnTo>
                  <a:lnTo>
                    <a:pt x="856" y="68"/>
                  </a:lnTo>
                  <a:lnTo>
                    <a:pt x="888" y="132"/>
                  </a:lnTo>
                  <a:lnTo>
                    <a:pt x="910" y="118"/>
                  </a:lnTo>
                  <a:lnTo>
                    <a:pt x="952" y="154"/>
                  </a:lnTo>
                  <a:lnTo>
                    <a:pt x="982" y="180"/>
                  </a:lnTo>
                  <a:lnTo>
                    <a:pt x="1000" y="176"/>
                  </a:lnTo>
                  <a:lnTo>
                    <a:pt x="1026" y="168"/>
                  </a:lnTo>
                  <a:lnTo>
                    <a:pt x="1050" y="162"/>
                  </a:lnTo>
                  <a:lnTo>
                    <a:pt x="1064" y="154"/>
                  </a:lnTo>
                  <a:lnTo>
                    <a:pt x="1068" y="106"/>
                  </a:lnTo>
                  <a:lnTo>
                    <a:pt x="1060" y="96"/>
                  </a:lnTo>
                  <a:lnTo>
                    <a:pt x="1050" y="80"/>
                  </a:lnTo>
                  <a:lnTo>
                    <a:pt x="1054" y="68"/>
                  </a:lnTo>
                  <a:lnTo>
                    <a:pt x="1072" y="56"/>
                  </a:lnTo>
                  <a:lnTo>
                    <a:pt x="1098" y="46"/>
                  </a:lnTo>
                  <a:lnTo>
                    <a:pt x="1125" y="38"/>
                  </a:lnTo>
                  <a:lnTo>
                    <a:pt x="1145" y="56"/>
                  </a:lnTo>
                  <a:lnTo>
                    <a:pt x="1167" y="38"/>
                  </a:lnTo>
                  <a:lnTo>
                    <a:pt x="1187" y="22"/>
                  </a:lnTo>
                  <a:lnTo>
                    <a:pt x="1227" y="14"/>
                  </a:lnTo>
                  <a:lnTo>
                    <a:pt x="1257" y="0"/>
                  </a:lnTo>
                  <a:lnTo>
                    <a:pt x="1291" y="46"/>
                  </a:lnTo>
                  <a:lnTo>
                    <a:pt x="1283" y="80"/>
                  </a:lnTo>
                  <a:lnTo>
                    <a:pt x="1317" y="114"/>
                  </a:lnTo>
                  <a:lnTo>
                    <a:pt x="1317" y="132"/>
                  </a:lnTo>
                  <a:lnTo>
                    <a:pt x="1295" y="140"/>
                  </a:lnTo>
                  <a:lnTo>
                    <a:pt x="1275" y="146"/>
                  </a:lnTo>
                  <a:lnTo>
                    <a:pt x="1279" y="184"/>
                  </a:lnTo>
                  <a:lnTo>
                    <a:pt x="1317" y="196"/>
                  </a:lnTo>
                  <a:lnTo>
                    <a:pt x="1331" y="240"/>
                  </a:lnTo>
                  <a:lnTo>
                    <a:pt x="1299" y="280"/>
                  </a:lnTo>
                  <a:lnTo>
                    <a:pt x="1317" y="317"/>
                  </a:lnTo>
                  <a:lnTo>
                    <a:pt x="1325" y="357"/>
                  </a:lnTo>
                  <a:lnTo>
                    <a:pt x="1313" y="371"/>
                  </a:lnTo>
                  <a:lnTo>
                    <a:pt x="1295" y="383"/>
                  </a:lnTo>
                  <a:lnTo>
                    <a:pt x="1291" y="405"/>
                  </a:lnTo>
                  <a:lnTo>
                    <a:pt x="1313" y="439"/>
                  </a:lnTo>
                  <a:lnTo>
                    <a:pt x="1321" y="461"/>
                  </a:lnTo>
                  <a:lnTo>
                    <a:pt x="1321" y="495"/>
                  </a:lnTo>
                  <a:lnTo>
                    <a:pt x="1321" y="525"/>
                  </a:lnTo>
                  <a:lnTo>
                    <a:pt x="1331" y="537"/>
                  </a:lnTo>
                  <a:lnTo>
                    <a:pt x="1339" y="537"/>
                  </a:lnTo>
                  <a:lnTo>
                    <a:pt x="1369" y="525"/>
                  </a:lnTo>
                  <a:lnTo>
                    <a:pt x="1369" y="491"/>
                  </a:lnTo>
                  <a:lnTo>
                    <a:pt x="1383" y="479"/>
                  </a:lnTo>
                  <a:lnTo>
                    <a:pt x="1391" y="465"/>
                  </a:lnTo>
                  <a:lnTo>
                    <a:pt x="1407" y="479"/>
                  </a:lnTo>
                  <a:lnTo>
                    <a:pt x="1411" y="517"/>
                  </a:lnTo>
                  <a:lnTo>
                    <a:pt x="1415" y="537"/>
                  </a:lnTo>
                  <a:lnTo>
                    <a:pt x="1433" y="537"/>
                  </a:lnTo>
                  <a:lnTo>
                    <a:pt x="1459" y="529"/>
                  </a:lnTo>
                  <a:lnTo>
                    <a:pt x="1473" y="513"/>
                  </a:lnTo>
                  <a:lnTo>
                    <a:pt x="1487" y="491"/>
                  </a:lnTo>
                  <a:lnTo>
                    <a:pt x="1487" y="473"/>
                  </a:lnTo>
                  <a:lnTo>
                    <a:pt x="1616" y="473"/>
                  </a:lnTo>
                  <a:lnTo>
                    <a:pt x="1620" y="505"/>
                  </a:lnTo>
                  <a:lnTo>
                    <a:pt x="1624" y="533"/>
                  </a:lnTo>
                  <a:lnTo>
                    <a:pt x="1642" y="547"/>
                  </a:lnTo>
                  <a:lnTo>
                    <a:pt x="1684" y="551"/>
                  </a:lnTo>
                  <a:lnTo>
                    <a:pt x="1690" y="573"/>
                  </a:lnTo>
                  <a:lnTo>
                    <a:pt x="1720" y="591"/>
                  </a:lnTo>
                  <a:lnTo>
                    <a:pt x="1712" y="629"/>
                  </a:lnTo>
                  <a:lnTo>
                    <a:pt x="1706" y="659"/>
                  </a:lnTo>
                  <a:lnTo>
                    <a:pt x="1680" y="690"/>
                  </a:lnTo>
                  <a:lnTo>
                    <a:pt x="1650" y="708"/>
                  </a:lnTo>
                  <a:lnTo>
                    <a:pt x="1650" y="752"/>
                  </a:lnTo>
                  <a:lnTo>
                    <a:pt x="1668" y="792"/>
                  </a:lnTo>
                  <a:lnTo>
                    <a:pt x="1642" y="804"/>
                  </a:lnTo>
                  <a:lnTo>
                    <a:pt x="1632" y="774"/>
                  </a:lnTo>
                  <a:lnTo>
                    <a:pt x="1620" y="814"/>
                  </a:lnTo>
                  <a:lnTo>
                    <a:pt x="1590" y="848"/>
                  </a:lnTo>
                  <a:lnTo>
                    <a:pt x="1616" y="890"/>
                  </a:lnTo>
                  <a:lnTo>
                    <a:pt x="1636" y="926"/>
                  </a:lnTo>
                  <a:lnTo>
                    <a:pt x="1608" y="946"/>
                  </a:lnTo>
                  <a:lnTo>
                    <a:pt x="1568" y="952"/>
                  </a:lnTo>
                  <a:lnTo>
                    <a:pt x="1534" y="946"/>
                  </a:lnTo>
                  <a:lnTo>
                    <a:pt x="1495" y="972"/>
                  </a:lnTo>
                  <a:lnTo>
                    <a:pt x="1473" y="900"/>
                  </a:lnTo>
                  <a:lnTo>
                    <a:pt x="1503" y="868"/>
                  </a:lnTo>
                  <a:lnTo>
                    <a:pt x="1429" y="856"/>
                  </a:lnTo>
                  <a:lnTo>
                    <a:pt x="1391" y="836"/>
                  </a:lnTo>
                  <a:lnTo>
                    <a:pt x="1369" y="844"/>
                  </a:lnTo>
                  <a:lnTo>
                    <a:pt x="1339" y="818"/>
                  </a:lnTo>
                  <a:lnTo>
                    <a:pt x="1331" y="840"/>
                  </a:lnTo>
                  <a:lnTo>
                    <a:pt x="1309" y="852"/>
                  </a:lnTo>
                  <a:lnTo>
                    <a:pt x="1291" y="848"/>
                  </a:lnTo>
                  <a:lnTo>
                    <a:pt x="1271" y="826"/>
                  </a:lnTo>
                  <a:lnTo>
                    <a:pt x="1249" y="836"/>
                  </a:lnTo>
                  <a:lnTo>
                    <a:pt x="1223" y="860"/>
                  </a:lnTo>
                  <a:lnTo>
                    <a:pt x="1197" y="882"/>
                  </a:lnTo>
                  <a:lnTo>
                    <a:pt x="1149" y="904"/>
                  </a:lnTo>
                  <a:lnTo>
                    <a:pt x="1129" y="912"/>
                  </a:lnTo>
                  <a:lnTo>
                    <a:pt x="1098" y="942"/>
                  </a:lnTo>
                  <a:lnTo>
                    <a:pt x="986" y="1038"/>
                  </a:lnTo>
                  <a:lnTo>
                    <a:pt x="982" y="1076"/>
                  </a:lnTo>
                  <a:lnTo>
                    <a:pt x="952" y="1072"/>
                  </a:lnTo>
                  <a:lnTo>
                    <a:pt x="934" y="1115"/>
                  </a:lnTo>
                  <a:lnTo>
                    <a:pt x="884" y="1163"/>
                  </a:lnTo>
                  <a:lnTo>
                    <a:pt x="856" y="1185"/>
                  </a:lnTo>
                  <a:lnTo>
                    <a:pt x="862" y="1197"/>
                  </a:lnTo>
                  <a:lnTo>
                    <a:pt x="866" y="1215"/>
                  </a:lnTo>
                  <a:lnTo>
                    <a:pt x="848" y="1227"/>
                  </a:lnTo>
                  <a:lnTo>
                    <a:pt x="818" y="1249"/>
                  </a:lnTo>
                  <a:lnTo>
                    <a:pt x="802" y="1255"/>
                  </a:lnTo>
                  <a:lnTo>
                    <a:pt x="798" y="1293"/>
                  </a:lnTo>
                  <a:lnTo>
                    <a:pt x="788" y="1335"/>
                  </a:lnTo>
                  <a:lnTo>
                    <a:pt x="766" y="1345"/>
                  </a:lnTo>
                  <a:lnTo>
                    <a:pt x="744" y="1297"/>
                  </a:lnTo>
                  <a:lnTo>
                    <a:pt x="718" y="1275"/>
                  </a:lnTo>
                  <a:lnTo>
                    <a:pt x="689" y="1293"/>
                  </a:lnTo>
                  <a:lnTo>
                    <a:pt x="675" y="1331"/>
                  </a:lnTo>
                  <a:lnTo>
                    <a:pt x="619" y="1335"/>
                  </a:lnTo>
                  <a:lnTo>
                    <a:pt x="589" y="1345"/>
                  </a:lnTo>
                  <a:lnTo>
                    <a:pt x="551" y="1375"/>
                  </a:lnTo>
                  <a:lnTo>
                    <a:pt x="537" y="1357"/>
                  </a:lnTo>
                  <a:lnTo>
                    <a:pt x="529" y="1305"/>
                  </a:lnTo>
                  <a:lnTo>
                    <a:pt x="515" y="1289"/>
                  </a:lnTo>
                  <a:lnTo>
                    <a:pt x="469" y="1317"/>
                  </a:lnTo>
                  <a:lnTo>
                    <a:pt x="433" y="1275"/>
                  </a:lnTo>
                  <a:lnTo>
                    <a:pt x="391" y="1283"/>
                  </a:lnTo>
                  <a:lnTo>
                    <a:pt x="359" y="1271"/>
                  </a:lnTo>
                  <a:lnTo>
                    <a:pt x="329" y="1279"/>
                  </a:lnTo>
                  <a:lnTo>
                    <a:pt x="262" y="1201"/>
                  </a:lnTo>
                  <a:lnTo>
                    <a:pt x="232" y="1201"/>
                  </a:lnTo>
                  <a:lnTo>
                    <a:pt x="184" y="1241"/>
                  </a:lnTo>
                  <a:lnTo>
                    <a:pt x="140" y="1249"/>
                  </a:lnTo>
                  <a:lnTo>
                    <a:pt x="104" y="1301"/>
                  </a:lnTo>
                  <a:lnTo>
                    <a:pt x="68" y="1279"/>
                  </a:lnTo>
                  <a:lnTo>
                    <a:pt x="8" y="1309"/>
                  </a:lnTo>
                  <a:lnTo>
                    <a:pt x="0" y="1263"/>
                  </a:lnTo>
                  <a:lnTo>
                    <a:pt x="68" y="1219"/>
                  </a:lnTo>
                  <a:lnTo>
                    <a:pt x="56" y="1193"/>
                  </a:lnTo>
                  <a:lnTo>
                    <a:pt x="46" y="1167"/>
                  </a:lnTo>
                  <a:lnTo>
                    <a:pt x="82" y="1115"/>
                  </a:lnTo>
                  <a:lnTo>
                    <a:pt x="72" y="1046"/>
                  </a:lnTo>
                  <a:lnTo>
                    <a:pt x="82" y="912"/>
                  </a:lnTo>
                  <a:lnTo>
                    <a:pt x="116" y="864"/>
                  </a:lnTo>
                  <a:lnTo>
                    <a:pt x="168" y="826"/>
                  </a:lnTo>
                  <a:lnTo>
                    <a:pt x="216" y="788"/>
                  </a:lnTo>
                  <a:lnTo>
                    <a:pt x="258" y="752"/>
                  </a:lnTo>
                  <a:lnTo>
                    <a:pt x="280" y="730"/>
                  </a:lnTo>
                  <a:lnTo>
                    <a:pt x="292" y="708"/>
                  </a:lnTo>
                  <a:lnTo>
                    <a:pt x="288" y="671"/>
                  </a:lnTo>
                  <a:lnTo>
                    <a:pt x="266" y="649"/>
                  </a:lnTo>
                  <a:lnTo>
                    <a:pt x="236" y="641"/>
                  </a:lnTo>
                  <a:lnTo>
                    <a:pt x="202" y="641"/>
                  </a:lnTo>
                  <a:lnTo>
                    <a:pt x="194" y="625"/>
                  </a:lnTo>
                  <a:lnTo>
                    <a:pt x="188" y="595"/>
                  </a:lnTo>
                  <a:lnTo>
                    <a:pt x="180" y="551"/>
                  </a:lnTo>
                  <a:lnTo>
                    <a:pt x="154" y="513"/>
                  </a:lnTo>
                  <a:lnTo>
                    <a:pt x="128" y="501"/>
                  </a:lnTo>
                  <a:lnTo>
                    <a:pt x="86" y="491"/>
                  </a:lnTo>
                  <a:lnTo>
                    <a:pt x="56" y="495"/>
                  </a:lnTo>
                  <a:lnTo>
                    <a:pt x="38" y="501"/>
                  </a:lnTo>
                  <a:lnTo>
                    <a:pt x="16" y="491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44" name="Oval 45"/>
          <p:cNvSpPr>
            <a:spLocks noChangeArrowheads="1"/>
          </p:cNvSpPr>
          <p:nvPr/>
        </p:nvSpPr>
        <p:spPr bwMode="auto">
          <a:xfrm>
            <a:off x="3060055" y="1126776"/>
            <a:ext cx="609600" cy="609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hangingPunct="0">
              <a:defRPr/>
            </a:pPr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6,7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Oval 48"/>
          <p:cNvSpPr>
            <a:spLocks noChangeArrowheads="1"/>
          </p:cNvSpPr>
          <p:nvPr/>
        </p:nvSpPr>
        <p:spPr bwMode="auto">
          <a:xfrm>
            <a:off x="7579786" y="2915898"/>
            <a:ext cx="609600" cy="6096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hangingPunct="0">
              <a:defRPr/>
            </a:pPr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8,9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Oval 51"/>
          <p:cNvSpPr>
            <a:spLocks noChangeArrowheads="1"/>
          </p:cNvSpPr>
          <p:nvPr/>
        </p:nvSpPr>
        <p:spPr bwMode="auto">
          <a:xfrm>
            <a:off x="1618605" y="5771728"/>
            <a:ext cx="609600" cy="6096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hangingPunct="0">
              <a:defRPr/>
            </a:pPr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9,5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9" name="Oval 60"/>
          <p:cNvSpPr>
            <a:spLocks noChangeArrowheads="1"/>
          </p:cNvSpPr>
          <p:nvPr/>
        </p:nvSpPr>
        <p:spPr bwMode="auto">
          <a:xfrm>
            <a:off x="3634730" y="2279301"/>
            <a:ext cx="609600" cy="609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hangingPunct="0">
              <a:defRPr/>
            </a:pPr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0,4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04" name="Oval 84"/>
          <p:cNvSpPr>
            <a:spLocks noChangeArrowheads="1"/>
          </p:cNvSpPr>
          <p:nvPr/>
        </p:nvSpPr>
        <p:spPr bwMode="auto">
          <a:xfrm>
            <a:off x="5364088" y="1484784"/>
            <a:ext cx="609600" cy="609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hangingPunct="0"/>
            <a:r>
              <a:rPr lang="es-ES_tradnl" sz="17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4,1</a:t>
            </a:r>
          </a:p>
        </p:txBody>
      </p:sp>
      <p:sp>
        <p:nvSpPr>
          <p:cNvPr id="16393" name="Rectangle 89"/>
          <p:cNvSpPr>
            <a:spLocks noChangeArrowheads="1"/>
          </p:cNvSpPr>
          <p:nvPr/>
        </p:nvSpPr>
        <p:spPr bwMode="auto">
          <a:xfrm>
            <a:off x="670447" y="3161066"/>
            <a:ext cx="914400" cy="57626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it-IT" sz="24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</a:t>
            </a:r>
            <a:r>
              <a:rPr lang="it-IT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it-IT" sz="24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endParaRPr lang="it-IT" sz="24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394" name="Rectangle 90"/>
          <p:cNvSpPr>
            <a:spLocks noChangeArrowheads="1"/>
          </p:cNvSpPr>
          <p:nvPr/>
        </p:nvSpPr>
        <p:spPr bwMode="auto">
          <a:xfrm>
            <a:off x="670447" y="3901245"/>
            <a:ext cx="914400" cy="57626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it-IT" sz="24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40</a:t>
            </a:r>
            <a:endParaRPr lang="it-IT" sz="24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6396" name="Group 92"/>
          <p:cNvGrpSpPr>
            <a:grpSpLocks/>
          </p:cNvGrpSpPr>
          <p:nvPr/>
        </p:nvGrpSpPr>
        <p:grpSpPr bwMode="auto">
          <a:xfrm>
            <a:off x="7560716" y="4288780"/>
            <a:ext cx="1223963" cy="1079500"/>
            <a:chOff x="377" y="2612"/>
            <a:chExt cx="1003" cy="855"/>
          </a:xfrm>
        </p:grpSpPr>
        <p:sp>
          <p:nvSpPr>
            <p:cNvPr id="92" name="Freeform 93"/>
            <p:cNvSpPr>
              <a:spLocks/>
            </p:cNvSpPr>
            <p:nvPr/>
          </p:nvSpPr>
          <p:spPr bwMode="auto">
            <a:xfrm>
              <a:off x="377" y="2612"/>
              <a:ext cx="966" cy="855"/>
            </a:xfrm>
            <a:custGeom>
              <a:avLst/>
              <a:gdLst/>
              <a:ahLst/>
              <a:cxnLst>
                <a:cxn ang="0">
                  <a:pos x="44" y="155"/>
                </a:cxn>
                <a:cxn ang="0">
                  <a:pos x="75" y="93"/>
                </a:cxn>
                <a:cxn ang="0">
                  <a:pos x="67" y="70"/>
                </a:cxn>
                <a:cxn ang="0">
                  <a:pos x="53" y="49"/>
                </a:cxn>
                <a:cxn ang="0">
                  <a:pos x="107" y="22"/>
                </a:cxn>
                <a:cxn ang="0">
                  <a:pos x="146" y="13"/>
                </a:cxn>
                <a:cxn ang="0">
                  <a:pos x="187" y="4"/>
                </a:cxn>
                <a:cxn ang="0">
                  <a:pos x="265" y="66"/>
                </a:cxn>
                <a:cxn ang="0">
                  <a:pos x="321" y="70"/>
                </a:cxn>
                <a:cxn ang="0">
                  <a:pos x="475" y="142"/>
                </a:cxn>
                <a:cxn ang="0">
                  <a:pos x="541" y="158"/>
                </a:cxn>
                <a:cxn ang="0">
                  <a:pos x="586" y="194"/>
                </a:cxn>
                <a:cxn ang="0">
                  <a:pos x="631" y="199"/>
                </a:cxn>
                <a:cxn ang="0">
                  <a:pos x="631" y="220"/>
                </a:cxn>
                <a:cxn ang="0">
                  <a:pos x="701" y="287"/>
                </a:cxn>
                <a:cxn ang="0">
                  <a:pos x="758" y="314"/>
                </a:cxn>
                <a:cxn ang="0">
                  <a:pos x="847" y="340"/>
                </a:cxn>
                <a:cxn ang="0">
                  <a:pos x="865" y="371"/>
                </a:cxn>
                <a:cxn ang="0">
                  <a:pos x="899" y="384"/>
                </a:cxn>
                <a:cxn ang="0">
                  <a:pos x="935" y="384"/>
                </a:cxn>
                <a:cxn ang="0">
                  <a:pos x="958" y="384"/>
                </a:cxn>
                <a:cxn ang="0">
                  <a:pos x="966" y="425"/>
                </a:cxn>
                <a:cxn ang="0">
                  <a:pos x="882" y="489"/>
                </a:cxn>
                <a:cxn ang="0">
                  <a:pos x="763" y="510"/>
                </a:cxn>
                <a:cxn ang="0">
                  <a:pos x="732" y="541"/>
                </a:cxn>
                <a:cxn ang="0">
                  <a:pos x="696" y="555"/>
                </a:cxn>
                <a:cxn ang="0">
                  <a:pos x="660" y="594"/>
                </a:cxn>
                <a:cxn ang="0">
                  <a:pos x="621" y="621"/>
                </a:cxn>
                <a:cxn ang="0">
                  <a:pos x="634" y="669"/>
                </a:cxn>
                <a:cxn ang="0">
                  <a:pos x="639" y="705"/>
                </a:cxn>
                <a:cxn ang="0">
                  <a:pos x="616" y="718"/>
                </a:cxn>
                <a:cxn ang="0">
                  <a:pos x="555" y="772"/>
                </a:cxn>
                <a:cxn ang="0">
                  <a:pos x="533" y="793"/>
                </a:cxn>
                <a:cxn ang="0">
                  <a:pos x="493" y="806"/>
                </a:cxn>
                <a:cxn ang="0">
                  <a:pos x="453" y="816"/>
                </a:cxn>
                <a:cxn ang="0">
                  <a:pos x="431" y="842"/>
                </a:cxn>
                <a:cxn ang="0">
                  <a:pos x="395" y="851"/>
                </a:cxn>
                <a:cxn ang="0">
                  <a:pos x="325" y="842"/>
                </a:cxn>
                <a:cxn ang="0">
                  <a:pos x="216" y="806"/>
                </a:cxn>
                <a:cxn ang="0">
                  <a:pos x="164" y="829"/>
                </a:cxn>
                <a:cxn ang="0">
                  <a:pos x="115" y="847"/>
                </a:cxn>
                <a:cxn ang="0">
                  <a:pos x="53" y="803"/>
                </a:cxn>
                <a:cxn ang="0">
                  <a:pos x="31" y="700"/>
                </a:cxn>
                <a:cxn ang="0">
                  <a:pos x="0" y="666"/>
                </a:cxn>
                <a:cxn ang="0">
                  <a:pos x="13" y="625"/>
                </a:cxn>
                <a:cxn ang="0">
                  <a:pos x="58" y="604"/>
                </a:cxn>
                <a:cxn ang="0">
                  <a:pos x="40" y="555"/>
                </a:cxn>
                <a:cxn ang="0">
                  <a:pos x="80" y="502"/>
                </a:cxn>
                <a:cxn ang="0">
                  <a:pos x="71" y="464"/>
                </a:cxn>
                <a:cxn ang="0">
                  <a:pos x="84" y="429"/>
                </a:cxn>
                <a:cxn ang="0">
                  <a:pos x="107" y="442"/>
                </a:cxn>
                <a:cxn ang="0">
                  <a:pos x="124" y="376"/>
                </a:cxn>
                <a:cxn ang="0">
                  <a:pos x="159" y="327"/>
                </a:cxn>
                <a:cxn ang="0">
                  <a:pos x="195" y="292"/>
                </a:cxn>
                <a:cxn ang="0">
                  <a:pos x="231" y="278"/>
                </a:cxn>
                <a:cxn ang="0">
                  <a:pos x="190" y="220"/>
                </a:cxn>
                <a:cxn ang="0">
                  <a:pos x="155" y="225"/>
                </a:cxn>
                <a:cxn ang="0">
                  <a:pos x="111" y="207"/>
                </a:cxn>
                <a:cxn ang="0">
                  <a:pos x="93" y="203"/>
                </a:cxn>
                <a:cxn ang="0">
                  <a:pos x="80" y="168"/>
                </a:cxn>
                <a:cxn ang="0">
                  <a:pos x="49" y="168"/>
                </a:cxn>
              </a:cxnLst>
              <a:rect l="0" t="0" r="r" b="b"/>
              <a:pathLst>
                <a:path w="966" h="855">
                  <a:moveTo>
                    <a:pt x="49" y="168"/>
                  </a:moveTo>
                  <a:lnTo>
                    <a:pt x="44" y="155"/>
                  </a:lnTo>
                  <a:lnTo>
                    <a:pt x="49" y="137"/>
                  </a:lnTo>
                  <a:lnTo>
                    <a:pt x="75" y="93"/>
                  </a:lnTo>
                  <a:lnTo>
                    <a:pt x="62" y="83"/>
                  </a:lnTo>
                  <a:lnTo>
                    <a:pt x="67" y="70"/>
                  </a:lnTo>
                  <a:lnTo>
                    <a:pt x="53" y="66"/>
                  </a:lnTo>
                  <a:lnTo>
                    <a:pt x="53" y="49"/>
                  </a:lnTo>
                  <a:lnTo>
                    <a:pt x="62" y="35"/>
                  </a:lnTo>
                  <a:lnTo>
                    <a:pt x="107" y="22"/>
                  </a:lnTo>
                  <a:lnTo>
                    <a:pt x="142" y="26"/>
                  </a:lnTo>
                  <a:lnTo>
                    <a:pt x="146" y="13"/>
                  </a:lnTo>
                  <a:lnTo>
                    <a:pt x="172" y="0"/>
                  </a:lnTo>
                  <a:lnTo>
                    <a:pt x="187" y="4"/>
                  </a:lnTo>
                  <a:lnTo>
                    <a:pt x="216" y="44"/>
                  </a:lnTo>
                  <a:lnTo>
                    <a:pt x="265" y="66"/>
                  </a:lnTo>
                  <a:lnTo>
                    <a:pt x="309" y="66"/>
                  </a:lnTo>
                  <a:lnTo>
                    <a:pt x="321" y="70"/>
                  </a:lnTo>
                  <a:lnTo>
                    <a:pt x="440" y="137"/>
                  </a:lnTo>
                  <a:lnTo>
                    <a:pt x="475" y="142"/>
                  </a:lnTo>
                  <a:lnTo>
                    <a:pt x="502" y="168"/>
                  </a:lnTo>
                  <a:lnTo>
                    <a:pt x="541" y="158"/>
                  </a:lnTo>
                  <a:lnTo>
                    <a:pt x="564" y="173"/>
                  </a:lnTo>
                  <a:lnTo>
                    <a:pt x="586" y="194"/>
                  </a:lnTo>
                  <a:lnTo>
                    <a:pt x="613" y="194"/>
                  </a:lnTo>
                  <a:lnTo>
                    <a:pt x="631" y="199"/>
                  </a:lnTo>
                  <a:lnTo>
                    <a:pt x="639" y="207"/>
                  </a:lnTo>
                  <a:lnTo>
                    <a:pt x="631" y="220"/>
                  </a:lnTo>
                  <a:lnTo>
                    <a:pt x="631" y="238"/>
                  </a:lnTo>
                  <a:lnTo>
                    <a:pt x="701" y="287"/>
                  </a:lnTo>
                  <a:lnTo>
                    <a:pt x="740" y="318"/>
                  </a:lnTo>
                  <a:lnTo>
                    <a:pt x="758" y="314"/>
                  </a:lnTo>
                  <a:lnTo>
                    <a:pt x="780" y="309"/>
                  </a:lnTo>
                  <a:lnTo>
                    <a:pt x="847" y="340"/>
                  </a:lnTo>
                  <a:lnTo>
                    <a:pt x="855" y="362"/>
                  </a:lnTo>
                  <a:lnTo>
                    <a:pt x="865" y="371"/>
                  </a:lnTo>
                  <a:lnTo>
                    <a:pt x="886" y="376"/>
                  </a:lnTo>
                  <a:lnTo>
                    <a:pt x="899" y="384"/>
                  </a:lnTo>
                  <a:lnTo>
                    <a:pt x="917" y="384"/>
                  </a:lnTo>
                  <a:lnTo>
                    <a:pt x="935" y="384"/>
                  </a:lnTo>
                  <a:lnTo>
                    <a:pt x="953" y="389"/>
                  </a:lnTo>
                  <a:lnTo>
                    <a:pt x="958" y="384"/>
                  </a:lnTo>
                  <a:lnTo>
                    <a:pt x="966" y="402"/>
                  </a:lnTo>
                  <a:lnTo>
                    <a:pt x="966" y="425"/>
                  </a:lnTo>
                  <a:lnTo>
                    <a:pt x="953" y="438"/>
                  </a:lnTo>
                  <a:lnTo>
                    <a:pt x="882" y="489"/>
                  </a:lnTo>
                  <a:lnTo>
                    <a:pt x="851" y="489"/>
                  </a:lnTo>
                  <a:lnTo>
                    <a:pt x="763" y="510"/>
                  </a:lnTo>
                  <a:lnTo>
                    <a:pt x="732" y="515"/>
                  </a:lnTo>
                  <a:lnTo>
                    <a:pt x="732" y="541"/>
                  </a:lnTo>
                  <a:lnTo>
                    <a:pt x="714" y="541"/>
                  </a:lnTo>
                  <a:lnTo>
                    <a:pt x="696" y="555"/>
                  </a:lnTo>
                  <a:lnTo>
                    <a:pt x="678" y="577"/>
                  </a:lnTo>
                  <a:lnTo>
                    <a:pt x="660" y="594"/>
                  </a:lnTo>
                  <a:lnTo>
                    <a:pt x="639" y="599"/>
                  </a:lnTo>
                  <a:lnTo>
                    <a:pt x="621" y="621"/>
                  </a:lnTo>
                  <a:lnTo>
                    <a:pt x="621" y="652"/>
                  </a:lnTo>
                  <a:lnTo>
                    <a:pt x="634" y="669"/>
                  </a:lnTo>
                  <a:lnTo>
                    <a:pt x="639" y="682"/>
                  </a:lnTo>
                  <a:lnTo>
                    <a:pt x="639" y="705"/>
                  </a:lnTo>
                  <a:lnTo>
                    <a:pt x="634" y="713"/>
                  </a:lnTo>
                  <a:lnTo>
                    <a:pt x="616" y="718"/>
                  </a:lnTo>
                  <a:lnTo>
                    <a:pt x="590" y="741"/>
                  </a:lnTo>
                  <a:lnTo>
                    <a:pt x="555" y="772"/>
                  </a:lnTo>
                  <a:lnTo>
                    <a:pt x="541" y="785"/>
                  </a:lnTo>
                  <a:lnTo>
                    <a:pt x="533" y="793"/>
                  </a:lnTo>
                  <a:lnTo>
                    <a:pt x="533" y="806"/>
                  </a:lnTo>
                  <a:lnTo>
                    <a:pt x="493" y="806"/>
                  </a:lnTo>
                  <a:lnTo>
                    <a:pt x="471" y="811"/>
                  </a:lnTo>
                  <a:lnTo>
                    <a:pt x="453" y="816"/>
                  </a:lnTo>
                  <a:lnTo>
                    <a:pt x="444" y="824"/>
                  </a:lnTo>
                  <a:lnTo>
                    <a:pt x="431" y="842"/>
                  </a:lnTo>
                  <a:lnTo>
                    <a:pt x="409" y="851"/>
                  </a:lnTo>
                  <a:lnTo>
                    <a:pt x="395" y="851"/>
                  </a:lnTo>
                  <a:lnTo>
                    <a:pt x="369" y="847"/>
                  </a:lnTo>
                  <a:lnTo>
                    <a:pt x="325" y="842"/>
                  </a:lnTo>
                  <a:lnTo>
                    <a:pt x="247" y="811"/>
                  </a:lnTo>
                  <a:lnTo>
                    <a:pt x="216" y="806"/>
                  </a:lnTo>
                  <a:lnTo>
                    <a:pt x="187" y="816"/>
                  </a:lnTo>
                  <a:lnTo>
                    <a:pt x="164" y="829"/>
                  </a:lnTo>
                  <a:lnTo>
                    <a:pt x="138" y="833"/>
                  </a:lnTo>
                  <a:lnTo>
                    <a:pt x="115" y="847"/>
                  </a:lnTo>
                  <a:lnTo>
                    <a:pt x="102" y="855"/>
                  </a:lnTo>
                  <a:lnTo>
                    <a:pt x="53" y="803"/>
                  </a:lnTo>
                  <a:lnTo>
                    <a:pt x="53" y="728"/>
                  </a:lnTo>
                  <a:lnTo>
                    <a:pt x="31" y="700"/>
                  </a:lnTo>
                  <a:lnTo>
                    <a:pt x="5" y="679"/>
                  </a:lnTo>
                  <a:lnTo>
                    <a:pt x="0" y="666"/>
                  </a:lnTo>
                  <a:lnTo>
                    <a:pt x="0" y="638"/>
                  </a:lnTo>
                  <a:lnTo>
                    <a:pt x="13" y="625"/>
                  </a:lnTo>
                  <a:lnTo>
                    <a:pt x="49" y="612"/>
                  </a:lnTo>
                  <a:lnTo>
                    <a:pt x="58" y="604"/>
                  </a:lnTo>
                  <a:lnTo>
                    <a:pt x="44" y="586"/>
                  </a:lnTo>
                  <a:lnTo>
                    <a:pt x="40" y="555"/>
                  </a:lnTo>
                  <a:lnTo>
                    <a:pt x="53" y="528"/>
                  </a:lnTo>
                  <a:lnTo>
                    <a:pt x="80" y="502"/>
                  </a:lnTo>
                  <a:lnTo>
                    <a:pt x="80" y="482"/>
                  </a:lnTo>
                  <a:lnTo>
                    <a:pt x="71" y="464"/>
                  </a:lnTo>
                  <a:lnTo>
                    <a:pt x="80" y="433"/>
                  </a:lnTo>
                  <a:lnTo>
                    <a:pt x="84" y="429"/>
                  </a:lnTo>
                  <a:lnTo>
                    <a:pt x="97" y="429"/>
                  </a:lnTo>
                  <a:lnTo>
                    <a:pt x="107" y="442"/>
                  </a:lnTo>
                  <a:lnTo>
                    <a:pt x="120" y="425"/>
                  </a:lnTo>
                  <a:lnTo>
                    <a:pt x="124" y="376"/>
                  </a:lnTo>
                  <a:lnTo>
                    <a:pt x="159" y="345"/>
                  </a:lnTo>
                  <a:lnTo>
                    <a:pt x="159" y="327"/>
                  </a:lnTo>
                  <a:lnTo>
                    <a:pt x="159" y="314"/>
                  </a:lnTo>
                  <a:lnTo>
                    <a:pt x="195" y="292"/>
                  </a:lnTo>
                  <a:lnTo>
                    <a:pt x="221" y="287"/>
                  </a:lnTo>
                  <a:lnTo>
                    <a:pt x="231" y="278"/>
                  </a:lnTo>
                  <a:lnTo>
                    <a:pt x="208" y="256"/>
                  </a:lnTo>
                  <a:lnTo>
                    <a:pt x="190" y="220"/>
                  </a:lnTo>
                  <a:lnTo>
                    <a:pt x="182" y="212"/>
                  </a:lnTo>
                  <a:lnTo>
                    <a:pt x="155" y="225"/>
                  </a:lnTo>
                  <a:lnTo>
                    <a:pt x="138" y="217"/>
                  </a:lnTo>
                  <a:lnTo>
                    <a:pt x="111" y="207"/>
                  </a:lnTo>
                  <a:lnTo>
                    <a:pt x="102" y="212"/>
                  </a:lnTo>
                  <a:lnTo>
                    <a:pt x="93" y="203"/>
                  </a:lnTo>
                  <a:lnTo>
                    <a:pt x="93" y="186"/>
                  </a:lnTo>
                  <a:lnTo>
                    <a:pt x="80" y="168"/>
                  </a:lnTo>
                  <a:lnTo>
                    <a:pt x="71" y="163"/>
                  </a:lnTo>
                  <a:lnTo>
                    <a:pt x="49" y="168"/>
                  </a:lnTo>
                  <a:close/>
                </a:path>
              </a:pathLst>
            </a:custGeom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3" name="Freeform 94"/>
            <p:cNvSpPr>
              <a:spLocks/>
            </p:cNvSpPr>
            <p:nvPr/>
          </p:nvSpPr>
          <p:spPr bwMode="auto">
            <a:xfrm>
              <a:off x="1113" y="3322"/>
              <a:ext cx="37" cy="26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19" y="0"/>
                </a:cxn>
                <a:cxn ang="0">
                  <a:pos x="0" y="18"/>
                </a:cxn>
                <a:cxn ang="0">
                  <a:pos x="9" y="26"/>
                </a:cxn>
                <a:cxn ang="0">
                  <a:pos x="27" y="26"/>
                </a:cxn>
                <a:cxn ang="0">
                  <a:pos x="37" y="0"/>
                </a:cxn>
              </a:cxnLst>
              <a:rect l="0" t="0" r="r" b="b"/>
              <a:pathLst>
                <a:path w="37" h="26">
                  <a:moveTo>
                    <a:pt x="37" y="0"/>
                  </a:moveTo>
                  <a:lnTo>
                    <a:pt x="19" y="0"/>
                  </a:lnTo>
                  <a:lnTo>
                    <a:pt x="0" y="18"/>
                  </a:lnTo>
                  <a:lnTo>
                    <a:pt x="9" y="26"/>
                  </a:lnTo>
                  <a:lnTo>
                    <a:pt x="27" y="26"/>
                  </a:lnTo>
                  <a:lnTo>
                    <a:pt x="37" y="0"/>
                  </a:lnTo>
                  <a:close/>
                </a:path>
              </a:pathLst>
            </a:custGeom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4" name="Freeform 95"/>
            <p:cNvSpPr>
              <a:spLocks/>
            </p:cNvSpPr>
            <p:nvPr/>
          </p:nvSpPr>
          <p:spPr bwMode="auto">
            <a:xfrm>
              <a:off x="1220" y="3255"/>
              <a:ext cx="85" cy="67"/>
            </a:xfrm>
            <a:custGeom>
              <a:avLst/>
              <a:gdLst/>
              <a:ahLst/>
              <a:cxnLst>
                <a:cxn ang="0">
                  <a:pos x="62" y="0"/>
                </a:cxn>
                <a:cxn ang="0">
                  <a:pos x="54" y="8"/>
                </a:cxn>
                <a:cxn ang="0">
                  <a:pos x="18" y="13"/>
                </a:cxn>
                <a:cxn ang="0">
                  <a:pos x="0" y="36"/>
                </a:cxn>
                <a:cxn ang="0">
                  <a:pos x="26" y="54"/>
                </a:cxn>
                <a:cxn ang="0">
                  <a:pos x="41" y="67"/>
                </a:cxn>
                <a:cxn ang="0">
                  <a:pos x="67" y="62"/>
                </a:cxn>
                <a:cxn ang="0">
                  <a:pos x="85" y="54"/>
                </a:cxn>
                <a:cxn ang="0">
                  <a:pos x="80" y="36"/>
                </a:cxn>
                <a:cxn ang="0">
                  <a:pos x="67" y="23"/>
                </a:cxn>
                <a:cxn ang="0">
                  <a:pos x="62" y="0"/>
                </a:cxn>
              </a:cxnLst>
              <a:rect l="0" t="0" r="r" b="b"/>
              <a:pathLst>
                <a:path w="85" h="67">
                  <a:moveTo>
                    <a:pt x="62" y="0"/>
                  </a:moveTo>
                  <a:lnTo>
                    <a:pt x="54" y="8"/>
                  </a:lnTo>
                  <a:lnTo>
                    <a:pt x="18" y="13"/>
                  </a:lnTo>
                  <a:lnTo>
                    <a:pt x="0" y="36"/>
                  </a:lnTo>
                  <a:lnTo>
                    <a:pt x="26" y="54"/>
                  </a:lnTo>
                  <a:lnTo>
                    <a:pt x="41" y="67"/>
                  </a:lnTo>
                  <a:lnTo>
                    <a:pt x="67" y="62"/>
                  </a:lnTo>
                  <a:lnTo>
                    <a:pt x="85" y="54"/>
                  </a:lnTo>
                  <a:lnTo>
                    <a:pt x="80" y="36"/>
                  </a:lnTo>
                  <a:lnTo>
                    <a:pt x="67" y="23"/>
                  </a:lnTo>
                  <a:lnTo>
                    <a:pt x="62" y="0"/>
                  </a:lnTo>
                  <a:close/>
                </a:path>
              </a:pathLst>
            </a:custGeom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5" name="Freeform 96"/>
            <p:cNvSpPr>
              <a:spLocks/>
            </p:cNvSpPr>
            <p:nvPr/>
          </p:nvSpPr>
          <p:spPr bwMode="auto">
            <a:xfrm>
              <a:off x="1353" y="3260"/>
              <a:ext cx="27" cy="34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8"/>
                </a:cxn>
                <a:cxn ang="0">
                  <a:pos x="14" y="21"/>
                </a:cxn>
                <a:cxn ang="0">
                  <a:pos x="27" y="34"/>
                </a:cxn>
                <a:cxn ang="0">
                  <a:pos x="18" y="0"/>
                </a:cxn>
              </a:cxnLst>
              <a:rect l="0" t="0" r="r" b="b"/>
              <a:pathLst>
                <a:path w="27" h="34">
                  <a:moveTo>
                    <a:pt x="18" y="0"/>
                  </a:moveTo>
                  <a:lnTo>
                    <a:pt x="0" y="8"/>
                  </a:lnTo>
                  <a:lnTo>
                    <a:pt x="14" y="21"/>
                  </a:lnTo>
                  <a:lnTo>
                    <a:pt x="27" y="34"/>
                  </a:lnTo>
                  <a:lnTo>
                    <a:pt x="18" y="0"/>
                  </a:lnTo>
                  <a:close/>
                </a:path>
              </a:pathLst>
            </a:custGeom>
            <a:ln>
              <a:solidFill>
                <a:schemeClr val="bg1"/>
              </a:solidFill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s-ES" i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6402" name="Group 5"/>
          <p:cNvGrpSpPr>
            <a:grpSpLocks/>
          </p:cNvGrpSpPr>
          <p:nvPr/>
        </p:nvGrpSpPr>
        <p:grpSpPr bwMode="auto">
          <a:xfrm>
            <a:off x="7308304" y="4149080"/>
            <a:ext cx="1584325" cy="1296987"/>
            <a:chOff x="377" y="2612"/>
            <a:chExt cx="1003" cy="855"/>
          </a:xfrm>
          <a:solidFill>
            <a:schemeClr val="accent6"/>
          </a:solidFill>
        </p:grpSpPr>
        <p:sp>
          <p:nvSpPr>
            <p:cNvPr id="16419" name="Freeform 6"/>
            <p:cNvSpPr>
              <a:spLocks/>
            </p:cNvSpPr>
            <p:nvPr/>
          </p:nvSpPr>
          <p:spPr bwMode="auto">
            <a:xfrm>
              <a:off x="377" y="2612"/>
              <a:ext cx="966" cy="855"/>
            </a:xfrm>
            <a:custGeom>
              <a:avLst/>
              <a:gdLst>
                <a:gd name="T0" fmla="*/ 44 w 966"/>
                <a:gd name="T1" fmla="*/ 155 h 855"/>
                <a:gd name="T2" fmla="*/ 75 w 966"/>
                <a:gd name="T3" fmla="*/ 93 h 855"/>
                <a:gd name="T4" fmla="*/ 67 w 966"/>
                <a:gd name="T5" fmla="*/ 70 h 855"/>
                <a:gd name="T6" fmla="*/ 53 w 966"/>
                <a:gd name="T7" fmla="*/ 49 h 855"/>
                <a:gd name="T8" fmla="*/ 107 w 966"/>
                <a:gd name="T9" fmla="*/ 22 h 855"/>
                <a:gd name="T10" fmla="*/ 146 w 966"/>
                <a:gd name="T11" fmla="*/ 13 h 855"/>
                <a:gd name="T12" fmla="*/ 187 w 966"/>
                <a:gd name="T13" fmla="*/ 4 h 855"/>
                <a:gd name="T14" fmla="*/ 265 w 966"/>
                <a:gd name="T15" fmla="*/ 66 h 855"/>
                <a:gd name="T16" fmla="*/ 321 w 966"/>
                <a:gd name="T17" fmla="*/ 70 h 855"/>
                <a:gd name="T18" fmla="*/ 475 w 966"/>
                <a:gd name="T19" fmla="*/ 142 h 855"/>
                <a:gd name="T20" fmla="*/ 541 w 966"/>
                <a:gd name="T21" fmla="*/ 158 h 855"/>
                <a:gd name="T22" fmla="*/ 586 w 966"/>
                <a:gd name="T23" fmla="*/ 194 h 855"/>
                <a:gd name="T24" fmla="*/ 631 w 966"/>
                <a:gd name="T25" fmla="*/ 199 h 855"/>
                <a:gd name="T26" fmla="*/ 631 w 966"/>
                <a:gd name="T27" fmla="*/ 220 h 855"/>
                <a:gd name="T28" fmla="*/ 701 w 966"/>
                <a:gd name="T29" fmla="*/ 287 h 855"/>
                <a:gd name="T30" fmla="*/ 758 w 966"/>
                <a:gd name="T31" fmla="*/ 314 h 855"/>
                <a:gd name="T32" fmla="*/ 847 w 966"/>
                <a:gd name="T33" fmla="*/ 340 h 855"/>
                <a:gd name="T34" fmla="*/ 865 w 966"/>
                <a:gd name="T35" fmla="*/ 371 h 855"/>
                <a:gd name="T36" fmla="*/ 899 w 966"/>
                <a:gd name="T37" fmla="*/ 384 h 855"/>
                <a:gd name="T38" fmla="*/ 935 w 966"/>
                <a:gd name="T39" fmla="*/ 384 h 855"/>
                <a:gd name="T40" fmla="*/ 958 w 966"/>
                <a:gd name="T41" fmla="*/ 384 h 855"/>
                <a:gd name="T42" fmla="*/ 966 w 966"/>
                <a:gd name="T43" fmla="*/ 425 h 855"/>
                <a:gd name="T44" fmla="*/ 882 w 966"/>
                <a:gd name="T45" fmla="*/ 489 h 855"/>
                <a:gd name="T46" fmla="*/ 763 w 966"/>
                <a:gd name="T47" fmla="*/ 510 h 855"/>
                <a:gd name="T48" fmla="*/ 732 w 966"/>
                <a:gd name="T49" fmla="*/ 541 h 855"/>
                <a:gd name="T50" fmla="*/ 696 w 966"/>
                <a:gd name="T51" fmla="*/ 555 h 855"/>
                <a:gd name="T52" fmla="*/ 660 w 966"/>
                <a:gd name="T53" fmla="*/ 594 h 855"/>
                <a:gd name="T54" fmla="*/ 621 w 966"/>
                <a:gd name="T55" fmla="*/ 621 h 855"/>
                <a:gd name="T56" fmla="*/ 634 w 966"/>
                <a:gd name="T57" fmla="*/ 669 h 855"/>
                <a:gd name="T58" fmla="*/ 639 w 966"/>
                <a:gd name="T59" fmla="*/ 705 h 855"/>
                <a:gd name="T60" fmla="*/ 616 w 966"/>
                <a:gd name="T61" fmla="*/ 718 h 855"/>
                <a:gd name="T62" fmla="*/ 555 w 966"/>
                <a:gd name="T63" fmla="*/ 772 h 855"/>
                <a:gd name="T64" fmla="*/ 533 w 966"/>
                <a:gd name="T65" fmla="*/ 793 h 855"/>
                <a:gd name="T66" fmla="*/ 493 w 966"/>
                <a:gd name="T67" fmla="*/ 806 h 855"/>
                <a:gd name="T68" fmla="*/ 453 w 966"/>
                <a:gd name="T69" fmla="*/ 816 h 855"/>
                <a:gd name="T70" fmla="*/ 431 w 966"/>
                <a:gd name="T71" fmla="*/ 842 h 855"/>
                <a:gd name="T72" fmla="*/ 395 w 966"/>
                <a:gd name="T73" fmla="*/ 851 h 855"/>
                <a:gd name="T74" fmla="*/ 325 w 966"/>
                <a:gd name="T75" fmla="*/ 842 h 855"/>
                <a:gd name="T76" fmla="*/ 216 w 966"/>
                <a:gd name="T77" fmla="*/ 806 h 855"/>
                <a:gd name="T78" fmla="*/ 164 w 966"/>
                <a:gd name="T79" fmla="*/ 829 h 855"/>
                <a:gd name="T80" fmla="*/ 115 w 966"/>
                <a:gd name="T81" fmla="*/ 847 h 855"/>
                <a:gd name="T82" fmla="*/ 53 w 966"/>
                <a:gd name="T83" fmla="*/ 803 h 855"/>
                <a:gd name="T84" fmla="*/ 31 w 966"/>
                <a:gd name="T85" fmla="*/ 700 h 855"/>
                <a:gd name="T86" fmla="*/ 0 w 966"/>
                <a:gd name="T87" fmla="*/ 666 h 855"/>
                <a:gd name="T88" fmla="*/ 13 w 966"/>
                <a:gd name="T89" fmla="*/ 625 h 855"/>
                <a:gd name="T90" fmla="*/ 58 w 966"/>
                <a:gd name="T91" fmla="*/ 604 h 855"/>
                <a:gd name="T92" fmla="*/ 40 w 966"/>
                <a:gd name="T93" fmla="*/ 555 h 855"/>
                <a:gd name="T94" fmla="*/ 80 w 966"/>
                <a:gd name="T95" fmla="*/ 502 h 855"/>
                <a:gd name="T96" fmla="*/ 71 w 966"/>
                <a:gd name="T97" fmla="*/ 464 h 855"/>
                <a:gd name="T98" fmla="*/ 84 w 966"/>
                <a:gd name="T99" fmla="*/ 429 h 855"/>
                <a:gd name="T100" fmla="*/ 107 w 966"/>
                <a:gd name="T101" fmla="*/ 442 h 855"/>
                <a:gd name="T102" fmla="*/ 124 w 966"/>
                <a:gd name="T103" fmla="*/ 376 h 855"/>
                <a:gd name="T104" fmla="*/ 159 w 966"/>
                <a:gd name="T105" fmla="*/ 327 h 855"/>
                <a:gd name="T106" fmla="*/ 195 w 966"/>
                <a:gd name="T107" fmla="*/ 292 h 855"/>
                <a:gd name="T108" fmla="*/ 231 w 966"/>
                <a:gd name="T109" fmla="*/ 278 h 855"/>
                <a:gd name="T110" fmla="*/ 190 w 966"/>
                <a:gd name="T111" fmla="*/ 220 h 855"/>
                <a:gd name="T112" fmla="*/ 155 w 966"/>
                <a:gd name="T113" fmla="*/ 225 h 855"/>
                <a:gd name="T114" fmla="*/ 111 w 966"/>
                <a:gd name="T115" fmla="*/ 207 h 855"/>
                <a:gd name="T116" fmla="*/ 93 w 966"/>
                <a:gd name="T117" fmla="*/ 203 h 855"/>
                <a:gd name="T118" fmla="*/ 80 w 966"/>
                <a:gd name="T119" fmla="*/ 168 h 855"/>
                <a:gd name="T120" fmla="*/ 49 w 966"/>
                <a:gd name="T121" fmla="*/ 168 h 85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66"/>
                <a:gd name="T184" fmla="*/ 0 h 855"/>
                <a:gd name="T185" fmla="*/ 966 w 966"/>
                <a:gd name="T186" fmla="*/ 855 h 85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66" h="855">
                  <a:moveTo>
                    <a:pt x="49" y="168"/>
                  </a:moveTo>
                  <a:lnTo>
                    <a:pt x="44" y="155"/>
                  </a:lnTo>
                  <a:lnTo>
                    <a:pt x="49" y="137"/>
                  </a:lnTo>
                  <a:lnTo>
                    <a:pt x="75" y="93"/>
                  </a:lnTo>
                  <a:lnTo>
                    <a:pt x="62" y="83"/>
                  </a:lnTo>
                  <a:lnTo>
                    <a:pt x="67" y="70"/>
                  </a:lnTo>
                  <a:lnTo>
                    <a:pt x="53" y="66"/>
                  </a:lnTo>
                  <a:lnTo>
                    <a:pt x="53" y="49"/>
                  </a:lnTo>
                  <a:lnTo>
                    <a:pt x="62" y="35"/>
                  </a:lnTo>
                  <a:lnTo>
                    <a:pt x="107" y="22"/>
                  </a:lnTo>
                  <a:lnTo>
                    <a:pt x="142" y="26"/>
                  </a:lnTo>
                  <a:lnTo>
                    <a:pt x="146" y="13"/>
                  </a:lnTo>
                  <a:lnTo>
                    <a:pt x="172" y="0"/>
                  </a:lnTo>
                  <a:lnTo>
                    <a:pt x="187" y="4"/>
                  </a:lnTo>
                  <a:lnTo>
                    <a:pt x="216" y="44"/>
                  </a:lnTo>
                  <a:lnTo>
                    <a:pt x="265" y="66"/>
                  </a:lnTo>
                  <a:lnTo>
                    <a:pt x="309" y="66"/>
                  </a:lnTo>
                  <a:lnTo>
                    <a:pt x="321" y="70"/>
                  </a:lnTo>
                  <a:lnTo>
                    <a:pt x="440" y="137"/>
                  </a:lnTo>
                  <a:lnTo>
                    <a:pt x="475" y="142"/>
                  </a:lnTo>
                  <a:lnTo>
                    <a:pt x="502" y="168"/>
                  </a:lnTo>
                  <a:lnTo>
                    <a:pt x="541" y="158"/>
                  </a:lnTo>
                  <a:lnTo>
                    <a:pt x="564" y="173"/>
                  </a:lnTo>
                  <a:lnTo>
                    <a:pt x="586" y="194"/>
                  </a:lnTo>
                  <a:lnTo>
                    <a:pt x="613" y="194"/>
                  </a:lnTo>
                  <a:lnTo>
                    <a:pt x="631" y="199"/>
                  </a:lnTo>
                  <a:lnTo>
                    <a:pt x="639" y="207"/>
                  </a:lnTo>
                  <a:lnTo>
                    <a:pt x="631" y="220"/>
                  </a:lnTo>
                  <a:lnTo>
                    <a:pt x="631" y="238"/>
                  </a:lnTo>
                  <a:lnTo>
                    <a:pt x="701" y="287"/>
                  </a:lnTo>
                  <a:lnTo>
                    <a:pt x="740" y="318"/>
                  </a:lnTo>
                  <a:lnTo>
                    <a:pt x="758" y="314"/>
                  </a:lnTo>
                  <a:lnTo>
                    <a:pt x="780" y="309"/>
                  </a:lnTo>
                  <a:lnTo>
                    <a:pt x="847" y="340"/>
                  </a:lnTo>
                  <a:lnTo>
                    <a:pt x="855" y="362"/>
                  </a:lnTo>
                  <a:lnTo>
                    <a:pt x="865" y="371"/>
                  </a:lnTo>
                  <a:lnTo>
                    <a:pt x="886" y="376"/>
                  </a:lnTo>
                  <a:lnTo>
                    <a:pt x="899" y="384"/>
                  </a:lnTo>
                  <a:lnTo>
                    <a:pt x="917" y="384"/>
                  </a:lnTo>
                  <a:lnTo>
                    <a:pt x="935" y="384"/>
                  </a:lnTo>
                  <a:lnTo>
                    <a:pt x="953" y="389"/>
                  </a:lnTo>
                  <a:lnTo>
                    <a:pt x="958" y="384"/>
                  </a:lnTo>
                  <a:lnTo>
                    <a:pt x="966" y="402"/>
                  </a:lnTo>
                  <a:lnTo>
                    <a:pt x="966" y="425"/>
                  </a:lnTo>
                  <a:lnTo>
                    <a:pt x="953" y="438"/>
                  </a:lnTo>
                  <a:lnTo>
                    <a:pt x="882" y="489"/>
                  </a:lnTo>
                  <a:lnTo>
                    <a:pt x="851" y="489"/>
                  </a:lnTo>
                  <a:lnTo>
                    <a:pt x="763" y="510"/>
                  </a:lnTo>
                  <a:lnTo>
                    <a:pt x="732" y="515"/>
                  </a:lnTo>
                  <a:lnTo>
                    <a:pt x="732" y="541"/>
                  </a:lnTo>
                  <a:lnTo>
                    <a:pt x="714" y="541"/>
                  </a:lnTo>
                  <a:lnTo>
                    <a:pt x="696" y="555"/>
                  </a:lnTo>
                  <a:lnTo>
                    <a:pt x="678" y="577"/>
                  </a:lnTo>
                  <a:lnTo>
                    <a:pt x="660" y="594"/>
                  </a:lnTo>
                  <a:lnTo>
                    <a:pt x="639" y="599"/>
                  </a:lnTo>
                  <a:lnTo>
                    <a:pt x="621" y="621"/>
                  </a:lnTo>
                  <a:lnTo>
                    <a:pt x="621" y="652"/>
                  </a:lnTo>
                  <a:lnTo>
                    <a:pt x="634" y="669"/>
                  </a:lnTo>
                  <a:lnTo>
                    <a:pt x="639" y="682"/>
                  </a:lnTo>
                  <a:lnTo>
                    <a:pt x="639" y="705"/>
                  </a:lnTo>
                  <a:lnTo>
                    <a:pt x="634" y="713"/>
                  </a:lnTo>
                  <a:lnTo>
                    <a:pt x="616" y="718"/>
                  </a:lnTo>
                  <a:lnTo>
                    <a:pt x="590" y="741"/>
                  </a:lnTo>
                  <a:lnTo>
                    <a:pt x="555" y="772"/>
                  </a:lnTo>
                  <a:lnTo>
                    <a:pt x="541" y="785"/>
                  </a:lnTo>
                  <a:lnTo>
                    <a:pt x="533" y="793"/>
                  </a:lnTo>
                  <a:lnTo>
                    <a:pt x="533" y="806"/>
                  </a:lnTo>
                  <a:lnTo>
                    <a:pt x="493" y="806"/>
                  </a:lnTo>
                  <a:lnTo>
                    <a:pt x="471" y="811"/>
                  </a:lnTo>
                  <a:lnTo>
                    <a:pt x="453" y="816"/>
                  </a:lnTo>
                  <a:lnTo>
                    <a:pt x="444" y="824"/>
                  </a:lnTo>
                  <a:lnTo>
                    <a:pt x="431" y="842"/>
                  </a:lnTo>
                  <a:lnTo>
                    <a:pt x="409" y="851"/>
                  </a:lnTo>
                  <a:lnTo>
                    <a:pt x="395" y="851"/>
                  </a:lnTo>
                  <a:lnTo>
                    <a:pt x="369" y="847"/>
                  </a:lnTo>
                  <a:lnTo>
                    <a:pt x="325" y="842"/>
                  </a:lnTo>
                  <a:lnTo>
                    <a:pt x="247" y="811"/>
                  </a:lnTo>
                  <a:lnTo>
                    <a:pt x="216" y="806"/>
                  </a:lnTo>
                  <a:lnTo>
                    <a:pt x="187" y="816"/>
                  </a:lnTo>
                  <a:lnTo>
                    <a:pt x="164" y="829"/>
                  </a:lnTo>
                  <a:lnTo>
                    <a:pt x="138" y="833"/>
                  </a:lnTo>
                  <a:lnTo>
                    <a:pt x="115" y="847"/>
                  </a:lnTo>
                  <a:lnTo>
                    <a:pt x="102" y="855"/>
                  </a:lnTo>
                  <a:lnTo>
                    <a:pt x="53" y="803"/>
                  </a:lnTo>
                  <a:lnTo>
                    <a:pt x="53" y="728"/>
                  </a:lnTo>
                  <a:lnTo>
                    <a:pt x="31" y="700"/>
                  </a:lnTo>
                  <a:lnTo>
                    <a:pt x="5" y="679"/>
                  </a:lnTo>
                  <a:lnTo>
                    <a:pt x="0" y="666"/>
                  </a:lnTo>
                  <a:lnTo>
                    <a:pt x="0" y="638"/>
                  </a:lnTo>
                  <a:lnTo>
                    <a:pt x="13" y="625"/>
                  </a:lnTo>
                  <a:lnTo>
                    <a:pt x="49" y="612"/>
                  </a:lnTo>
                  <a:lnTo>
                    <a:pt x="58" y="604"/>
                  </a:lnTo>
                  <a:lnTo>
                    <a:pt x="44" y="586"/>
                  </a:lnTo>
                  <a:lnTo>
                    <a:pt x="40" y="555"/>
                  </a:lnTo>
                  <a:lnTo>
                    <a:pt x="53" y="528"/>
                  </a:lnTo>
                  <a:lnTo>
                    <a:pt x="80" y="502"/>
                  </a:lnTo>
                  <a:lnTo>
                    <a:pt x="80" y="482"/>
                  </a:lnTo>
                  <a:lnTo>
                    <a:pt x="71" y="464"/>
                  </a:lnTo>
                  <a:lnTo>
                    <a:pt x="80" y="433"/>
                  </a:lnTo>
                  <a:lnTo>
                    <a:pt x="84" y="429"/>
                  </a:lnTo>
                  <a:lnTo>
                    <a:pt x="97" y="429"/>
                  </a:lnTo>
                  <a:lnTo>
                    <a:pt x="107" y="442"/>
                  </a:lnTo>
                  <a:lnTo>
                    <a:pt x="120" y="425"/>
                  </a:lnTo>
                  <a:lnTo>
                    <a:pt x="124" y="376"/>
                  </a:lnTo>
                  <a:lnTo>
                    <a:pt x="159" y="345"/>
                  </a:lnTo>
                  <a:lnTo>
                    <a:pt x="159" y="327"/>
                  </a:lnTo>
                  <a:lnTo>
                    <a:pt x="159" y="314"/>
                  </a:lnTo>
                  <a:lnTo>
                    <a:pt x="195" y="292"/>
                  </a:lnTo>
                  <a:lnTo>
                    <a:pt x="221" y="287"/>
                  </a:lnTo>
                  <a:lnTo>
                    <a:pt x="231" y="278"/>
                  </a:lnTo>
                  <a:lnTo>
                    <a:pt x="208" y="256"/>
                  </a:lnTo>
                  <a:lnTo>
                    <a:pt x="190" y="220"/>
                  </a:lnTo>
                  <a:lnTo>
                    <a:pt x="182" y="212"/>
                  </a:lnTo>
                  <a:lnTo>
                    <a:pt x="155" y="225"/>
                  </a:lnTo>
                  <a:lnTo>
                    <a:pt x="138" y="217"/>
                  </a:lnTo>
                  <a:lnTo>
                    <a:pt x="111" y="207"/>
                  </a:lnTo>
                  <a:lnTo>
                    <a:pt x="102" y="212"/>
                  </a:lnTo>
                  <a:lnTo>
                    <a:pt x="93" y="203"/>
                  </a:lnTo>
                  <a:lnTo>
                    <a:pt x="93" y="186"/>
                  </a:lnTo>
                  <a:lnTo>
                    <a:pt x="80" y="168"/>
                  </a:lnTo>
                  <a:lnTo>
                    <a:pt x="71" y="163"/>
                  </a:lnTo>
                  <a:lnTo>
                    <a:pt x="49" y="168"/>
                  </a:lnTo>
                  <a:close/>
                </a:path>
              </a:pathLst>
            </a:custGeom>
            <a:grpFill/>
            <a:ln w="2857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 i="0" u="sng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420" name="Freeform 7"/>
            <p:cNvSpPr>
              <a:spLocks/>
            </p:cNvSpPr>
            <p:nvPr/>
          </p:nvSpPr>
          <p:spPr bwMode="auto">
            <a:xfrm>
              <a:off x="1113" y="3322"/>
              <a:ext cx="37" cy="26"/>
            </a:xfrm>
            <a:custGeom>
              <a:avLst/>
              <a:gdLst>
                <a:gd name="T0" fmla="*/ 37 w 37"/>
                <a:gd name="T1" fmla="*/ 0 h 26"/>
                <a:gd name="T2" fmla="*/ 19 w 37"/>
                <a:gd name="T3" fmla="*/ 0 h 26"/>
                <a:gd name="T4" fmla="*/ 0 w 37"/>
                <a:gd name="T5" fmla="*/ 18 h 26"/>
                <a:gd name="T6" fmla="*/ 9 w 37"/>
                <a:gd name="T7" fmla="*/ 26 h 26"/>
                <a:gd name="T8" fmla="*/ 27 w 37"/>
                <a:gd name="T9" fmla="*/ 26 h 26"/>
                <a:gd name="T10" fmla="*/ 37 w 37"/>
                <a:gd name="T11" fmla="*/ 0 h 2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"/>
                <a:gd name="T19" fmla="*/ 0 h 26"/>
                <a:gd name="T20" fmla="*/ 37 w 37"/>
                <a:gd name="T21" fmla="*/ 26 h 2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" h="26">
                  <a:moveTo>
                    <a:pt x="37" y="0"/>
                  </a:moveTo>
                  <a:lnTo>
                    <a:pt x="19" y="0"/>
                  </a:lnTo>
                  <a:lnTo>
                    <a:pt x="0" y="18"/>
                  </a:lnTo>
                  <a:lnTo>
                    <a:pt x="9" y="26"/>
                  </a:lnTo>
                  <a:lnTo>
                    <a:pt x="27" y="26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2857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 i="0" u="sng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421" name="Freeform 8"/>
            <p:cNvSpPr>
              <a:spLocks/>
            </p:cNvSpPr>
            <p:nvPr/>
          </p:nvSpPr>
          <p:spPr bwMode="auto">
            <a:xfrm>
              <a:off x="1220" y="3255"/>
              <a:ext cx="85" cy="67"/>
            </a:xfrm>
            <a:custGeom>
              <a:avLst/>
              <a:gdLst>
                <a:gd name="T0" fmla="*/ 62 w 85"/>
                <a:gd name="T1" fmla="*/ 0 h 67"/>
                <a:gd name="T2" fmla="*/ 54 w 85"/>
                <a:gd name="T3" fmla="*/ 8 h 67"/>
                <a:gd name="T4" fmla="*/ 18 w 85"/>
                <a:gd name="T5" fmla="*/ 13 h 67"/>
                <a:gd name="T6" fmla="*/ 0 w 85"/>
                <a:gd name="T7" fmla="*/ 36 h 67"/>
                <a:gd name="T8" fmla="*/ 26 w 85"/>
                <a:gd name="T9" fmla="*/ 54 h 67"/>
                <a:gd name="T10" fmla="*/ 41 w 85"/>
                <a:gd name="T11" fmla="*/ 67 h 67"/>
                <a:gd name="T12" fmla="*/ 67 w 85"/>
                <a:gd name="T13" fmla="*/ 62 h 67"/>
                <a:gd name="T14" fmla="*/ 85 w 85"/>
                <a:gd name="T15" fmla="*/ 54 h 67"/>
                <a:gd name="T16" fmla="*/ 80 w 85"/>
                <a:gd name="T17" fmla="*/ 36 h 67"/>
                <a:gd name="T18" fmla="*/ 67 w 85"/>
                <a:gd name="T19" fmla="*/ 23 h 67"/>
                <a:gd name="T20" fmla="*/ 62 w 85"/>
                <a:gd name="T21" fmla="*/ 0 h 6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5"/>
                <a:gd name="T34" fmla="*/ 0 h 67"/>
                <a:gd name="T35" fmla="*/ 85 w 85"/>
                <a:gd name="T36" fmla="*/ 67 h 6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5" h="67">
                  <a:moveTo>
                    <a:pt x="62" y="0"/>
                  </a:moveTo>
                  <a:lnTo>
                    <a:pt x="54" y="8"/>
                  </a:lnTo>
                  <a:lnTo>
                    <a:pt x="18" y="13"/>
                  </a:lnTo>
                  <a:lnTo>
                    <a:pt x="0" y="36"/>
                  </a:lnTo>
                  <a:lnTo>
                    <a:pt x="26" y="54"/>
                  </a:lnTo>
                  <a:lnTo>
                    <a:pt x="41" y="67"/>
                  </a:lnTo>
                  <a:lnTo>
                    <a:pt x="67" y="62"/>
                  </a:lnTo>
                  <a:lnTo>
                    <a:pt x="85" y="54"/>
                  </a:lnTo>
                  <a:lnTo>
                    <a:pt x="80" y="36"/>
                  </a:lnTo>
                  <a:lnTo>
                    <a:pt x="67" y="23"/>
                  </a:lnTo>
                  <a:lnTo>
                    <a:pt x="62" y="0"/>
                  </a:lnTo>
                  <a:close/>
                </a:path>
              </a:pathLst>
            </a:custGeom>
            <a:grpFill/>
            <a:ln w="2857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 i="0" u="sng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6422" name="Freeform 9"/>
            <p:cNvSpPr>
              <a:spLocks/>
            </p:cNvSpPr>
            <p:nvPr/>
          </p:nvSpPr>
          <p:spPr bwMode="auto">
            <a:xfrm>
              <a:off x="1353" y="3260"/>
              <a:ext cx="27" cy="34"/>
            </a:xfrm>
            <a:custGeom>
              <a:avLst/>
              <a:gdLst>
                <a:gd name="T0" fmla="*/ 18 w 27"/>
                <a:gd name="T1" fmla="*/ 0 h 34"/>
                <a:gd name="T2" fmla="*/ 0 w 27"/>
                <a:gd name="T3" fmla="*/ 8 h 34"/>
                <a:gd name="T4" fmla="*/ 14 w 27"/>
                <a:gd name="T5" fmla="*/ 21 h 34"/>
                <a:gd name="T6" fmla="*/ 27 w 27"/>
                <a:gd name="T7" fmla="*/ 34 h 34"/>
                <a:gd name="T8" fmla="*/ 18 w 27"/>
                <a:gd name="T9" fmla="*/ 0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"/>
                <a:gd name="T16" fmla="*/ 0 h 34"/>
                <a:gd name="T17" fmla="*/ 27 w 27"/>
                <a:gd name="T18" fmla="*/ 34 h 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" h="34">
                  <a:moveTo>
                    <a:pt x="18" y="0"/>
                  </a:moveTo>
                  <a:lnTo>
                    <a:pt x="0" y="8"/>
                  </a:lnTo>
                  <a:lnTo>
                    <a:pt x="14" y="21"/>
                  </a:lnTo>
                  <a:lnTo>
                    <a:pt x="27" y="34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2857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 i="0" u="sng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6403" name="Text Box 10"/>
          <p:cNvSpPr txBox="1">
            <a:spLocks noChangeArrowheads="1"/>
          </p:cNvSpPr>
          <p:nvPr/>
        </p:nvSpPr>
        <p:spPr bwMode="auto">
          <a:xfrm>
            <a:off x="7548694" y="4638950"/>
            <a:ext cx="75533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it-IT" sz="2400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48,0</a:t>
            </a:r>
            <a:endParaRPr lang="it-IT" sz="2400" b="1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3" name="Oval 48"/>
          <p:cNvSpPr>
            <a:spLocks noChangeArrowheads="1"/>
          </p:cNvSpPr>
          <p:nvPr/>
        </p:nvSpPr>
        <p:spPr bwMode="auto">
          <a:xfrm>
            <a:off x="5939780" y="3790601"/>
            <a:ext cx="609600" cy="6096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hangingPunct="0">
              <a:defRPr/>
            </a:pPr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8,2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4" name="Oval 48"/>
          <p:cNvSpPr>
            <a:spLocks noChangeArrowheads="1"/>
          </p:cNvSpPr>
          <p:nvPr/>
        </p:nvSpPr>
        <p:spPr bwMode="auto">
          <a:xfrm>
            <a:off x="5434955" y="4727226"/>
            <a:ext cx="609600" cy="6096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hangingPunct="0">
              <a:defRPr/>
            </a:pPr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6,5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5" name="Oval 48"/>
          <p:cNvSpPr>
            <a:spLocks noChangeArrowheads="1"/>
          </p:cNvSpPr>
          <p:nvPr/>
        </p:nvSpPr>
        <p:spPr bwMode="auto">
          <a:xfrm>
            <a:off x="3275955" y="5159026"/>
            <a:ext cx="609600" cy="6096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hangingPunct="0">
              <a:defRPr/>
            </a:pPr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2,5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6" name="Oval 48"/>
          <p:cNvSpPr>
            <a:spLocks noChangeArrowheads="1"/>
          </p:cNvSpPr>
          <p:nvPr/>
        </p:nvSpPr>
        <p:spPr bwMode="auto">
          <a:xfrm>
            <a:off x="2123430" y="1415701"/>
            <a:ext cx="609600" cy="6096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hangingPunct="0">
              <a:defRPr/>
            </a:pPr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3,0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7" name="Oval 60"/>
          <p:cNvSpPr>
            <a:spLocks noChangeArrowheads="1"/>
          </p:cNvSpPr>
          <p:nvPr/>
        </p:nvSpPr>
        <p:spPr bwMode="auto">
          <a:xfrm>
            <a:off x="4060677" y="1497921"/>
            <a:ext cx="609600" cy="609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hangingPunct="0">
              <a:defRPr/>
            </a:pPr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6,2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8" name="Oval 60"/>
          <p:cNvSpPr>
            <a:spLocks noChangeArrowheads="1"/>
          </p:cNvSpPr>
          <p:nvPr/>
        </p:nvSpPr>
        <p:spPr bwMode="auto">
          <a:xfrm>
            <a:off x="4754488" y="1189852"/>
            <a:ext cx="609600" cy="609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hangingPunct="0"/>
            <a:r>
              <a:rPr lang="es-ES_tradnl" sz="17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4,4</a:t>
            </a:r>
          </a:p>
        </p:txBody>
      </p:sp>
      <p:sp>
        <p:nvSpPr>
          <p:cNvPr id="119" name="Oval 60"/>
          <p:cNvSpPr>
            <a:spLocks noChangeArrowheads="1"/>
          </p:cNvSpPr>
          <p:nvPr/>
        </p:nvSpPr>
        <p:spPr bwMode="auto">
          <a:xfrm>
            <a:off x="4783828" y="1925297"/>
            <a:ext cx="609600" cy="609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hangingPunct="0">
              <a:defRPr/>
            </a:pPr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0,6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0" name="Oval 45"/>
          <p:cNvSpPr>
            <a:spLocks noChangeArrowheads="1"/>
          </p:cNvSpPr>
          <p:nvPr/>
        </p:nvSpPr>
        <p:spPr bwMode="auto">
          <a:xfrm>
            <a:off x="4176875" y="2981582"/>
            <a:ext cx="609600" cy="6096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hangingPunct="0">
              <a:defRPr/>
            </a:pPr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3,8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25" name="Oval 84"/>
          <p:cNvSpPr>
            <a:spLocks noChangeArrowheads="1"/>
          </p:cNvSpPr>
          <p:nvPr/>
        </p:nvSpPr>
        <p:spPr bwMode="auto">
          <a:xfrm>
            <a:off x="5723880" y="2423763"/>
            <a:ext cx="609600" cy="6096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hangingPunct="0">
              <a:defRPr/>
            </a:pPr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2,3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26" name="Oval 84"/>
          <p:cNvSpPr>
            <a:spLocks noChangeArrowheads="1"/>
          </p:cNvSpPr>
          <p:nvPr/>
        </p:nvSpPr>
        <p:spPr bwMode="auto">
          <a:xfrm>
            <a:off x="6876405" y="2134838"/>
            <a:ext cx="609600" cy="6096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hangingPunct="0">
              <a:defRPr/>
            </a:pPr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3,2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414" name="Oval 84"/>
          <p:cNvSpPr>
            <a:spLocks noChangeArrowheads="1"/>
          </p:cNvSpPr>
          <p:nvPr/>
        </p:nvSpPr>
        <p:spPr bwMode="auto">
          <a:xfrm>
            <a:off x="4787255" y="3863626"/>
            <a:ext cx="609600" cy="6096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415" tIns="45709" rIns="91415" bIns="45709" anchor="ctr"/>
          <a:lstStyle/>
          <a:p>
            <a:pPr algn="ctr" defTabSz="915988" eaLnBrk="0" hangingPunct="0"/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9,2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28" name="Oval 84"/>
          <p:cNvSpPr>
            <a:spLocks noChangeArrowheads="1"/>
          </p:cNvSpPr>
          <p:nvPr/>
        </p:nvSpPr>
        <p:spPr bwMode="auto">
          <a:xfrm>
            <a:off x="2915593" y="3935063"/>
            <a:ext cx="609600" cy="6096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15" tIns="45709" rIns="91415" bIns="45709" anchor="ctr"/>
          <a:lstStyle/>
          <a:p>
            <a:pPr algn="ctr" defTabSz="915988" eaLnBrk="0" hangingPunct="0">
              <a:defRPr/>
            </a:pPr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4,5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1" name="Rectangle 99"/>
          <p:cNvSpPr>
            <a:spLocks noChangeArrowheads="1"/>
          </p:cNvSpPr>
          <p:nvPr/>
        </p:nvSpPr>
        <p:spPr bwMode="auto">
          <a:xfrm>
            <a:off x="670447" y="2420888"/>
            <a:ext cx="914400" cy="5762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it-IT" sz="24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60</a:t>
            </a:r>
            <a:endParaRPr lang="it-IT" sz="24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87894" y="494184"/>
            <a:ext cx="8153400" cy="846584"/>
          </a:xfrm>
        </p:spPr>
        <p:txBody>
          <a:bodyPr>
            <a:normAutofit/>
          </a:bodyPr>
          <a:lstStyle/>
          <a:p>
            <a:pPr algn="ctr"/>
            <a:r>
              <a:rPr lang="es-ES" sz="36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nación de órganos en España 2018</a:t>
            </a:r>
            <a:br>
              <a:rPr lang="es-ES" sz="36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s-ES" sz="13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7" name="CasellaDiTesto 68"/>
          <p:cNvSpPr txBox="1"/>
          <p:nvPr/>
        </p:nvSpPr>
        <p:spPr>
          <a:xfrm>
            <a:off x="6524905" y="5589240"/>
            <a:ext cx="2151551" cy="101566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s-ES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 CCAA          &gt; 50</a:t>
            </a:r>
          </a:p>
          <a:p>
            <a:r>
              <a:rPr lang="es-ES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7 CCAA          &gt; 60</a:t>
            </a:r>
          </a:p>
          <a:p>
            <a:r>
              <a:rPr lang="es-ES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2 CCAA          &gt; 80</a:t>
            </a:r>
            <a:endParaRPr lang="es-ES" sz="2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8" name="Oval 84"/>
          <p:cNvSpPr>
            <a:spLocks noChangeArrowheads="1"/>
          </p:cNvSpPr>
          <p:nvPr/>
        </p:nvSpPr>
        <p:spPr bwMode="auto">
          <a:xfrm>
            <a:off x="3755877" y="6133777"/>
            <a:ext cx="609600" cy="6096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415" tIns="45709" rIns="91415" bIns="45709" anchor="ctr"/>
          <a:lstStyle/>
          <a:p>
            <a:pPr algn="ctr" defTabSz="915988" eaLnBrk="0" hangingPunct="0"/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,5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9" name="Oval 84"/>
          <p:cNvSpPr>
            <a:spLocks noChangeArrowheads="1"/>
          </p:cNvSpPr>
          <p:nvPr/>
        </p:nvSpPr>
        <p:spPr bwMode="auto">
          <a:xfrm>
            <a:off x="4768177" y="6131768"/>
            <a:ext cx="609600" cy="609600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wrap="none" lIns="91415" tIns="45709" rIns="91415" bIns="45709" anchor="ctr"/>
          <a:lstStyle/>
          <a:p>
            <a:pPr algn="ctr" defTabSz="915988" eaLnBrk="0" hangingPunct="0"/>
            <a:r>
              <a:rPr lang="es-ES_tradnl" sz="17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,5</a:t>
            </a:r>
            <a:endParaRPr lang="es-ES_tradnl" sz="17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2" name="Rectangle 90"/>
          <p:cNvSpPr>
            <a:spLocks noChangeArrowheads="1"/>
          </p:cNvSpPr>
          <p:nvPr/>
        </p:nvSpPr>
        <p:spPr bwMode="auto">
          <a:xfrm>
            <a:off x="670447" y="4641422"/>
            <a:ext cx="914400" cy="57626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it-IT" sz="24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≤</a:t>
            </a:r>
            <a:r>
              <a:rPr lang="it-IT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it-IT" sz="2400" b="1" i="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endParaRPr lang="it-IT" sz="2400" b="1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825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3490" name="Picture 194" descr="Resultado de imagen de bandera de canada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9389" y="4674596"/>
            <a:ext cx="1690535" cy="1111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3488" name="Picture 192" descr="Resultado de imagen de union europea">
            <a:hlinkClick r:id="rId5"/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38" r="15629"/>
          <a:stretch/>
        </p:blipFill>
        <p:spPr bwMode="auto">
          <a:xfrm>
            <a:off x="5667107" y="281065"/>
            <a:ext cx="1986231" cy="1432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1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423198"/>
            <a:ext cx="1813642" cy="1519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6" name="Group 49"/>
          <p:cNvGrpSpPr>
            <a:grpSpLocks/>
          </p:cNvGrpSpPr>
          <p:nvPr/>
        </p:nvGrpSpPr>
        <p:grpSpPr bwMode="auto">
          <a:xfrm>
            <a:off x="8027515" y="2781300"/>
            <a:ext cx="860401" cy="1135732"/>
            <a:chOff x="2183" y="360"/>
            <a:chExt cx="662" cy="1414"/>
          </a:xfrm>
        </p:grpSpPr>
        <p:grpSp>
          <p:nvGrpSpPr>
            <p:cNvPr id="57" name="Group 50"/>
            <p:cNvGrpSpPr>
              <a:grpSpLocks/>
            </p:cNvGrpSpPr>
            <p:nvPr/>
          </p:nvGrpSpPr>
          <p:grpSpPr bwMode="auto">
            <a:xfrm>
              <a:off x="2183" y="360"/>
              <a:ext cx="662" cy="1414"/>
              <a:chOff x="2183" y="360"/>
              <a:chExt cx="662" cy="1414"/>
            </a:xfrm>
          </p:grpSpPr>
          <p:sp>
            <p:nvSpPr>
              <p:cNvPr id="63" name="Freeform 51"/>
              <p:cNvSpPr>
                <a:spLocks/>
              </p:cNvSpPr>
              <p:nvPr/>
            </p:nvSpPr>
            <p:spPr bwMode="auto">
              <a:xfrm>
                <a:off x="2447" y="1584"/>
                <a:ext cx="44" cy="110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2" y="37"/>
                  </a:cxn>
                  <a:cxn ang="0">
                    <a:pos x="29" y="66"/>
                  </a:cxn>
                  <a:cxn ang="0">
                    <a:pos x="9" y="84"/>
                  </a:cxn>
                  <a:cxn ang="0">
                    <a:pos x="13" y="103"/>
                  </a:cxn>
                  <a:cxn ang="0">
                    <a:pos x="5" y="110"/>
                  </a:cxn>
                  <a:cxn ang="0">
                    <a:pos x="0" y="86"/>
                  </a:cxn>
                  <a:cxn ang="0">
                    <a:pos x="7" y="68"/>
                  </a:cxn>
                  <a:cxn ang="0">
                    <a:pos x="13" y="48"/>
                  </a:cxn>
                  <a:cxn ang="0">
                    <a:pos x="44" y="0"/>
                  </a:cxn>
                </a:cxnLst>
                <a:rect l="0" t="0" r="r" b="b"/>
                <a:pathLst>
                  <a:path w="44" h="110">
                    <a:moveTo>
                      <a:pt x="44" y="0"/>
                    </a:moveTo>
                    <a:lnTo>
                      <a:pt x="42" y="37"/>
                    </a:lnTo>
                    <a:lnTo>
                      <a:pt x="29" y="66"/>
                    </a:lnTo>
                    <a:lnTo>
                      <a:pt x="9" y="84"/>
                    </a:lnTo>
                    <a:lnTo>
                      <a:pt x="13" y="103"/>
                    </a:lnTo>
                    <a:lnTo>
                      <a:pt x="5" y="110"/>
                    </a:lnTo>
                    <a:lnTo>
                      <a:pt x="0" y="86"/>
                    </a:lnTo>
                    <a:lnTo>
                      <a:pt x="7" y="68"/>
                    </a:lnTo>
                    <a:lnTo>
                      <a:pt x="13" y="48"/>
                    </a:lnTo>
                    <a:lnTo>
                      <a:pt x="44" y="0"/>
                    </a:lnTo>
                    <a:close/>
                  </a:path>
                </a:pathLst>
              </a:custGeom>
              <a:ln>
                <a:headEnd/>
                <a:tailEnd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s-E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64" name="Freeform 52"/>
              <p:cNvSpPr>
                <a:spLocks/>
              </p:cNvSpPr>
              <p:nvPr/>
            </p:nvSpPr>
            <p:spPr bwMode="auto">
              <a:xfrm>
                <a:off x="2545" y="1533"/>
                <a:ext cx="60" cy="87"/>
              </a:xfrm>
              <a:custGeom>
                <a:avLst/>
                <a:gdLst/>
                <a:ahLst/>
                <a:cxnLst>
                  <a:cxn ang="0">
                    <a:pos x="47" y="0"/>
                  </a:cxn>
                  <a:cxn ang="0">
                    <a:pos x="60" y="0"/>
                  </a:cxn>
                  <a:cxn ang="0">
                    <a:pos x="44" y="18"/>
                  </a:cxn>
                  <a:cxn ang="0">
                    <a:pos x="42" y="31"/>
                  </a:cxn>
                  <a:cxn ang="0">
                    <a:pos x="47" y="49"/>
                  </a:cxn>
                  <a:cxn ang="0">
                    <a:pos x="31" y="67"/>
                  </a:cxn>
                  <a:cxn ang="0">
                    <a:pos x="11" y="87"/>
                  </a:cxn>
                  <a:cxn ang="0">
                    <a:pos x="7" y="67"/>
                  </a:cxn>
                  <a:cxn ang="0">
                    <a:pos x="0" y="58"/>
                  </a:cxn>
                  <a:cxn ang="0">
                    <a:pos x="0" y="43"/>
                  </a:cxn>
                  <a:cxn ang="0">
                    <a:pos x="18" y="26"/>
                  </a:cxn>
                  <a:cxn ang="0">
                    <a:pos x="47" y="0"/>
                  </a:cxn>
                </a:cxnLst>
                <a:rect l="0" t="0" r="r" b="b"/>
                <a:pathLst>
                  <a:path w="60" h="87">
                    <a:moveTo>
                      <a:pt x="47" y="0"/>
                    </a:moveTo>
                    <a:lnTo>
                      <a:pt x="60" y="0"/>
                    </a:lnTo>
                    <a:lnTo>
                      <a:pt x="44" y="18"/>
                    </a:lnTo>
                    <a:lnTo>
                      <a:pt x="42" y="31"/>
                    </a:lnTo>
                    <a:lnTo>
                      <a:pt x="47" y="49"/>
                    </a:lnTo>
                    <a:lnTo>
                      <a:pt x="31" y="67"/>
                    </a:lnTo>
                    <a:lnTo>
                      <a:pt x="11" y="87"/>
                    </a:lnTo>
                    <a:lnTo>
                      <a:pt x="7" y="67"/>
                    </a:lnTo>
                    <a:lnTo>
                      <a:pt x="0" y="58"/>
                    </a:lnTo>
                    <a:lnTo>
                      <a:pt x="0" y="43"/>
                    </a:lnTo>
                    <a:lnTo>
                      <a:pt x="18" y="26"/>
                    </a:lnTo>
                    <a:lnTo>
                      <a:pt x="47" y="0"/>
                    </a:lnTo>
                    <a:close/>
                  </a:path>
                </a:pathLst>
              </a:custGeom>
              <a:ln>
                <a:headEnd/>
                <a:tailEnd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s-E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grpSp>
            <p:nvGrpSpPr>
              <p:cNvPr id="65" name="Group 53"/>
              <p:cNvGrpSpPr>
                <a:grpSpLocks/>
              </p:cNvGrpSpPr>
              <p:nvPr/>
            </p:nvGrpSpPr>
            <p:grpSpPr bwMode="auto">
              <a:xfrm>
                <a:off x="2183" y="360"/>
                <a:ext cx="662" cy="1414"/>
                <a:chOff x="2183" y="360"/>
                <a:chExt cx="662" cy="1414"/>
              </a:xfrm>
            </p:grpSpPr>
            <p:sp>
              <p:nvSpPr>
                <p:cNvPr id="66" name="Freeform 54"/>
                <p:cNvSpPr>
                  <a:spLocks/>
                </p:cNvSpPr>
                <p:nvPr/>
              </p:nvSpPr>
              <p:spPr bwMode="auto">
                <a:xfrm>
                  <a:off x="2183" y="360"/>
                  <a:ext cx="662" cy="1414"/>
                </a:xfrm>
                <a:custGeom>
                  <a:avLst/>
                  <a:gdLst/>
                  <a:ahLst/>
                  <a:cxnLst>
                    <a:cxn ang="0">
                      <a:pos x="520" y="25"/>
                    </a:cxn>
                    <a:cxn ang="0">
                      <a:pos x="609" y="87"/>
                    </a:cxn>
                    <a:cxn ang="0">
                      <a:pos x="618" y="140"/>
                    </a:cxn>
                    <a:cxn ang="0">
                      <a:pos x="639" y="188"/>
                    </a:cxn>
                    <a:cxn ang="0">
                      <a:pos x="636" y="250"/>
                    </a:cxn>
                    <a:cxn ang="0">
                      <a:pos x="653" y="294"/>
                    </a:cxn>
                    <a:cxn ang="0">
                      <a:pos x="649" y="330"/>
                    </a:cxn>
                    <a:cxn ang="0">
                      <a:pos x="569" y="338"/>
                    </a:cxn>
                    <a:cxn ang="0">
                      <a:pos x="534" y="392"/>
                    </a:cxn>
                    <a:cxn ang="0">
                      <a:pos x="525" y="432"/>
                    </a:cxn>
                    <a:cxn ang="0">
                      <a:pos x="529" y="489"/>
                    </a:cxn>
                    <a:cxn ang="0">
                      <a:pos x="503" y="543"/>
                    </a:cxn>
                    <a:cxn ang="0">
                      <a:pos x="428" y="587"/>
                    </a:cxn>
                    <a:cxn ang="0">
                      <a:pos x="400" y="613"/>
                    </a:cxn>
                    <a:cxn ang="0">
                      <a:pos x="366" y="680"/>
                    </a:cxn>
                    <a:cxn ang="0">
                      <a:pos x="355" y="730"/>
                    </a:cxn>
                    <a:cxn ang="0">
                      <a:pos x="324" y="802"/>
                    </a:cxn>
                    <a:cxn ang="0">
                      <a:pos x="369" y="895"/>
                    </a:cxn>
                    <a:cxn ang="0">
                      <a:pos x="405" y="965"/>
                    </a:cxn>
                    <a:cxn ang="0">
                      <a:pos x="366" y="991"/>
                    </a:cxn>
                    <a:cxn ang="0">
                      <a:pos x="332" y="996"/>
                    </a:cxn>
                    <a:cxn ang="0">
                      <a:pos x="257" y="1001"/>
                    </a:cxn>
                    <a:cxn ang="0">
                      <a:pos x="328" y="1018"/>
                    </a:cxn>
                    <a:cxn ang="0">
                      <a:pos x="366" y="1040"/>
                    </a:cxn>
                    <a:cxn ang="0">
                      <a:pos x="341" y="1058"/>
                    </a:cxn>
                    <a:cxn ang="0">
                      <a:pos x="297" y="1098"/>
                    </a:cxn>
                    <a:cxn ang="0">
                      <a:pos x="283" y="1137"/>
                    </a:cxn>
                    <a:cxn ang="0">
                      <a:pos x="265" y="1230"/>
                    </a:cxn>
                    <a:cxn ang="0">
                      <a:pos x="244" y="1292"/>
                    </a:cxn>
                    <a:cxn ang="0">
                      <a:pos x="190" y="1341"/>
                    </a:cxn>
                    <a:cxn ang="0">
                      <a:pos x="138" y="1359"/>
                    </a:cxn>
                    <a:cxn ang="0">
                      <a:pos x="128" y="1401"/>
                    </a:cxn>
                    <a:cxn ang="0">
                      <a:pos x="76" y="1414"/>
                    </a:cxn>
                    <a:cxn ang="0">
                      <a:pos x="53" y="1391"/>
                    </a:cxn>
                    <a:cxn ang="0">
                      <a:pos x="31" y="1315"/>
                    </a:cxn>
                    <a:cxn ang="0">
                      <a:pos x="49" y="1297"/>
                    </a:cxn>
                    <a:cxn ang="0">
                      <a:pos x="53" y="1271"/>
                    </a:cxn>
                    <a:cxn ang="0">
                      <a:pos x="31" y="1199"/>
                    </a:cxn>
                    <a:cxn ang="0">
                      <a:pos x="14" y="1142"/>
                    </a:cxn>
                    <a:cxn ang="0">
                      <a:pos x="0" y="1053"/>
                    </a:cxn>
                    <a:cxn ang="0">
                      <a:pos x="23" y="1018"/>
                    </a:cxn>
                    <a:cxn ang="0">
                      <a:pos x="40" y="929"/>
                    </a:cxn>
                    <a:cxn ang="0">
                      <a:pos x="84" y="877"/>
                    </a:cxn>
                    <a:cxn ang="0">
                      <a:pos x="71" y="784"/>
                    </a:cxn>
                    <a:cxn ang="0">
                      <a:pos x="89" y="739"/>
                    </a:cxn>
                    <a:cxn ang="0">
                      <a:pos x="80" y="662"/>
                    </a:cxn>
                    <a:cxn ang="0">
                      <a:pos x="98" y="569"/>
                    </a:cxn>
                    <a:cxn ang="0">
                      <a:pos x="156" y="507"/>
                    </a:cxn>
                    <a:cxn ang="0">
                      <a:pos x="208" y="489"/>
                    </a:cxn>
                    <a:cxn ang="0">
                      <a:pos x="187" y="432"/>
                    </a:cxn>
                    <a:cxn ang="0">
                      <a:pos x="208" y="384"/>
                    </a:cxn>
                    <a:cxn ang="0">
                      <a:pos x="221" y="312"/>
                    </a:cxn>
                    <a:cxn ang="0">
                      <a:pos x="280" y="268"/>
                    </a:cxn>
                    <a:cxn ang="0">
                      <a:pos x="306" y="211"/>
                    </a:cxn>
                    <a:cxn ang="0">
                      <a:pos x="348" y="122"/>
                    </a:cxn>
                    <a:cxn ang="0">
                      <a:pos x="394" y="82"/>
                    </a:cxn>
                    <a:cxn ang="0">
                      <a:pos x="439" y="50"/>
                    </a:cxn>
                    <a:cxn ang="0">
                      <a:pos x="493" y="0"/>
                    </a:cxn>
                  </a:cxnLst>
                  <a:rect l="0" t="0" r="r" b="b"/>
                  <a:pathLst>
                    <a:path w="662" h="1414">
                      <a:moveTo>
                        <a:pt x="498" y="0"/>
                      </a:moveTo>
                      <a:lnTo>
                        <a:pt x="507" y="3"/>
                      </a:lnTo>
                      <a:lnTo>
                        <a:pt x="520" y="25"/>
                      </a:lnTo>
                      <a:lnTo>
                        <a:pt x="578" y="82"/>
                      </a:lnTo>
                      <a:lnTo>
                        <a:pt x="587" y="69"/>
                      </a:lnTo>
                      <a:lnTo>
                        <a:pt x="609" y="87"/>
                      </a:lnTo>
                      <a:lnTo>
                        <a:pt x="618" y="105"/>
                      </a:lnTo>
                      <a:lnTo>
                        <a:pt x="618" y="118"/>
                      </a:lnTo>
                      <a:lnTo>
                        <a:pt x="618" y="140"/>
                      </a:lnTo>
                      <a:lnTo>
                        <a:pt x="609" y="153"/>
                      </a:lnTo>
                      <a:lnTo>
                        <a:pt x="626" y="171"/>
                      </a:lnTo>
                      <a:lnTo>
                        <a:pt x="639" y="188"/>
                      </a:lnTo>
                      <a:lnTo>
                        <a:pt x="639" y="202"/>
                      </a:lnTo>
                      <a:lnTo>
                        <a:pt x="639" y="224"/>
                      </a:lnTo>
                      <a:lnTo>
                        <a:pt x="636" y="250"/>
                      </a:lnTo>
                      <a:lnTo>
                        <a:pt x="626" y="260"/>
                      </a:lnTo>
                      <a:lnTo>
                        <a:pt x="639" y="273"/>
                      </a:lnTo>
                      <a:lnTo>
                        <a:pt x="653" y="294"/>
                      </a:lnTo>
                      <a:lnTo>
                        <a:pt x="662" y="317"/>
                      </a:lnTo>
                      <a:lnTo>
                        <a:pt x="662" y="325"/>
                      </a:lnTo>
                      <a:lnTo>
                        <a:pt x="649" y="330"/>
                      </a:lnTo>
                      <a:lnTo>
                        <a:pt x="591" y="330"/>
                      </a:lnTo>
                      <a:lnTo>
                        <a:pt x="578" y="330"/>
                      </a:lnTo>
                      <a:lnTo>
                        <a:pt x="569" y="338"/>
                      </a:lnTo>
                      <a:lnTo>
                        <a:pt x="569" y="356"/>
                      </a:lnTo>
                      <a:lnTo>
                        <a:pt x="560" y="370"/>
                      </a:lnTo>
                      <a:lnTo>
                        <a:pt x="534" y="392"/>
                      </a:lnTo>
                      <a:lnTo>
                        <a:pt x="538" y="410"/>
                      </a:lnTo>
                      <a:lnTo>
                        <a:pt x="534" y="423"/>
                      </a:lnTo>
                      <a:lnTo>
                        <a:pt x="525" y="432"/>
                      </a:lnTo>
                      <a:lnTo>
                        <a:pt x="534" y="459"/>
                      </a:lnTo>
                      <a:lnTo>
                        <a:pt x="538" y="476"/>
                      </a:lnTo>
                      <a:lnTo>
                        <a:pt x="529" y="489"/>
                      </a:lnTo>
                      <a:lnTo>
                        <a:pt x="511" y="503"/>
                      </a:lnTo>
                      <a:lnTo>
                        <a:pt x="507" y="520"/>
                      </a:lnTo>
                      <a:lnTo>
                        <a:pt x="503" y="543"/>
                      </a:lnTo>
                      <a:lnTo>
                        <a:pt x="472" y="556"/>
                      </a:lnTo>
                      <a:lnTo>
                        <a:pt x="454" y="569"/>
                      </a:lnTo>
                      <a:lnTo>
                        <a:pt x="428" y="587"/>
                      </a:lnTo>
                      <a:lnTo>
                        <a:pt x="431" y="600"/>
                      </a:lnTo>
                      <a:lnTo>
                        <a:pt x="410" y="605"/>
                      </a:lnTo>
                      <a:lnTo>
                        <a:pt x="400" y="613"/>
                      </a:lnTo>
                      <a:lnTo>
                        <a:pt x="379" y="644"/>
                      </a:lnTo>
                      <a:lnTo>
                        <a:pt x="361" y="657"/>
                      </a:lnTo>
                      <a:lnTo>
                        <a:pt x="366" y="680"/>
                      </a:lnTo>
                      <a:lnTo>
                        <a:pt x="355" y="686"/>
                      </a:lnTo>
                      <a:lnTo>
                        <a:pt x="345" y="695"/>
                      </a:lnTo>
                      <a:lnTo>
                        <a:pt x="355" y="730"/>
                      </a:lnTo>
                      <a:lnTo>
                        <a:pt x="350" y="753"/>
                      </a:lnTo>
                      <a:lnTo>
                        <a:pt x="328" y="766"/>
                      </a:lnTo>
                      <a:lnTo>
                        <a:pt x="324" y="802"/>
                      </a:lnTo>
                      <a:lnTo>
                        <a:pt x="328" y="846"/>
                      </a:lnTo>
                      <a:lnTo>
                        <a:pt x="337" y="867"/>
                      </a:lnTo>
                      <a:lnTo>
                        <a:pt x="369" y="895"/>
                      </a:lnTo>
                      <a:lnTo>
                        <a:pt x="382" y="921"/>
                      </a:lnTo>
                      <a:lnTo>
                        <a:pt x="397" y="947"/>
                      </a:lnTo>
                      <a:lnTo>
                        <a:pt x="405" y="965"/>
                      </a:lnTo>
                      <a:lnTo>
                        <a:pt x="397" y="983"/>
                      </a:lnTo>
                      <a:lnTo>
                        <a:pt x="379" y="996"/>
                      </a:lnTo>
                      <a:lnTo>
                        <a:pt x="366" y="991"/>
                      </a:lnTo>
                      <a:lnTo>
                        <a:pt x="355" y="978"/>
                      </a:lnTo>
                      <a:lnTo>
                        <a:pt x="337" y="983"/>
                      </a:lnTo>
                      <a:lnTo>
                        <a:pt x="332" y="996"/>
                      </a:lnTo>
                      <a:lnTo>
                        <a:pt x="306" y="996"/>
                      </a:lnTo>
                      <a:lnTo>
                        <a:pt x="265" y="991"/>
                      </a:lnTo>
                      <a:lnTo>
                        <a:pt x="257" y="1001"/>
                      </a:lnTo>
                      <a:lnTo>
                        <a:pt x="283" y="1014"/>
                      </a:lnTo>
                      <a:lnTo>
                        <a:pt x="319" y="1001"/>
                      </a:lnTo>
                      <a:lnTo>
                        <a:pt x="328" y="1018"/>
                      </a:lnTo>
                      <a:lnTo>
                        <a:pt x="355" y="1022"/>
                      </a:lnTo>
                      <a:lnTo>
                        <a:pt x="374" y="1031"/>
                      </a:lnTo>
                      <a:lnTo>
                        <a:pt x="366" y="1040"/>
                      </a:lnTo>
                      <a:lnTo>
                        <a:pt x="341" y="1035"/>
                      </a:lnTo>
                      <a:lnTo>
                        <a:pt x="337" y="1045"/>
                      </a:lnTo>
                      <a:lnTo>
                        <a:pt x="341" y="1058"/>
                      </a:lnTo>
                      <a:lnTo>
                        <a:pt x="328" y="1076"/>
                      </a:lnTo>
                      <a:lnTo>
                        <a:pt x="306" y="1093"/>
                      </a:lnTo>
                      <a:lnTo>
                        <a:pt x="297" y="1098"/>
                      </a:lnTo>
                      <a:lnTo>
                        <a:pt x="288" y="1102"/>
                      </a:lnTo>
                      <a:lnTo>
                        <a:pt x="293" y="1124"/>
                      </a:lnTo>
                      <a:lnTo>
                        <a:pt x="283" y="1137"/>
                      </a:lnTo>
                      <a:lnTo>
                        <a:pt x="270" y="1164"/>
                      </a:lnTo>
                      <a:lnTo>
                        <a:pt x="275" y="1191"/>
                      </a:lnTo>
                      <a:lnTo>
                        <a:pt x="265" y="1230"/>
                      </a:lnTo>
                      <a:lnTo>
                        <a:pt x="257" y="1248"/>
                      </a:lnTo>
                      <a:lnTo>
                        <a:pt x="257" y="1274"/>
                      </a:lnTo>
                      <a:lnTo>
                        <a:pt x="244" y="1292"/>
                      </a:lnTo>
                      <a:lnTo>
                        <a:pt x="226" y="1323"/>
                      </a:lnTo>
                      <a:lnTo>
                        <a:pt x="221" y="1346"/>
                      </a:lnTo>
                      <a:lnTo>
                        <a:pt x="190" y="1341"/>
                      </a:lnTo>
                      <a:lnTo>
                        <a:pt x="159" y="1341"/>
                      </a:lnTo>
                      <a:lnTo>
                        <a:pt x="156" y="1354"/>
                      </a:lnTo>
                      <a:lnTo>
                        <a:pt x="138" y="1359"/>
                      </a:lnTo>
                      <a:lnTo>
                        <a:pt x="128" y="1364"/>
                      </a:lnTo>
                      <a:lnTo>
                        <a:pt x="133" y="1378"/>
                      </a:lnTo>
                      <a:lnTo>
                        <a:pt x="128" y="1401"/>
                      </a:lnTo>
                      <a:lnTo>
                        <a:pt x="107" y="1414"/>
                      </a:lnTo>
                      <a:lnTo>
                        <a:pt x="94" y="1401"/>
                      </a:lnTo>
                      <a:lnTo>
                        <a:pt x="76" y="1414"/>
                      </a:lnTo>
                      <a:lnTo>
                        <a:pt x="53" y="1414"/>
                      </a:lnTo>
                      <a:lnTo>
                        <a:pt x="45" y="1401"/>
                      </a:lnTo>
                      <a:lnTo>
                        <a:pt x="53" y="1391"/>
                      </a:lnTo>
                      <a:lnTo>
                        <a:pt x="58" y="1367"/>
                      </a:lnTo>
                      <a:lnTo>
                        <a:pt x="40" y="1333"/>
                      </a:lnTo>
                      <a:lnTo>
                        <a:pt x="31" y="1315"/>
                      </a:lnTo>
                      <a:lnTo>
                        <a:pt x="36" y="1305"/>
                      </a:lnTo>
                      <a:lnTo>
                        <a:pt x="45" y="1305"/>
                      </a:lnTo>
                      <a:lnTo>
                        <a:pt x="49" y="1297"/>
                      </a:lnTo>
                      <a:lnTo>
                        <a:pt x="53" y="1287"/>
                      </a:lnTo>
                      <a:lnTo>
                        <a:pt x="58" y="1279"/>
                      </a:lnTo>
                      <a:lnTo>
                        <a:pt x="53" y="1271"/>
                      </a:lnTo>
                      <a:lnTo>
                        <a:pt x="45" y="1253"/>
                      </a:lnTo>
                      <a:lnTo>
                        <a:pt x="27" y="1226"/>
                      </a:lnTo>
                      <a:lnTo>
                        <a:pt x="31" y="1199"/>
                      </a:lnTo>
                      <a:lnTo>
                        <a:pt x="18" y="1178"/>
                      </a:lnTo>
                      <a:lnTo>
                        <a:pt x="5" y="1164"/>
                      </a:lnTo>
                      <a:lnTo>
                        <a:pt x="14" y="1142"/>
                      </a:lnTo>
                      <a:lnTo>
                        <a:pt x="23" y="1098"/>
                      </a:lnTo>
                      <a:lnTo>
                        <a:pt x="5" y="1076"/>
                      </a:lnTo>
                      <a:lnTo>
                        <a:pt x="0" y="1053"/>
                      </a:lnTo>
                      <a:lnTo>
                        <a:pt x="0" y="1040"/>
                      </a:lnTo>
                      <a:lnTo>
                        <a:pt x="9" y="1014"/>
                      </a:lnTo>
                      <a:lnTo>
                        <a:pt x="23" y="1018"/>
                      </a:lnTo>
                      <a:lnTo>
                        <a:pt x="36" y="983"/>
                      </a:lnTo>
                      <a:lnTo>
                        <a:pt x="36" y="942"/>
                      </a:lnTo>
                      <a:lnTo>
                        <a:pt x="40" y="929"/>
                      </a:lnTo>
                      <a:lnTo>
                        <a:pt x="58" y="916"/>
                      </a:lnTo>
                      <a:lnTo>
                        <a:pt x="84" y="898"/>
                      </a:lnTo>
                      <a:lnTo>
                        <a:pt x="84" y="877"/>
                      </a:lnTo>
                      <a:lnTo>
                        <a:pt x="80" y="810"/>
                      </a:lnTo>
                      <a:lnTo>
                        <a:pt x="71" y="802"/>
                      </a:lnTo>
                      <a:lnTo>
                        <a:pt x="71" y="784"/>
                      </a:lnTo>
                      <a:lnTo>
                        <a:pt x="94" y="774"/>
                      </a:lnTo>
                      <a:lnTo>
                        <a:pt x="102" y="766"/>
                      </a:lnTo>
                      <a:lnTo>
                        <a:pt x="89" y="739"/>
                      </a:lnTo>
                      <a:lnTo>
                        <a:pt x="71" y="713"/>
                      </a:lnTo>
                      <a:lnTo>
                        <a:pt x="76" y="683"/>
                      </a:lnTo>
                      <a:lnTo>
                        <a:pt x="80" y="662"/>
                      </a:lnTo>
                      <a:lnTo>
                        <a:pt x="98" y="623"/>
                      </a:lnTo>
                      <a:lnTo>
                        <a:pt x="98" y="605"/>
                      </a:lnTo>
                      <a:lnTo>
                        <a:pt x="98" y="569"/>
                      </a:lnTo>
                      <a:lnTo>
                        <a:pt x="111" y="538"/>
                      </a:lnTo>
                      <a:lnTo>
                        <a:pt x="133" y="520"/>
                      </a:lnTo>
                      <a:lnTo>
                        <a:pt x="156" y="507"/>
                      </a:lnTo>
                      <a:lnTo>
                        <a:pt x="177" y="512"/>
                      </a:lnTo>
                      <a:lnTo>
                        <a:pt x="200" y="520"/>
                      </a:lnTo>
                      <a:lnTo>
                        <a:pt x="208" y="489"/>
                      </a:lnTo>
                      <a:lnTo>
                        <a:pt x="200" y="463"/>
                      </a:lnTo>
                      <a:lnTo>
                        <a:pt x="190" y="445"/>
                      </a:lnTo>
                      <a:lnTo>
                        <a:pt x="187" y="432"/>
                      </a:lnTo>
                      <a:lnTo>
                        <a:pt x="190" y="418"/>
                      </a:lnTo>
                      <a:lnTo>
                        <a:pt x="205" y="414"/>
                      </a:lnTo>
                      <a:lnTo>
                        <a:pt x="208" y="384"/>
                      </a:lnTo>
                      <a:lnTo>
                        <a:pt x="218" y="356"/>
                      </a:lnTo>
                      <a:lnTo>
                        <a:pt x="221" y="335"/>
                      </a:lnTo>
                      <a:lnTo>
                        <a:pt x="221" y="312"/>
                      </a:lnTo>
                      <a:lnTo>
                        <a:pt x="234" y="291"/>
                      </a:lnTo>
                      <a:lnTo>
                        <a:pt x="262" y="273"/>
                      </a:lnTo>
                      <a:lnTo>
                        <a:pt x="280" y="268"/>
                      </a:lnTo>
                      <a:lnTo>
                        <a:pt x="280" y="247"/>
                      </a:lnTo>
                      <a:lnTo>
                        <a:pt x="288" y="232"/>
                      </a:lnTo>
                      <a:lnTo>
                        <a:pt x="306" y="211"/>
                      </a:lnTo>
                      <a:lnTo>
                        <a:pt x="324" y="198"/>
                      </a:lnTo>
                      <a:lnTo>
                        <a:pt x="314" y="159"/>
                      </a:lnTo>
                      <a:lnTo>
                        <a:pt x="348" y="122"/>
                      </a:lnTo>
                      <a:lnTo>
                        <a:pt x="355" y="107"/>
                      </a:lnTo>
                      <a:lnTo>
                        <a:pt x="379" y="102"/>
                      </a:lnTo>
                      <a:lnTo>
                        <a:pt x="394" y="82"/>
                      </a:lnTo>
                      <a:lnTo>
                        <a:pt x="394" y="69"/>
                      </a:lnTo>
                      <a:lnTo>
                        <a:pt x="410" y="53"/>
                      </a:lnTo>
                      <a:lnTo>
                        <a:pt x="439" y="50"/>
                      </a:lnTo>
                      <a:lnTo>
                        <a:pt x="472" y="50"/>
                      </a:lnTo>
                      <a:lnTo>
                        <a:pt x="498" y="25"/>
                      </a:lnTo>
                      <a:lnTo>
                        <a:pt x="493" y="0"/>
                      </a:lnTo>
                      <a:lnTo>
                        <a:pt x="498" y="0"/>
                      </a:lnTo>
                      <a:close/>
                    </a:path>
                  </a:pathLst>
                </a:custGeom>
                <a:ln>
                  <a:headEnd/>
                  <a:tailEnd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s-ES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67" name="Freeform 55"/>
                <p:cNvSpPr>
                  <a:spLocks/>
                </p:cNvSpPr>
                <p:nvPr/>
              </p:nvSpPr>
              <p:spPr bwMode="auto">
                <a:xfrm>
                  <a:off x="2183" y="360"/>
                  <a:ext cx="662" cy="1414"/>
                </a:xfrm>
                <a:custGeom>
                  <a:avLst/>
                  <a:gdLst/>
                  <a:ahLst/>
                  <a:cxnLst>
                    <a:cxn ang="0">
                      <a:pos x="520" y="25"/>
                    </a:cxn>
                    <a:cxn ang="0">
                      <a:pos x="609" y="87"/>
                    </a:cxn>
                    <a:cxn ang="0">
                      <a:pos x="618" y="140"/>
                    </a:cxn>
                    <a:cxn ang="0">
                      <a:pos x="639" y="188"/>
                    </a:cxn>
                    <a:cxn ang="0">
                      <a:pos x="636" y="250"/>
                    </a:cxn>
                    <a:cxn ang="0">
                      <a:pos x="653" y="294"/>
                    </a:cxn>
                    <a:cxn ang="0">
                      <a:pos x="649" y="330"/>
                    </a:cxn>
                    <a:cxn ang="0">
                      <a:pos x="569" y="338"/>
                    </a:cxn>
                    <a:cxn ang="0">
                      <a:pos x="534" y="392"/>
                    </a:cxn>
                    <a:cxn ang="0">
                      <a:pos x="525" y="432"/>
                    </a:cxn>
                    <a:cxn ang="0">
                      <a:pos x="529" y="489"/>
                    </a:cxn>
                    <a:cxn ang="0">
                      <a:pos x="503" y="543"/>
                    </a:cxn>
                    <a:cxn ang="0">
                      <a:pos x="428" y="587"/>
                    </a:cxn>
                    <a:cxn ang="0">
                      <a:pos x="400" y="613"/>
                    </a:cxn>
                    <a:cxn ang="0">
                      <a:pos x="366" y="680"/>
                    </a:cxn>
                    <a:cxn ang="0">
                      <a:pos x="355" y="730"/>
                    </a:cxn>
                    <a:cxn ang="0">
                      <a:pos x="324" y="802"/>
                    </a:cxn>
                    <a:cxn ang="0">
                      <a:pos x="369" y="895"/>
                    </a:cxn>
                    <a:cxn ang="0">
                      <a:pos x="405" y="965"/>
                    </a:cxn>
                    <a:cxn ang="0">
                      <a:pos x="366" y="991"/>
                    </a:cxn>
                    <a:cxn ang="0">
                      <a:pos x="332" y="996"/>
                    </a:cxn>
                    <a:cxn ang="0">
                      <a:pos x="257" y="1001"/>
                    </a:cxn>
                    <a:cxn ang="0">
                      <a:pos x="328" y="1018"/>
                    </a:cxn>
                    <a:cxn ang="0">
                      <a:pos x="366" y="1040"/>
                    </a:cxn>
                    <a:cxn ang="0">
                      <a:pos x="341" y="1058"/>
                    </a:cxn>
                    <a:cxn ang="0">
                      <a:pos x="297" y="1098"/>
                    </a:cxn>
                    <a:cxn ang="0">
                      <a:pos x="283" y="1137"/>
                    </a:cxn>
                    <a:cxn ang="0">
                      <a:pos x="265" y="1230"/>
                    </a:cxn>
                    <a:cxn ang="0">
                      <a:pos x="244" y="1292"/>
                    </a:cxn>
                    <a:cxn ang="0">
                      <a:pos x="190" y="1341"/>
                    </a:cxn>
                    <a:cxn ang="0">
                      <a:pos x="138" y="1359"/>
                    </a:cxn>
                    <a:cxn ang="0">
                      <a:pos x="128" y="1401"/>
                    </a:cxn>
                    <a:cxn ang="0">
                      <a:pos x="76" y="1414"/>
                    </a:cxn>
                    <a:cxn ang="0">
                      <a:pos x="53" y="1391"/>
                    </a:cxn>
                    <a:cxn ang="0">
                      <a:pos x="31" y="1315"/>
                    </a:cxn>
                    <a:cxn ang="0">
                      <a:pos x="49" y="1297"/>
                    </a:cxn>
                    <a:cxn ang="0">
                      <a:pos x="53" y="1271"/>
                    </a:cxn>
                    <a:cxn ang="0">
                      <a:pos x="31" y="1199"/>
                    </a:cxn>
                    <a:cxn ang="0">
                      <a:pos x="14" y="1142"/>
                    </a:cxn>
                    <a:cxn ang="0">
                      <a:pos x="0" y="1053"/>
                    </a:cxn>
                    <a:cxn ang="0">
                      <a:pos x="23" y="1018"/>
                    </a:cxn>
                    <a:cxn ang="0">
                      <a:pos x="40" y="929"/>
                    </a:cxn>
                    <a:cxn ang="0">
                      <a:pos x="84" y="877"/>
                    </a:cxn>
                    <a:cxn ang="0">
                      <a:pos x="71" y="784"/>
                    </a:cxn>
                    <a:cxn ang="0">
                      <a:pos x="89" y="739"/>
                    </a:cxn>
                    <a:cxn ang="0">
                      <a:pos x="80" y="662"/>
                    </a:cxn>
                    <a:cxn ang="0">
                      <a:pos x="98" y="569"/>
                    </a:cxn>
                    <a:cxn ang="0">
                      <a:pos x="156" y="507"/>
                    </a:cxn>
                    <a:cxn ang="0">
                      <a:pos x="208" y="489"/>
                    </a:cxn>
                    <a:cxn ang="0">
                      <a:pos x="187" y="432"/>
                    </a:cxn>
                    <a:cxn ang="0">
                      <a:pos x="208" y="384"/>
                    </a:cxn>
                    <a:cxn ang="0">
                      <a:pos x="221" y="312"/>
                    </a:cxn>
                    <a:cxn ang="0">
                      <a:pos x="280" y="268"/>
                    </a:cxn>
                    <a:cxn ang="0">
                      <a:pos x="306" y="211"/>
                    </a:cxn>
                    <a:cxn ang="0">
                      <a:pos x="348" y="122"/>
                    </a:cxn>
                    <a:cxn ang="0">
                      <a:pos x="394" y="82"/>
                    </a:cxn>
                    <a:cxn ang="0">
                      <a:pos x="439" y="50"/>
                    </a:cxn>
                    <a:cxn ang="0">
                      <a:pos x="493" y="0"/>
                    </a:cxn>
                  </a:cxnLst>
                  <a:rect l="0" t="0" r="r" b="b"/>
                  <a:pathLst>
                    <a:path w="662" h="1414">
                      <a:moveTo>
                        <a:pt x="498" y="0"/>
                      </a:moveTo>
                      <a:lnTo>
                        <a:pt x="507" y="3"/>
                      </a:lnTo>
                      <a:lnTo>
                        <a:pt x="520" y="25"/>
                      </a:lnTo>
                      <a:lnTo>
                        <a:pt x="578" y="82"/>
                      </a:lnTo>
                      <a:lnTo>
                        <a:pt x="587" y="69"/>
                      </a:lnTo>
                      <a:lnTo>
                        <a:pt x="609" y="87"/>
                      </a:lnTo>
                      <a:lnTo>
                        <a:pt x="618" y="105"/>
                      </a:lnTo>
                      <a:lnTo>
                        <a:pt x="618" y="118"/>
                      </a:lnTo>
                      <a:lnTo>
                        <a:pt x="618" y="140"/>
                      </a:lnTo>
                      <a:lnTo>
                        <a:pt x="609" y="153"/>
                      </a:lnTo>
                      <a:lnTo>
                        <a:pt x="626" y="171"/>
                      </a:lnTo>
                      <a:lnTo>
                        <a:pt x="639" y="188"/>
                      </a:lnTo>
                      <a:lnTo>
                        <a:pt x="639" y="202"/>
                      </a:lnTo>
                      <a:lnTo>
                        <a:pt x="639" y="224"/>
                      </a:lnTo>
                      <a:lnTo>
                        <a:pt x="636" y="250"/>
                      </a:lnTo>
                      <a:lnTo>
                        <a:pt x="626" y="260"/>
                      </a:lnTo>
                      <a:lnTo>
                        <a:pt x="639" y="273"/>
                      </a:lnTo>
                      <a:lnTo>
                        <a:pt x="653" y="294"/>
                      </a:lnTo>
                      <a:lnTo>
                        <a:pt x="662" y="317"/>
                      </a:lnTo>
                      <a:lnTo>
                        <a:pt x="662" y="325"/>
                      </a:lnTo>
                      <a:lnTo>
                        <a:pt x="649" y="330"/>
                      </a:lnTo>
                      <a:lnTo>
                        <a:pt x="591" y="330"/>
                      </a:lnTo>
                      <a:lnTo>
                        <a:pt x="578" y="330"/>
                      </a:lnTo>
                      <a:lnTo>
                        <a:pt x="569" y="338"/>
                      </a:lnTo>
                      <a:lnTo>
                        <a:pt x="569" y="356"/>
                      </a:lnTo>
                      <a:lnTo>
                        <a:pt x="560" y="370"/>
                      </a:lnTo>
                      <a:lnTo>
                        <a:pt x="534" y="392"/>
                      </a:lnTo>
                      <a:lnTo>
                        <a:pt x="538" y="410"/>
                      </a:lnTo>
                      <a:lnTo>
                        <a:pt x="534" y="423"/>
                      </a:lnTo>
                      <a:lnTo>
                        <a:pt x="525" y="432"/>
                      </a:lnTo>
                      <a:lnTo>
                        <a:pt x="534" y="459"/>
                      </a:lnTo>
                      <a:lnTo>
                        <a:pt x="538" y="476"/>
                      </a:lnTo>
                      <a:lnTo>
                        <a:pt x="529" y="489"/>
                      </a:lnTo>
                      <a:lnTo>
                        <a:pt x="511" y="503"/>
                      </a:lnTo>
                      <a:lnTo>
                        <a:pt x="507" y="520"/>
                      </a:lnTo>
                      <a:lnTo>
                        <a:pt x="503" y="543"/>
                      </a:lnTo>
                      <a:lnTo>
                        <a:pt x="472" y="556"/>
                      </a:lnTo>
                      <a:lnTo>
                        <a:pt x="454" y="569"/>
                      </a:lnTo>
                      <a:lnTo>
                        <a:pt x="428" y="587"/>
                      </a:lnTo>
                      <a:lnTo>
                        <a:pt x="431" y="600"/>
                      </a:lnTo>
                      <a:lnTo>
                        <a:pt x="410" y="605"/>
                      </a:lnTo>
                      <a:lnTo>
                        <a:pt x="400" y="613"/>
                      </a:lnTo>
                      <a:lnTo>
                        <a:pt x="379" y="644"/>
                      </a:lnTo>
                      <a:lnTo>
                        <a:pt x="361" y="657"/>
                      </a:lnTo>
                      <a:lnTo>
                        <a:pt x="366" y="680"/>
                      </a:lnTo>
                      <a:lnTo>
                        <a:pt x="355" y="686"/>
                      </a:lnTo>
                      <a:lnTo>
                        <a:pt x="345" y="695"/>
                      </a:lnTo>
                      <a:lnTo>
                        <a:pt x="355" y="730"/>
                      </a:lnTo>
                      <a:lnTo>
                        <a:pt x="350" y="753"/>
                      </a:lnTo>
                      <a:lnTo>
                        <a:pt x="328" y="766"/>
                      </a:lnTo>
                      <a:lnTo>
                        <a:pt x="324" y="802"/>
                      </a:lnTo>
                      <a:lnTo>
                        <a:pt x="328" y="846"/>
                      </a:lnTo>
                      <a:lnTo>
                        <a:pt x="337" y="867"/>
                      </a:lnTo>
                      <a:lnTo>
                        <a:pt x="369" y="895"/>
                      </a:lnTo>
                      <a:lnTo>
                        <a:pt x="382" y="921"/>
                      </a:lnTo>
                      <a:lnTo>
                        <a:pt x="397" y="947"/>
                      </a:lnTo>
                      <a:lnTo>
                        <a:pt x="405" y="965"/>
                      </a:lnTo>
                      <a:lnTo>
                        <a:pt x="397" y="983"/>
                      </a:lnTo>
                      <a:lnTo>
                        <a:pt x="379" y="996"/>
                      </a:lnTo>
                      <a:lnTo>
                        <a:pt x="366" y="991"/>
                      </a:lnTo>
                      <a:lnTo>
                        <a:pt x="355" y="978"/>
                      </a:lnTo>
                      <a:lnTo>
                        <a:pt x="337" y="983"/>
                      </a:lnTo>
                      <a:lnTo>
                        <a:pt x="332" y="996"/>
                      </a:lnTo>
                      <a:lnTo>
                        <a:pt x="306" y="996"/>
                      </a:lnTo>
                      <a:lnTo>
                        <a:pt x="265" y="991"/>
                      </a:lnTo>
                      <a:lnTo>
                        <a:pt x="257" y="1001"/>
                      </a:lnTo>
                      <a:lnTo>
                        <a:pt x="283" y="1014"/>
                      </a:lnTo>
                      <a:lnTo>
                        <a:pt x="319" y="1001"/>
                      </a:lnTo>
                      <a:lnTo>
                        <a:pt x="328" y="1018"/>
                      </a:lnTo>
                      <a:lnTo>
                        <a:pt x="355" y="1022"/>
                      </a:lnTo>
                      <a:lnTo>
                        <a:pt x="374" y="1031"/>
                      </a:lnTo>
                      <a:lnTo>
                        <a:pt x="366" y="1040"/>
                      </a:lnTo>
                      <a:lnTo>
                        <a:pt x="341" y="1035"/>
                      </a:lnTo>
                      <a:lnTo>
                        <a:pt x="337" y="1045"/>
                      </a:lnTo>
                      <a:lnTo>
                        <a:pt x="341" y="1058"/>
                      </a:lnTo>
                      <a:lnTo>
                        <a:pt x="328" y="1076"/>
                      </a:lnTo>
                      <a:lnTo>
                        <a:pt x="306" y="1093"/>
                      </a:lnTo>
                      <a:lnTo>
                        <a:pt x="297" y="1098"/>
                      </a:lnTo>
                      <a:lnTo>
                        <a:pt x="288" y="1102"/>
                      </a:lnTo>
                      <a:lnTo>
                        <a:pt x="293" y="1124"/>
                      </a:lnTo>
                      <a:lnTo>
                        <a:pt x="283" y="1137"/>
                      </a:lnTo>
                      <a:lnTo>
                        <a:pt x="270" y="1164"/>
                      </a:lnTo>
                      <a:lnTo>
                        <a:pt x="275" y="1191"/>
                      </a:lnTo>
                      <a:lnTo>
                        <a:pt x="265" y="1230"/>
                      </a:lnTo>
                      <a:lnTo>
                        <a:pt x="257" y="1248"/>
                      </a:lnTo>
                      <a:lnTo>
                        <a:pt x="257" y="1274"/>
                      </a:lnTo>
                      <a:lnTo>
                        <a:pt x="244" y="1292"/>
                      </a:lnTo>
                      <a:lnTo>
                        <a:pt x="226" y="1323"/>
                      </a:lnTo>
                      <a:lnTo>
                        <a:pt x="221" y="1346"/>
                      </a:lnTo>
                      <a:lnTo>
                        <a:pt x="190" y="1341"/>
                      </a:lnTo>
                      <a:lnTo>
                        <a:pt x="159" y="1341"/>
                      </a:lnTo>
                      <a:lnTo>
                        <a:pt x="156" y="1354"/>
                      </a:lnTo>
                      <a:lnTo>
                        <a:pt x="138" y="1359"/>
                      </a:lnTo>
                      <a:lnTo>
                        <a:pt x="128" y="1364"/>
                      </a:lnTo>
                      <a:lnTo>
                        <a:pt x="133" y="1378"/>
                      </a:lnTo>
                      <a:lnTo>
                        <a:pt x="128" y="1401"/>
                      </a:lnTo>
                      <a:lnTo>
                        <a:pt x="107" y="1414"/>
                      </a:lnTo>
                      <a:lnTo>
                        <a:pt x="94" y="1401"/>
                      </a:lnTo>
                      <a:lnTo>
                        <a:pt x="76" y="1414"/>
                      </a:lnTo>
                      <a:lnTo>
                        <a:pt x="53" y="1414"/>
                      </a:lnTo>
                      <a:lnTo>
                        <a:pt x="45" y="1401"/>
                      </a:lnTo>
                      <a:lnTo>
                        <a:pt x="53" y="1391"/>
                      </a:lnTo>
                      <a:lnTo>
                        <a:pt x="58" y="1367"/>
                      </a:lnTo>
                      <a:lnTo>
                        <a:pt x="40" y="1333"/>
                      </a:lnTo>
                      <a:lnTo>
                        <a:pt x="31" y="1315"/>
                      </a:lnTo>
                      <a:lnTo>
                        <a:pt x="36" y="1305"/>
                      </a:lnTo>
                      <a:lnTo>
                        <a:pt x="45" y="1305"/>
                      </a:lnTo>
                      <a:lnTo>
                        <a:pt x="49" y="1297"/>
                      </a:lnTo>
                      <a:lnTo>
                        <a:pt x="53" y="1287"/>
                      </a:lnTo>
                      <a:lnTo>
                        <a:pt x="58" y="1279"/>
                      </a:lnTo>
                      <a:lnTo>
                        <a:pt x="53" y="1271"/>
                      </a:lnTo>
                      <a:lnTo>
                        <a:pt x="45" y="1253"/>
                      </a:lnTo>
                      <a:lnTo>
                        <a:pt x="27" y="1226"/>
                      </a:lnTo>
                      <a:lnTo>
                        <a:pt x="31" y="1199"/>
                      </a:lnTo>
                      <a:lnTo>
                        <a:pt x="18" y="1178"/>
                      </a:lnTo>
                      <a:lnTo>
                        <a:pt x="5" y="1164"/>
                      </a:lnTo>
                      <a:lnTo>
                        <a:pt x="14" y="1142"/>
                      </a:lnTo>
                      <a:lnTo>
                        <a:pt x="23" y="1098"/>
                      </a:lnTo>
                      <a:lnTo>
                        <a:pt x="5" y="1076"/>
                      </a:lnTo>
                      <a:lnTo>
                        <a:pt x="0" y="1053"/>
                      </a:lnTo>
                      <a:lnTo>
                        <a:pt x="0" y="1040"/>
                      </a:lnTo>
                      <a:lnTo>
                        <a:pt x="9" y="1014"/>
                      </a:lnTo>
                      <a:lnTo>
                        <a:pt x="23" y="1018"/>
                      </a:lnTo>
                      <a:lnTo>
                        <a:pt x="36" y="983"/>
                      </a:lnTo>
                      <a:lnTo>
                        <a:pt x="36" y="942"/>
                      </a:lnTo>
                      <a:lnTo>
                        <a:pt x="40" y="929"/>
                      </a:lnTo>
                      <a:lnTo>
                        <a:pt x="58" y="916"/>
                      </a:lnTo>
                      <a:lnTo>
                        <a:pt x="84" y="898"/>
                      </a:lnTo>
                      <a:lnTo>
                        <a:pt x="84" y="877"/>
                      </a:lnTo>
                      <a:lnTo>
                        <a:pt x="80" y="810"/>
                      </a:lnTo>
                      <a:lnTo>
                        <a:pt x="71" y="802"/>
                      </a:lnTo>
                      <a:lnTo>
                        <a:pt x="71" y="784"/>
                      </a:lnTo>
                      <a:lnTo>
                        <a:pt x="94" y="774"/>
                      </a:lnTo>
                      <a:lnTo>
                        <a:pt x="102" y="766"/>
                      </a:lnTo>
                      <a:lnTo>
                        <a:pt x="89" y="739"/>
                      </a:lnTo>
                      <a:lnTo>
                        <a:pt x="71" y="713"/>
                      </a:lnTo>
                      <a:lnTo>
                        <a:pt x="76" y="683"/>
                      </a:lnTo>
                      <a:lnTo>
                        <a:pt x="80" y="662"/>
                      </a:lnTo>
                      <a:lnTo>
                        <a:pt x="98" y="623"/>
                      </a:lnTo>
                      <a:lnTo>
                        <a:pt x="98" y="605"/>
                      </a:lnTo>
                      <a:lnTo>
                        <a:pt x="98" y="569"/>
                      </a:lnTo>
                      <a:lnTo>
                        <a:pt x="111" y="538"/>
                      </a:lnTo>
                      <a:lnTo>
                        <a:pt x="133" y="520"/>
                      </a:lnTo>
                      <a:lnTo>
                        <a:pt x="156" y="507"/>
                      </a:lnTo>
                      <a:lnTo>
                        <a:pt x="177" y="512"/>
                      </a:lnTo>
                      <a:lnTo>
                        <a:pt x="200" y="520"/>
                      </a:lnTo>
                      <a:lnTo>
                        <a:pt x="208" y="489"/>
                      </a:lnTo>
                      <a:lnTo>
                        <a:pt x="200" y="463"/>
                      </a:lnTo>
                      <a:lnTo>
                        <a:pt x="190" y="445"/>
                      </a:lnTo>
                      <a:lnTo>
                        <a:pt x="187" y="432"/>
                      </a:lnTo>
                      <a:lnTo>
                        <a:pt x="190" y="418"/>
                      </a:lnTo>
                      <a:lnTo>
                        <a:pt x="205" y="414"/>
                      </a:lnTo>
                      <a:lnTo>
                        <a:pt x="208" y="384"/>
                      </a:lnTo>
                      <a:lnTo>
                        <a:pt x="218" y="356"/>
                      </a:lnTo>
                      <a:lnTo>
                        <a:pt x="221" y="335"/>
                      </a:lnTo>
                      <a:lnTo>
                        <a:pt x="221" y="312"/>
                      </a:lnTo>
                      <a:lnTo>
                        <a:pt x="234" y="291"/>
                      </a:lnTo>
                      <a:lnTo>
                        <a:pt x="262" y="273"/>
                      </a:lnTo>
                      <a:lnTo>
                        <a:pt x="280" y="268"/>
                      </a:lnTo>
                      <a:lnTo>
                        <a:pt x="280" y="247"/>
                      </a:lnTo>
                      <a:lnTo>
                        <a:pt x="288" y="232"/>
                      </a:lnTo>
                      <a:lnTo>
                        <a:pt x="306" y="211"/>
                      </a:lnTo>
                      <a:lnTo>
                        <a:pt x="324" y="198"/>
                      </a:lnTo>
                      <a:lnTo>
                        <a:pt x="314" y="159"/>
                      </a:lnTo>
                      <a:lnTo>
                        <a:pt x="348" y="122"/>
                      </a:lnTo>
                      <a:lnTo>
                        <a:pt x="355" y="107"/>
                      </a:lnTo>
                      <a:lnTo>
                        <a:pt x="379" y="102"/>
                      </a:lnTo>
                      <a:lnTo>
                        <a:pt x="394" y="82"/>
                      </a:lnTo>
                      <a:lnTo>
                        <a:pt x="394" y="69"/>
                      </a:lnTo>
                      <a:lnTo>
                        <a:pt x="410" y="53"/>
                      </a:lnTo>
                      <a:lnTo>
                        <a:pt x="439" y="50"/>
                      </a:lnTo>
                      <a:lnTo>
                        <a:pt x="472" y="50"/>
                      </a:lnTo>
                      <a:lnTo>
                        <a:pt x="498" y="25"/>
                      </a:lnTo>
                      <a:lnTo>
                        <a:pt x="493" y="0"/>
                      </a:lnTo>
                    </a:path>
                  </a:pathLst>
                </a:custGeom>
                <a:ln>
                  <a:headEnd/>
                  <a:tailEnd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s-ES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</p:grpSp>
        <p:grpSp>
          <p:nvGrpSpPr>
            <p:cNvPr id="58" name="Group 56"/>
            <p:cNvGrpSpPr>
              <a:grpSpLocks/>
            </p:cNvGrpSpPr>
            <p:nvPr/>
          </p:nvGrpSpPr>
          <p:grpSpPr bwMode="auto">
            <a:xfrm>
              <a:off x="2243" y="1351"/>
              <a:ext cx="152" cy="165"/>
              <a:chOff x="2243" y="1351"/>
              <a:chExt cx="152" cy="165"/>
            </a:xfrm>
          </p:grpSpPr>
          <p:grpSp>
            <p:nvGrpSpPr>
              <p:cNvPr id="59" name="Group 57"/>
              <p:cNvGrpSpPr>
                <a:grpSpLocks/>
              </p:cNvGrpSpPr>
              <p:nvPr/>
            </p:nvGrpSpPr>
            <p:grpSpPr bwMode="auto">
              <a:xfrm>
                <a:off x="2323" y="1400"/>
                <a:ext cx="72" cy="116"/>
                <a:chOff x="2323" y="1400"/>
                <a:chExt cx="72" cy="116"/>
              </a:xfrm>
            </p:grpSpPr>
            <p:sp>
              <p:nvSpPr>
                <p:cNvPr id="61" name="Freeform 58"/>
                <p:cNvSpPr>
                  <a:spLocks/>
                </p:cNvSpPr>
                <p:nvPr/>
              </p:nvSpPr>
              <p:spPr bwMode="auto">
                <a:xfrm>
                  <a:off x="2323" y="1400"/>
                  <a:ext cx="72" cy="116"/>
                </a:xfrm>
                <a:custGeom>
                  <a:avLst/>
                  <a:gdLst/>
                  <a:ahLst/>
                  <a:cxnLst>
                    <a:cxn ang="0">
                      <a:pos x="63" y="0"/>
                    </a:cxn>
                    <a:cxn ang="0">
                      <a:pos x="63" y="21"/>
                    </a:cxn>
                    <a:cxn ang="0">
                      <a:pos x="72" y="38"/>
                    </a:cxn>
                    <a:cxn ang="0">
                      <a:pos x="63" y="59"/>
                    </a:cxn>
                    <a:cxn ang="0">
                      <a:pos x="51" y="75"/>
                    </a:cxn>
                    <a:cxn ang="0">
                      <a:pos x="29" y="96"/>
                    </a:cxn>
                    <a:cxn ang="0">
                      <a:pos x="11" y="116"/>
                    </a:cxn>
                    <a:cxn ang="0">
                      <a:pos x="0" y="96"/>
                    </a:cxn>
                    <a:cxn ang="0">
                      <a:pos x="7" y="87"/>
                    </a:cxn>
                    <a:cxn ang="0">
                      <a:pos x="29" y="65"/>
                    </a:cxn>
                    <a:cxn ang="0">
                      <a:pos x="28" y="52"/>
                    </a:cxn>
                    <a:cxn ang="0">
                      <a:pos x="38" y="34"/>
                    </a:cxn>
                    <a:cxn ang="0">
                      <a:pos x="65" y="11"/>
                    </a:cxn>
                    <a:cxn ang="0">
                      <a:pos x="65" y="18"/>
                    </a:cxn>
                    <a:cxn ang="0">
                      <a:pos x="69" y="29"/>
                    </a:cxn>
                    <a:cxn ang="0">
                      <a:pos x="63" y="0"/>
                    </a:cxn>
                  </a:cxnLst>
                  <a:rect l="0" t="0" r="r" b="b"/>
                  <a:pathLst>
                    <a:path w="72" h="116">
                      <a:moveTo>
                        <a:pt x="63" y="0"/>
                      </a:moveTo>
                      <a:lnTo>
                        <a:pt x="63" y="21"/>
                      </a:lnTo>
                      <a:lnTo>
                        <a:pt x="72" y="38"/>
                      </a:lnTo>
                      <a:lnTo>
                        <a:pt x="63" y="59"/>
                      </a:lnTo>
                      <a:lnTo>
                        <a:pt x="51" y="75"/>
                      </a:lnTo>
                      <a:lnTo>
                        <a:pt x="29" y="96"/>
                      </a:lnTo>
                      <a:lnTo>
                        <a:pt x="11" y="116"/>
                      </a:lnTo>
                      <a:lnTo>
                        <a:pt x="0" y="96"/>
                      </a:lnTo>
                      <a:lnTo>
                        <a:pt x="7" y="87"/>
                      </a:lnTo>
                      <a:lnTo>
                        <a:pt x="29" y="65"/>
                      </a:lnTo>
                      <a:lnTo>
                        <a:pt x="28" y="52"/>
                      </a:lnTo>
                      <a:lnTo>
                        <a:pt x="38" y="34"/>
                      </a:lnTo>
                      <a:lnTo>
                        <a:pt x="65" y="11"/>
                      </a:lnTo>
                      <a:lnTo>
                        <a:pt x="65" y="18"/>
                      </a:lnTo>
                      <a:lnTo>
                        <a:pt x="69" y="29"/>
                      </a:lnTo>
                      <a:lnTo>
                        <a:pt x="63" y="0"/>
                      </a:lnTo>
                      <a:close/>
                    </a:path>
                  </a:pathLst>
                </a:custGeom>
                <a:ln>
                  <a:headEnd/>
                  <a:tailEnd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s-ES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62" name="Freeform 59"/>
                <p:cNvSpPr>
                  <a:spLocks/>
                </p:cNvSpPr>
                <p:nvPr/>
              </p:nvSpPr>
              <p:spPr bwMode="auto">
                <a:xfrm>
                  <a:off x="2323" y="1400"/>
                  <a:ext cx="72" cy="116"/>
                </a:xfrm>
                <a:custGeom>
                  <a:avLst/>
                  <a:gdLst/>
                  <a:ahLst/>
                  <a:cxnLst>
                    <a:cxn ang="0">
                      <a:pos x="63" y="0"/>
                    </a:cxn>
                    <a:cxn ang="0">
                      <a:pos x="63" y="21"/>
                    </a:cxn>
                    <a:cxn ang="0">
                      <a:pos x="72" y="38"/>
                    </a:cxn>
                    <a:cxn ang="0">
                      <a:pos x="63" y="59"/>
                    </a:cxn>
                    <a:cxn ang="0">
                      <a:pos x="51" y="75"/>
                    </a:cxn>
                    <a:cxn ang="0">
                      <a:pos x="29" y="96"/>
                    </a:cxn>
                    <a:cxn ang="0">
                      <a:pos x="11" y="116"/>
                    </a:cxn>
                    <a:cxn ang="0">
                      <a:pos x="0" y="96"/>
                    </a:cxn>
                    <a:cxn ang="0">
                      <a:pos x="7" y="87"/>
                    </a:cxn>
                    <a:cxn ang="0">
                      <a:pos x="29" y="65"/>
                    </a:cxn>
                    <a:cxn ang="0">
                      <a:pos x="28" y="52"/>
                    </a:cxn>
                    <a:cxn ang="0">
                      <a:pos x="38" y="34"/>
                    </a:cxn>
                    <a:cxn ang="0">
                      <a:pos x="65" y="11"/>
                    </a:cxn>
                    <a:cxn ang="0">
                      <a:pos x="65" y="18"/>
                    </a:cxn>
                    <a:cxn ang="0">
                      <a:pos x="69" y="29"/>
                    </a:cxn>
                  </a:cxnLst>
                  <a:rect l="0" t="0" r="r" b="b"/>
                  <a:pathLst>
                    <a:path w="72" h="116">
                      <a:moveTo>
                        <a:pt x="63" y="0"/>
                      </a:moveTo>
                      <a:lnTo>
                        <a:pt x="63" y="21"/>
                      </a:lnTo>
                      <a:lnTo>
                        <a:pt x="72" y="38"/>
                      </a:lnTo>
                      <a:lnTo>
                        <a:pt x="63" y="59"/>
                      </a:lnTo>
                      <a:lnTo>
                        <a:pt x="51" y="75"/>
                      </a:lnTo>
                      <a:lnTo>
                        <a:pt x="29" y="96"/>
                      </a:lnTo>
                      <a:lnTo>
                        <a:pt x="11" y="116"/>
                      </a:lnTo>
                      <a:lnTo>
                        <a:pt x="0" y="96"/>
                      </a:lnTo>
                      <a:lnTo>
                        <a:pt x="7" y="87"/>
                      </a:lnTo>
                      <a:lnTo>
                        <a:pt x="29" y="65"/>
                      </a:lnTo>
                      <a:lnTo>
                        <a:pt x="28" y="52"/>
                      </a:lnTo>
                      <a:lnTo>
                        <a:pt x="38" y="34"/>
                      </a:lnTo>
                      <a:lnTo>
                        <a:pt x="65" y="11"/>
                      </a:lnTo>
                      <a:lnTo>
                        <a:pt x="65" y="18"/>
                      </a:lnTo>
                      <a:lnTo>
                        <a:pt x="69" y="29"/>
                      </a:lnTo>
                    </a:path>
                  </a:pathLst>
                </a:custGeom>
                <a:ln>
                  <a:headEnd/>
                  <a:tailEnd/>
                </a:ln>
              </p:spPr>
              <p:style>
                <a:lnRef idx="2">
                  <a:schemeClr val="accent4">
                    <a:shade val="50000"/>
                  </a:schemeClr>
                </a:lnRef>
                <a:fillRef idx="1">
                  <a:schemeClr val="accent4"/>
                </a:fillRef>
                <a:effectRef idx="0">
                  <a:schemeClr val="accent4"/>
                </a:effectRef>
                <a:fontRef idx="minor">
                  <a:schemeClr val="lt1"/>
                </a:fontRef>
              </p:style>
              <p:txBody>
                <a:bodyPr/>
                <a:lstStyle/>
                <a:p>
                  <a:endParaRPr lang="es-ES"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  <p:sp>
            <p:nvSpPr>
              <p:cNvPr id="60" name="Freeform 60"/>
              <p:cNvSpPr>
                <a:spLocks/>
              </p:cNvSpPr>
              <p:nvPr/>
            </p:nvSpPr>
            <p:spPr bwMode="auto">
              <a:xfrm>
                <a:off x="2243" y="1351"/>
                <a:ext cx="91" cy="93"/>
              </a:xfrm>
              <a:custGeom>
                <a:avLst/>
                <a:gdLst/>
                <a:ahLst/>
                <a:cxnLst>
                  <a:cxn ang="0">
                    <a:pos x="71" y="0"/>
                  </a:cxn>
                  <a:cxn ang="0">
                    <a:pos x="60" y="13"/>
                  </a:cxn>
                  <a:cxn ang="0">
                    <a:pos x="42" y="11"/>
                  </a:cxn>
                  <a:cxn ang="0">
                    <a:pos x="31" y="9"/>
                  </a:cxn>
                  <a:cxn ang="0">
                    <a:pos x="36" y="24"/>
                  </a:cxn>
                  <a:cxn ang="0">
                    <a:pos x="38" y="36"/>
                  </a:cxn>
                  <a:cxn ang="0">
                    <a:pos x="40" y="44"/>
                  </a:cxn>
                  <a:cxn ang="0">
                    <a:pos x="34" y="47"/>
                  </a:cxn>
                  <a:cxn ang="0">
                    <a:pos x="23" y="42"/>
                  </a:cxn>
                  <a:cxn ang="0">
                    <a:pos x="23" y="36"/>
                  </a:cxn>
                  <a:cxn ang="0">
                    <a:pos x="13" y="36"/>
                  </a:cxn>
                  <a:cxn ang="0">
                    <a:pos x="16" y="47"/>
                  </a:cxn>
                  <a:cxn ang="0">
                    <a:pos x="11" y="58"/>
                  </a:cxn>
                  <a:cxn ang="0">
                    <a:pos x="0" y="73"/>
                  </a:cxn>
                  <a:cxn ang="0">
                    <a:pos x="5" y="86"/>
                  </a:cxn>
                  <a:cxn ang="0">
                    <a:pos x="16" y="93"/>
                  </a:cxn>
                  <a:cxn ang="0">
                    <a:pos x="26" y="86"/>
                  </a:cxn>
                  <a:cxn ang="0">
                    <a:pos x="40" y="78"/>
                  </a:cxn>
                  <a:cxn ang="0">
                    <a:pos x="65" y="71"/>
                  </a:cxn>
                  <a:cxn ang="0">
                    <a:pos x="75" y="73"/>
                  </a:cxn>
                  <a:cxn ang="0">
                    <a:pos x="71" y="58"/>
                  </a:cxn>
                  <a:cxn ang="0">
                    <a:pos x="80" y="49"/>
                  </a:cxn>
                  <a:cxn ang="0">
                    <a:pos x="91" y="34"/>
                  </a:cxn>
                  <a:cxn ang="0">
                    <a:pos x="86" y="24"/>
                  </a:cxn>
                  <a:cxn ang="0">
                    <a:pos x="78" y="13"/>
                  </a:cxn>
                  <a:cxn ang="0">
                    <a:pos x="71" y="0"/>
                  </a:cxn>
                </a:cxnLst>
                <a:rect l="0" t="0" r="r" b="b"/>
                <a:pathLst>
                  <a:path w="91" h="93">
                    <a:moveTo>
                      <a:pt x="71" y="0"/>
                    </a:moveTo>
                    <a:lnTo>
                      <a:pt x="60" y="13"/>
                    </a:lnTo>
                    <a:lnTo>
                      <a:pt x="42" y="11"/>
                    </a:lnTo>
                    <a:lnTo>
                      <a:pt x="31" y="9"/>
                    </a:lnTo>
                    <a:lnTo>
                      <a:pt x="36" y="24"/>
                    </a:lnTo>
                    <a:lnTo>
                      <a:pt x="38" y="36"/>
                    </a:lnTo>
                    <a:lnTo>
                      <a:pt x="40" y="44"/>
                    </a:lnTo>
                    <a:lnTo>
                      <a:pt x="34" y="47"/>
                    </a:lnTo>
                    <a:lnTo>
                      <a:pt x="23" y="42"/>
                    </a:lnTo>
                    <a:lnTo>
                      <a:pt x="23" y="36"/>
                    </a:lnTo>
                    <a:lnTo>
                      <a:pt x="13" y="36"/>
                    </a:lnTo>
                    <a:lnTo>
                      <a:pt x="16" y="47"/>
                    </a:lnTo>
                    <a:lnTo>
                      <a:pt x="11" y="58"/>
                    </a:lnTo>
                    <a:lnTo>
                      <a:pt x="0" y="73"/>
                    </a:lnTo>
                    <a:lnTo>
                      <a:pt x="5" y="86"/>
                    </a:lnTo>
                    <a:lnTo>
                      <a:pt x="16" y="93"/>
                    </a:lnTo>
                    <a:lnTo>
                      <a:pt x="26" y="86"/>
                    </a:lnTo>
                    <a:lnTo>
                      <a:pt x="40" y="78"/>
                    </a:lnTo>
                    <a:lnTo>
                      <a:pt x="65" y="71"/>
                    </a:lnTo>
                    <a:lnTo>
                      <a:pt x="75" y="73"/>
                    </a:lnTo>
                    <a:lnTo>
                      <a:pt x="71" y="58"/>
                    </a:lnTo>
                    <a:lnTo>
                      <a:pt x="80" y="49"/>
                    </a:lnTo>
                    <a:lnTo>
                      <a:pt x="91" y="34"/>
                    </a:lnTo>
                    <a:lnTo>
                      <a:pt x="86" y="24"/>
                    </a:lnTo>
                    <a:lnTo>
                      <a:pt x="78" y="13"/>
                    </a:lnTo>
                    <a:lnTo>
                      <a:pt x="71" y="0"/>
                    </a:lnTo>
                    <a:close/>
                  </a:path>
                </a:pathLst>
              </a:custGeom>
              <a:ln>
                <a:headEnd/>
                <a:tailEnd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s-ES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179512" y="2636341"/>
            <a:ext cx="1079798" cy="1152699"/>
            <a:chOff x="938" y="2110"/>
            <a:chExt cx="910" cy="1079"/>
          </a:xfrm>
        </p:grpSpPr>
        <p:sp>
          <p:nvSpPr>
            <p:cNvPr id="215051" name="Freeform 11"/>
            <p:cNvSpPr>
              <a:spLocks/>
            </p:cNvSpPr>
            <p:nvPr/>
          </p:nvSpPr>
          <p:spPr bwMode="auto">
            <a:xfrm>
              <a:off x="1768" y="3045"/>
              <a:ext cx="80" cy="144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54" y="31"/>
                </a:cxn>
                <a:cxn ang="0">
                  <a:pos x="23" y="31"/>
                </a:cxn>
                <a:cxn ang="0">
                  <a:pos x="0" y="49"/>
                </a:cxn>
                <a:cxn ang="0">
                  <a:pos x="5" y="73"/>
                </a:cxn>
                <a:cxn ang="0">
                  <a:pos x="5" y="113"/>
                </a:cxn>
                <a:cxn ang="0">
                  <a:pos x="23" y="144"/>
                </a:cxn>
                <a:cxn ang="0">
                  <a:pos x="44" y="136"/>
                </a:cxn>
                <a:cxn ang="0">
                  <a:pos x="49" y="118"/>
                </a:cxn>
                <a:cxn ang="0">
                  <a:pos x="72" y="77"/>
                </a:cxn>
                <a:cxn ang="0">
                  <a:pos x="72" y="56"/>
                </a:cxn>
                <a:cxn ang="0">
                  <a:pos x="80" y="0"/>
                </a:cxn>
              </a:cxnLst>
              <a:rect l="0" t="0" r="r" b="b"/>
              <a:pathLst>
                <a:path w="80" h="144">
                  <a:moveTo>
                    <a:pt x="80" y="0"/>
                  </a:moveTo>
                  <a:lnTo>
                    <a:pt x="54" y="31"/>
                  </a:lnTo>
                  <a:lnTo>
                    <a:pt x="23" y="31"/>
                  </a:lnTo>
                  <a:lnTo>
                    <a:pt x="0" y="49"/>
                  </a:lnTo>
                  <a:lnTo>
                    <a:pt x="5" y="73"/>
                  </a:lnTo>
                  <a:lnTo>
                    <a:pt x="5" y="113"/>
                  </a:lnTo>
                  <a:lnTo>
                    <a:pt x="23" y="144"/>
                  </a:lnTo>
                  <a:lnTo>
                    <a:pt x="44" y="136"/>
                  </a:lnTo>
                  <a:lnTo>
                    <a:pt x="49" y="118"/>
                  </a:lnTo>
                  <a:lnTo>
                    <a:pt x="72" y="77"/>
                  </a:lnTo>
                  <a:lnTo>
                    <a:pt x="72" y="56"/>
                  </a:lnTo>
                  <a:lnTo>
                    <a:pt x="8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5052" name="Freeform 12"/>
            <p:cNvSpPr>
              <a:spLocks/>
            </p:cNvSpPr>
            <p:nvPr/>
          </p:nvSpPr>
          <p:spPr bwMode="auto">
            <a:xfrm>
              <a:off x="938" y="2110"/>
              <a:ext cx="910" cy="890"/>
            </a:xfrm>
            <a:custGeom>
              <a:avLst/>
              <a:gdLst/>
              <a:ahLst/>
              <a:cxnLst>
                <a:cxn ang="0">
                  <a:pos x="13" y="173"/>
                </a:cxn>
                <a:cxn ang="0">
                  <a:pos x="16" y="208"/>
                </a:cxn>
                <a:cxn ang="0">
                  <a:pos x="89" y="264"/>
                </a:cxn>
                <a:cxn ang="0">
                  <a:pos x="146" y="299"/>
                </a:cxn>
                <a:cxn ang="0">
                  <a:pos x="140" y="345"/>
                </a:cxn>
                <a:cxn ang="0">
                  <a:pos x="173" y="416"/>
                </a:cxn>
                <a:cxn ang="0">
                  <a:pos x="189" y="511"/>
                </a:cxn>
                <a:cxn ang="0">
                  <a:pos x="158" y="511"/>
                </a:cxn>
                <a:cxn ang="0">
                  <a:pos x="138" y="560"/>
                </a:cxn>
                <a:cxn ang="0">
                  <a:pos x="117" y="609"/>
                </a:cxn>
                <a:cxn ang="0">
                  <a:pos x="68" y="695"/>
                </a:cxn>
                <a:cxn ang="0">
                  <a:pos x="71" y="737"/>
                </a:cxn>
                <a:cxn ang="0">
                  <a:pos x="193" y="817"/>
                </a:cxn>
                <a:cxn ang="0">
                  <a:pos x="296" y="866"/>
                </a:cxn>
                <a:cxn ang="0">
                  <a:pos x="387" y="890"/>
                </a:cxn>
                <a:cxn ang="0">
                  <a:pos x="421" y="822"/>
                </a:cxn>
                <a:cxn ang="0">
                  <a:pos x="503" y="792"/>
                </a:cxn>
                <a:cxn ang="0">
                  <a:pos x="563" y="823"/>
                </a:cxn>
                <a:cxn ang="0">
                  <a:pos x="645" y="866"/>
                </a:cxn>
                <a:cxn ang="0">
                  <a:pos x="720" y="848"/>
                </a:cxn>
                <a:cxn ang="0">
                  <a:pos x="775" y="790"/>
                </a:cxn>
                <a:cxn ang="0">
                  <a:pos x="742" y="765"/>
                </a:cxn>
                <a:cxn ang="0">
                  <a:pos x="736" y="684"/>
                </a:cxn>
                <a:cxn ang="0">
                  <a:pos x="757" y="609"/>
                </a:cxn>
                <a:cxn ang="0">
                  <a:pos x="757" y="540"/>
                </a:cxn>
                <a:cxn ang="0">
                  <a:pos x="718" y="542"/>
                </a:cxn>
                <a:cxn ang="0">
                  <a:pos x="700" y="531"/>
                </a:cxn>
                <a:cxn ang="0">
                  <a:pos x="742" y="483"/>
                </a:cxn>
                <a:cxn ang="0">
                  <a:pos x="806" y="420"/>
                </a:cxn>
                <a:cxn ang="0">
                  <a:pos x="840" y="389"/>
                </a:cxn>
                <a:cxn ang="0">
                  <a:pos x="866" y="330"/>
                </a:cxn>
                <a:cxn ang="0">
                  <a:pos x="910" y="280"/>
                </a:cxn>
                <a:cxn ang="0">
                  <a:pos x="857" y="255"/>
                </a:cxn>
                <a:cxn ang="0">
                  <a:pos x="795" y="233"/>
                </a:cxn>
                <a:cxn ang="0">
                  <a:pos x="752" y="195"/>
                </a:cxn>
                <a:cxn ang="0">
                  <a:pos x="693" y="142"/>
                </a:cxn>
                <a:cxn ang="0">
                  <a:pos x="643" y="91"/>
                </a:cxn>
                <a:cxn ang="0">
                  <a:pos x="607" y="36"/>
                </a:cxn>
                <a:cxn ang="0">
                  <a:pos x="529" y="3"/>
                </a:cxn>
                <a:cxn ang="0">
                  <a:pos x="496" y="42"/>
                </a:cxn>
                <a:cxn ang="0">
                  <a:pos x="379" y="104"/>
                </a:cxn>
                <a:cxn ang="0">
                  <a:pos x="317" y="125"/>
                </a:cxn>
                <a:cxn ang="0">
                  <a:pos x="262" y="93"/>
                </a:cxn>
                <a:cxn ang="0">
                  <a:pos x="237" y="67"/>
                </a:cxn>
                <a:cxn ang="0">
                  <a:pos x="244" y="99"/>
                </a:cxn>
                <a:cxn ang="0">
                  <a:pos x="236" y="135"/>
                </a:cxn>
                <a:cxn ang="0">
                  <a:pos x="218" y="164"/>
                </a:cxn>
                <a:cxn ang="0">
                  <a:pos x="169" y="151"/>
                </a:cxn>
                <a:cxn ang="0">
                  <a:pos x="111" y="115"/>
                </a:cxn>
                <a:cxn ang="0">
                  <a:pos x="71" y="129"/>
                </a:cxn>
              </a:cxnLst>
              <a:rect l="0" t="0" r="r" b="b"/>
              <a:pathLst>
                <a:path w="910" h="890">
                  <a:moveTo>
                    <a:pt x="16" y="127"/>
                  </a:moveTo>
                  <a:lnTo>
                    <a:pt x="24" y="148"/>
                  </a:lnTo>
                  <a:lnTo>
                    <a:pt x="16" y="166"/>
                  </a:lnTo>
                  <a:lnTo>
                    <a:pt x="13" y="173"/>
                  </a:lnTo>
                  <a:lnTo>
                    <a:pt x="0" y="169"/>
                  </a:lnTo>
                  <a:lnTo>
                    <a:pt x="5" y="179"/>
                  </a:lnTo>
                  <a:lnTo>
                    <a:pt x="5" y="190"/>
                  </a:lnTo>
                  <a:lnTo>
                    <a:pt x="16" y="208"/>
                  </a:lnTo>
                  <a:lnTo>
                    <a:pt x="36" y="202"/>
                  </a:lnTo>
                  <a:lnTo>
                    <a:pt x="62" y="231"/>
                  </a:lnTo>
                  <a:lnTo>
                    <a:pt x="73" y="250"/>
                  </a:lnTo>
                  <a:lnTo>
                    <a:pt x="89" y="264"/>
                  </a:lnTo>
                  <a:lnTo>
                    <a:pt x="109" y="264"/>
                  </a:lnTo>
                  <a:lnTo>
                    <a:pt x="117" y="281"/>
                  </a:lnTo>
                  <a:lnTo>
                    <a:pt x="135" y="296"/>
                  </a:lnTo>
                  <a:lnTo>
                    <a:pt x="146" y="299"/>
                  </a:lnTo>
                  <a:lnTo>
                    <a:pt x="148" y="305"/>
                  </a:lnTo>
                  <a:lnTo>
                    <a:pt x="142" y="319"/>
                  </a:lnTo>
                  <a:lnTo>
                    <a:pt x="142" y="332"/>
                  </a:lnTo>
                  <a:lnTo>
                    <a:pt x="140" y="345"/>
                  </a:lnTo>
                  <a:lnTo>
                    <a:pt x="135" y="368"/>
                  </a:lnTo>
                  <a:lnTo>
                    <a:pt x="153" y="389"/>
                  </a:lnTo>
                  <a:lnTo>
                    <a:pt x="173" y="405"/>
                  </a:lnTo>
                  <a:lnTo>
                    <a:pt x="173" y="416"/>
                  </a:lnTo>
                  <a:lnTo>
                    <a:pt x="171" y="454"/>
                  </a:lnTo>
                  <a:lnTo>
                    <a:pt x="166" y="485"/>
                  </a:lnTo>
                  <a:lnTo>
                    <a:pt x="171" y="498"/>
                  </a:lnTo>
                  <a:lnTo>
                    <a:pt x="189" y="511"/>
                  </a:lnTo>
                  <a:lnTo>
                    <a:pt x="189" y="537"/>
                  </a:lnTo>
                  <a:lnTo>
                    <a:pt x="189" y="555"/>
                  </a:lnTo>
                  <a:lnTo>
                    <a:pt x="169" y="529"/>
                  </a:lnTo>
                  <a:lnTo>
                    <a:pt x="158" y="511"/>
                  </a:lnTo>
                  <a:lnTo>
                    <a:pt x="151" y="516"/>
                  </a:lnTo>
                  <a:lnTo>
                    <a:pt x="156" y="529"/>
                  </a:lnTo>
                  <a:lnTo>
                    <a:pt x="148" y="545"/>
                  </a:lnTo>
                  <a:lnTo>
                    <a:pt x="138" y="560"/>
                  </a:lnTo>
                  <a:lnTo>
                    <a:pt x="130" y="571"/>
                  </a:lnTo>
                  <a:lnTo>
                    <a:pt x="140" y="582"/>
                  </a:lnTo>
                  <a:lnTo>
                    <a:pt x="133" y="594"/>
                  </a:lnTo>
                  <a:lnTo>
                    <a:pt x="117" y="609"/>
                  </a:lnTo>
                  <a:lnTo>
                    <a:pt x="115" y="622"/>
                  </a:lnTo>
                  <a:lnTo>
                    <a:pt x="107" y="638"/>
                  </a:lnTo>
                  <a:lnTo>
                    <a:pt x="83" y="666"/>
                  </a:lnTo>
                  <a:lnTo>
                    <a:pt x="68" y="695"/>
                  </a:lnTo>
                  <a:lnTo>
                    <a:pt x="68" y="700"/>
                  </a:lnTo>
                  <a:lnTo>
                    <a:pt x="76" y="708"/>
                  </a:lnTo>
                  <a:lnTo>
                    <a:pt x="67" y="721"/>
                  </a:lnTo>
                  <a:lnTo>
                    <a:pt x="71" y="737"/>
                  </a:lnTo>
                  <a:lnTo>
                    <a:pt x="84" y="757"/>
                  </a:lnTo>
                  <a:lnTo>
                    <a:pt x="140" y="788"/>
                  </a:lnTo>
                  <a:lnTo>
                    <a:pt x="179" y="822"/>
                  </a:lnTo>
                  <a:lnTo>
                    <a:pt x="193" y="817"/>
                  </a:lnTo>
                  <a:lnTo>
                    <a:pt x="213" y="810"/>
                  </a:lnTo>
                  <a:lnTo>
                    <a:pt x="281" y="838"/>
                  </a:lnTo>
                  <a:lnTo>
                    <a:pt x="290" y="848"/>
                  </a:lnTo>
                  <a:lnTo>
                    <a:pt x="296" y="866"/>
                  </a:lnTo>
                  <a:lnTo>
                    <a:pt x="308" y="872"/>
                  </a:lnTo>
                  <a:lnTo>
                    <a:pt x="324" y="874"/>
                  </a:lnTo>
                  <a:lnTo>
                    <a:pt x="348" y="887"/>
                  </a:lnTo>
                  <a:lnTo>
                    <a:pt x="387" y="890"/>
                  </a:lnTo>
                  <a:lnTo>
                    <a:pt x="399" y="874"/>
                  </a:lnTo>
                  <a:lnTo>
                    <a:pt x="403" y="856"/>
                  </a:lnTo>
                  <a:lnTo>
                    <a:pt x="403" y="837"/>
                  </a:lnTo>
                  <a:lnTo>
                    <a:pt x="421" y="822"/>
                  </a:lnTo>
                  <a:lnTo>
                    <a:pt x="454" y="804"/>
                  </a:lnTo>
                  <a:lnTo>
                    <a:pt x="470" y="801"/>
                  </a:lnTo>
                  <a:lnTo>
                    <a:pt x="487" y="792"/>
                  </a:lnTo>
                  <a:lnTo>
                    <a:pt x="503" y="792"/>
                  </a:lnTo>
                  <a:lnTo>
                    <a:pt x="521" y="804"/>
                  </a:lnTo>
                  <a:lnTo>
                    <a:pt x="534" y="819"/>
                  </a:lnTo>
                  <a:lnTo>
                    <a:pt x="549" y="819"/>
                  </a:lnTo>
                  <a:lnTo>
                    <a:pt x="563" y="823"/>
                  </a:lnTo>
                  <a:lnTo>
                    <a:pt x="589" y="825"/>
                  </a:lnTo>
                  <a:lnTo>
                    <a:pt x="607" y="848"/>
                  </a:lnTo>
                  <a:lnTo>
                    <a:pt x="622" y="859"/>
                  </a:lnTo>
                  <a:lnTo>
                    <a:pt x="645" y="866"/>
                  </a:lnTo>
                  <a:lnTo>
                    <a:pt x="664" y="876"/>
                  </a:lnTo>
                  <a:lnTo>
                    <a:pt x="675" y="879"/>
                  </a:lnTo>
                  <a:lnTo>
                    <a:pt x="702" y="851"/>
                  </a:lnTo>
                  <a:lnTo>
                    <a:pt x="720" y="848"/>
                  </a:lnTo>
                  <a:lnTo>
                    <a:pt x="733" y="837"/>
                  </a:lnTo>
                  <a:lnTo>
                    <a:pt x="752" y="823"/>
                  </a:lnTo>
                  <a:lnTo>
                    <a:pt x="778" y="822"/>
                  </a:lnTo>
                  <a:lnTo>
                    <a:pt x="775" y="790"/>
                  </a:lnTo>
                  <a:lnTo>
                    <a:pt x="770" y="781"/>
                  </a:lnTo>
                  <a:lnTo>
                    <a:pt x="760" y="765"/>
                  </a:lnTo>
                  <a:lnTo>
                    <a:pt x="751" y="768"/>
                  </a:lnTo>
                  <a:lnTo>
                    <a:pt x="742" y="765"/>
                  </a:lnTo>
                  <a:lnTo>
                    <a:pt x="733" y="752"/>
                  </a:lnTo>
                  <a:lnTo>
                    <a:pt x="731" y="721"/>
                  </a:lnTo>
                  <a:lnTo>
                    <a:pt x="749" y="701"/>
                  </a:lnTo>
                  <a:lnTo>
                    <a:pt x="736" y="684"/>
                  </a:lnTo>
                  <a:lnTo>
                    <a:pt x="736" y="677"/>
                  </a:lnTo>
                  <a:lnTo>
                    <a:pt x="762" y="651"/>
                  </a:lnTo>
                  <a:lnTo>
                    <a:pt x="762" y="641"/>
                  </a:lnTo>
                  <a:lnTo>
                    <a:pt x="757" y="609"/>
                  </a:lnTo>
                  <a:lnTo>
                    <a:pt x="773" y="594"/>
                  </a:lnTo>
                  <a:lnTo>
                    <a:pt x="760" y="576"/>
                  </a:lnTo>
                  <a:lnTo>
                    <a:pt x="760" y="563"/>
                  </a:lnTo>
                  <a:lnTo>
                    <a:pt x="757" y="540"/>
                  </a:lnTo>
                  <a:lnTo>
                    <a:pt x="751" y="534"/>
                  </a:lnTo>
                  <a:lnTo>
                    <a:pt x="736" y="534"/>
                  </a:lnTo>
                  <a:lnTo>
                    <a:pt x="721" y="537"/>
                  </a:lnTo>
                  <a:lnTo>
                    <a:pt x="718" y="542"/>
                  </a:lnTo>
                  <a:lnTo>
                    <a:pt x="708" y="551"/>
                  </a:lnTo>
                  <a:lnTo>
                    <a:pt x="695" y="555"/>
                  </a:lnTo>
                  <a:lnTo>
                    <a:pt x="690" y="542"/>
                  </a:lnTo>
                  <a:lnTo>
                    <a:pt x="700" y="531"/>
                  </a:lnTo>
                  <a:lnTo>
                    <a:pt x="705" y="522"/>
                  </a:lnTo>
                  <a:lnTo>
                    <a:pt x="705" y="511"/>
                  </a:lnTo>
                  <a:lnTo>
                    <a:pt x="729" y="487"/>
                  </a:lnTo>
                  <a:lnTo>
                    <a:pt x="742" y="483"/>
                  </a:lnTo>
                  <a:lnTo>
                    <a:pt x="744" y="465"/>
                  </a:lnTo>
                  <a:lnTo>
                    <a:pt x="757" y="449"/>
                  </a:lnTo>
                  <a:lnTo>
                    <a:pt x="795" y="420"/>
                  </a:lnTo>
                  <a:lnTo>
                    <a:pt x="806" y="420"/>
                  </a:lnTo>
                  <a:lnTo>
                    <a:pt x="811" y="410"/>
                  </a:lnTo>
                  <a:lnTo>
                    <a:pt x="824" y="397"/>
                  </a:lnTo>
                  <a:lnTo>
                    <a:pt x="835" y="397"/>
                  </a:lnTo>
                  <a:lnTo>
                    <a:pt x="840" y="389"/>
                  </a:lnTo>
                  <a:lnTo>
                    <a:pt x="846" y="385"/>
                  </a:lnTo>
                  <a:lnTo>
                    <a:pt x="855" y="369"/>
                  </a:lnTo>
                  <a:lnTo>
                    <a:pt x="863" y="345"/>
                  </a:lnTo>
                  <a:lnTo>
                    <a:pt x="866" y="330"/>
                  </a:lnTo>
                  <a:lnTo>
                    <a:pt x="866" y="317"/>
                  </a:lnTo>
                  <a:lnTo>
                    <a:pt x="879" y="301"/>
                  </a:lnTo>
                  <a:lnTo>
                    <a:pt x="899" y="290"/>
                  </a:lnTo>
                  <a:lnTo>
                    <a:pt x="910" y="280"/>
                  </a:lnTo>
                  <a:lnTo>
                    <a:pt x="910" y="275"/>
                  </a:lnTo>
                  <a:lnTo>
                    <a:pt x="892" y="262"/>
                  </a:lnTo>
                  <a:lnTo>
                    <a:pt x="884" y="257"/>
                  </a:lnTo>
                  <a:lnTo>
                    <a:pt x="857" y="255"/>
                  </a:lnTo>
                  <a:lnTo>
                    <a:pt x="828" y="250"/>
                  </a:lnTo>
                  <a:lnTo>
                    <a:pt x="817" y="249"/>
                  </a:lnTo>
                  <a:lnTo>
                    <a:pt x="806" y="244"/>
                  </a:lnTo>
                  <a:lnTo>
                    <a:pt x="795" y="233"/>
                  </a:lnTo>
                  <a:lnTo>
                    <a:pt x="786" y="215"/>
                  </a:lnTo>
                  <a:lnTo>
                    <a:pt x="778" y="204"/>
                  </a:lnTo>
                  <a:lnTo>
                    <a:pt x="766" y="200"/>
                  </a:lnTo>
                  <a:lnTo>
                    <a:pt x="752" y="195"/>
                  </a:lnTo>
                  <a:lnTo>
                    <a:pt x="746" y="193"/>
                  </a:lnTo>
                  <a:lnTo>
                    <a:pt x="729" y="177"/>
                  </a:lnTo>
                  <a:lnTo>
                    <a:pt x="706" y="159"/>
                  </a:lnTo>
                  <a:lnTo>
                    <a:pt x="693" y="142"/>
                  </a:lnTo>
                  <a:lnTo>
                    <a:pt x="677" y="138"/>
                  </a:lnTo>
                  <a:lnTo>
                    <a:pt x="669" y="130"/>
                  </a:lnTo>
                  <a:lnTo>
                    <a:pt x="662" y="114"/>
                  </a:lnTo>
                  <a:lnTo>
                    <a:pt x="643" y="91"/>
                  </a:lnTo>
                  <a:lnTo>
                    <a:pt x="638" y="76"/>
                  </a:lnTo>
                  <a:lnTo>
                    <a:pt x="622" y="60"/>
                  </a:lnTo>
                  <a:lnTo>
                    <a:pt x="615" y="47"/>
                  </a:lnTo>
                  <a:lnTo>
                    <a:pt x="607" y="36"/>
                  </a:lnTo>
                  <a:lnTo>
                    <a:pt x="591" y="24"/>
                  </a:lnTo>
                  <a:lnTo>
                    <a:pt x="576" y="8"/>
                  </a:lnTo>
                  <a:lnTo>
                    <a:pt x="563" y="0"/>
                  </a:lnTo>
                  <a:lnTo>
                    <a:pt x="529" y="3"/>
                  </a:lnTo>
                  <a:lnTo>
                    <a:pt x="516" y="3"/>
                  </a:lnTo>
                  <a:lnTo>
                    <a:pt x="498" y="16"/>
                  </a:lnTo>
                  <a:lnTo>
                    <a:pt x="509" y="27"/>
                  </a:lnTo>
                  <a:lnTo>
                    <a:pt x="496" y="42"/>
                  </a:lnTo>
                  <a:lnTo>
                    <a:pt x="462" y="84"/>
                  </a:lnTo>
                  <a:lnTo>
                    <a:pt x="446" y="93"/>
                  </a:lnTo>
                  <a:lnTo>
                    <a:pt x="399" y="98"/>
                  </a:lnTo>
                  <a:lnTo>
                    <a:pt x="379" y="104"/>
                  </a:lnTo>
                  <a:lnTo>
                    <a:pt x="368" y="115"/>
                  </a:lnTo>
                  <a:lnTo>
                    <a:pt x="363" y="125"/>
                  </a:lnTo>
                  <a:lnTo>
                    <a:pt x="345" y="120"/>
                  </a:lnTo>
                  <a:lnTo>
                    <a:pt x="317" y="125"/>
                  </a:lnTo>
                  <a:lnTo>
                    <a:pt x="299" y="122"/>
                  </a:lnTo>
                  <a:lnTo>
                    <a:pt x="283" y="111"/>
                  </a:lnTo>
                  <a:lnTo>
                    <a:pt x="273" y="98"/>
                  </a:lnTo>
                  <a:lnTo>
                    <a:pt x="262" y="93"/>
                  </a:lnTo>
                  <a:lnTo>
                    <a:pt x="270" y="83"/>
                  </a:lnTo>
                  <a:lnTo>
                    <a:pt x="257" y="71"/>
                  </a:lnTo>
                  <a:lnTo>
                    <a:pt x="246" y="68"/>
                  </a:lnTo>
                  <a:lnTo>
                    <a:pt x="237" y="67"/>
                  </a:lnTo>
                  <a:lnTo>
                    <a:pt x="236" y="71"/>
                  </a:lnTo>
                  <a:lnTo>
                    <a:pt x="244" y="80"/>
                  </a:lnTo>
                  <a:lnTo>
                    <a:pt x="239" y="86"/>
                  </a:lnTo>
                  <a:lnTo>
                    <a:pt x="244" y="99"/>
                  </a:lnTo>
                  <a:lnTo>
                    <a:pt x="246" y="115"/>
                  </a:lnTo>
                  <a:lnTo>
                    <a:pt x="246" y="127"/>
                  </a:lnTo>
                  <a:lnTo>
                    <a:pt x="244" y="129"/>
                  </a:lnTo>
                  <a:lnTo>
                    <a:pt x="236" y="135"/>
                  </a:lnTo>
                  <a:lnTo>
                    <a:pt x="233" y="146"/>
                  </a:lnTo>
                  <a:lnTo>
                    <a:pt x="233" y="158"/>
                  </a:lnTo>
                  <a:lnTo>
                    <a:pt x="231" y="166"/>
                  </a:lnTo>
                  <a:lnTo>
                    <a:pt x="218" y="164"/>
                  </a:lnTo>
                  <a:lnTo>
                    <a:pt x="202" y="156"/>
                  </a:lnTo>
                  <a:lnTo>
                    <a:pt x="193" y="164"/>
                  </a:lnTo>
                  <a:lnTo>
                    <a:pt x="177" y="153"/>
                  </a:lnTo>
                  <a:lnTo>
                    <a:pt x="169" y="151"/>
                  </a:lnTo>
                  <a:lnTo>
                    <a:pt x="158" y="159"/>
                  </a:lnTo>
                  <a:lnTo>
                    <a:pt x="148" y="158"/>
                  </a:lnTo>
                  <a:lnTo>
                    <a:pt x="148" y="151"/>
                  </a:lnTo>
                  <a:lnTo>
                    <a:pt x="111" y="115"/>
                  </a:lnTo>
                  <a:lnTo>
                    <a:pt x="102" y="114"/>
                  </a:lnTo>
                  <a:lnTo>
                    <a:pt x="96" y="120"/>
                  </a:lnTo>
                  <a:lnTo>
                    <a:pt x="80" y="127"/>
                  </a:lnTo>
                  <a:lnTo>
                    <a:pt x="71" y="129"/>
                  </a:lnTo>
                  <a:lnTo>
                    <a:pt x="60" y="117"/>
                  </a:lnTo>
                  <a:lnTo>
                    <a:pt x="34" y="117"/>
                  </a:lnTo>
                  <a:lnTo>
                    <a:pt x="16" y="127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3" name="Group 13"/>
          <p:cNvGrpSpPr>
            <a:grpSpLocks/>
          </p:cNvGrpSpPr>
          <p:nvPr/>
        </p:nvGrpSpPr>
        <p:grpSpPr bwMode="auto">
          <a:xfrm>
            <a:off x="6067078" y="5323662"/>
            <a:ext cx="1296988" cy="1079500"/>
            <a:chOff x="1671" y="2638"/>
            <a:chExt cx="878" cy="1107"/>
          </a:xfrm>
        </p:grpSpPr>
        <p:sp>
          <p:nvSpPr>
            <p:cNvPr id="215054" name="Freeform 14"/>
            <p:cNvSpPr>
              <a:spLocks/>
            </p:cNvSpPr>
            <p:nvPr/>
          </p:nvSpPr>
          <p:spPr bwMode="auto">
            <a:xfrm>
              <a:off x="1702" y="3224"/>
              <a:ext cx="141" cy="230"/>
            </a:xfrm>
            <a:custGeom>
              <a:avLst/>
              <a:gdLst/>
              <a:ahLst/>
              <a:cxnLst>
                <a:cxn ang="0">
                  <a:pos x="84" y="0"/>
                </a:cxn>
                <a:cxn ang="0">
                  <a:pos x="62" y="13"/>
                </a:cxn>
                <a:cxn ang="0">
                  <a:pos x="45" y="26"/>
                </a:cxn>
                <a:cxn ang="0">
                  <a:pos x="27" y="31"/>
                </a:cxn>
                <a:cxn ang="0">
                  <a:pos x="0" y="26"/>
                </a:cxn>
                <a:cxn ang="0">
                  <a:pos x="5" y="54"/>
                </a:cxn>
                <a:cxn ang="0">
                  <a:pos x="18" y="70"/>
                </a:cxn>
                <a:cxn ang="0">
                  <a:pos x="14" y="116"/>
                </a:cxn>
                <a:cxn ang="0">
                  <a:pos x="14" y="137"/>
                </a:cxn>
                <a:cxn ang="0">
                  <a:pos x="18" y="155"/>
                </a:cxn>
                <a:cxn ang="0">
                  <a:pos x="5" y="191"/>
                </a:cxn>
                <a:cxn ang="0">
                  <a:pos x="9" y="217"/>
                </a:cxn>
                <a:cxn ang="0">
                  <a:pos x="27" y="230"/>
                </a:cxn>
                <a:cxn ang="0">
                  <a:pos x="53" y="212"/>
                </a:cxn>
                <a:cxn ang="0">
                  <a:pos x="62" y="208"/>
                </a:cxn>
                <a:cxn ang="0">
                  <a:pos x="89" y="212"/>
                </a:cxn>
                <a:cxn ang="0">
                  <a:pos x="107" y="194"/>
                </a:cxn>
                <a:cxn ang="0">
                  <a:pos x="107" y="177"/>
                </a:cxn>
                <a:cxn ang="0">
                  <a:pos x="128" y="142"/>
                </a:cxn>
                <a:cxn ang="0">
                  <a:pos x="136" y="119"/>
                </a:cxn>
                <a:cxn ang="0">
                  <a:pos x="128" y="98"/>
                </a:cxn>
                <a:cxn ang="0">
                  <a:pos x="141" y="70"/>
                </a:cxn>
                <a:cxn ang="0">
                  <a:pos x="133" y="31"/>
                </a:cxn>
                <a:cxn ang="0">
                  <a:pos x="128" y="8"/>
                </a:cxn>
                <a:cxn ang="0">
                  <a:pos x="84" y="0"/>
                </a:cxn>
              </a:cxnLst>
              <a:rect l="0" t="0" r="r" b="b"/>
              <a:pathLst>
                <a:path w="141" h="230">
                  <a:moveTo>
                    <a:pt x="84" y="0"/>
                  </a:moveTo>
                  <a:lnTo>
                    <a:pt x="62" y="13"/>
                  </a:lnTo>
                  <a:lnTo>
                    <a:pt x="45" y="26"/>
                  </a:lnTo>
                  <a:lnTo>
                    <a:pt x="27" y="31"/>
                  </a:lnTo>
                  <a:lnTo>
                    <a:pt x="0" y="26"/>
                  </a:lnTo>
                  <a:lnTo>
                    <a:pt x="5" y="54"/>
                  </a:lnTo>
                  <a:lnTo>
                    <a:pt x="18" y="70"/>
                  </a:lnTo>
                  <a:lnTo>
                    <a:pt x="14" y="116"/>
                  </a:lnTo>
                  <a:lnTo>
                    <a:pt x="14" y="137"/>
                  </a:lnTo>
                  <a:lnTo>
                    <a:pt x="18" y="155"/>
                  </a:lnTo>
                  <a:lnTo>
                    <a:pt x="5" y="191"/>
                  </a:lnTo>
                  <a:lnTo>
                    <a:pt x="9" y="217"/>
                  </a:lnTo>
                  <a:lnTo>
                    <a:pt x="27" y="230"/>
                  </a:lnTo>
                  <a:lnTo>
                    <a:pt x="53" y="212"/>
                  </a:lnTo>
                  <a:lnTo>
                    <a:pt x="62" y="208"/>
                  </a:lnTo>
                  <a:lnTo>
                    <a:pt x="89" y="212"/>
                  </a:lnTo>
                  <a:lnTo>
                    <a:pt x="107" y="194"/>
                  </a:lnTo>
                  <a:lnTo>
                    <a:pt x="107" y="177"/>
                  </a:lnTo>
                  <a:lnTo>
                    <a:pt x="128" y="142"/>
                  </a:lnTo>
                  <a:lnTo>
                    <a:pt x="136" y="119"/>
                  </a:lnTo>
                  <a:lnTo>
                    <a:pt x="128" y="98"/>
                  </a:lnTo>
                  <a:lnTo>
                    <a:pt x="141" y="70"/>
                  </a:lnTo>
                  <a:lnTo>
                    <a:pt x="133" y="31"/>
                  </a:lnTo>
                  <a:lnTo>
                    <a:pt x="128" y="8"/>
                  </a:lnTo>
                  <a:lnTo>
                    <a:pt x="84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5055" name="Freeform 15"/>
            <p:cNvSpPr>
              <a:spLocks/>
            </p:cNvSpPr>
            <p:nvPr/>
          </p:nvSpPr>
          <p:spPr bwMode="auto">
            <a:xfrm>
              <a:off x="2029" y="3583"/>
              <a:ext cx="258" cy="162"/>
            </a:xfrm>
            <a:custGeom>
              <a:avLst/>
              <a:gdLst/>
              <a:ahLst/>
              <a:cxnLst>
                <a:cxn ang="0">
                  <a:pos x="245" y="0"/>
                </a:cxn>
                <a:cxn ang="0">
                  <a:pos x="258" y="13"/>
                </a:cxn>
                <a:cxn ang="0">
                  <a:pos x="250" y="26"/>
                </a:cxn>
                <a:cxn ang="0">
                  <a:pos x="240" y="48"/>
                </a:cxn>
                <a:cxn ang="0">
                  <a:pos x="227" y="61"/>
                </a:cxn>
                <a:cxn ang="0">
                  <a:pos x="232" y="102"/>
                </a:cxn>
                <a:cxn ang="0">
                  <a:pos x="240" y="131"/>
                </a:cxn>
                <a:cxn ang="0">
                  <a:pos x="218" y="145"/>
                </a:cxn>
                <a:cxn ang="0">
                  <a:pos x="214" y="158"/>
                </a:cxn>
                <a:cxn ang="0">
                  <a:pos x="196" y="162"/>
                </a:cxn>
                <a:cxn ang="0">
                  <a:pos x="170" y="136"/>
                </a:cxn>
                <a:cxn ang="0">
                  <a:pos x="152" y="136"/>
                </a:cxn>
                <a:cxn ang="0">
                  <a:pos x="138" y="115"/>
                </a:cxn>
                <a:cxn ang="0">
                  <a:pos x="111" y="102"/>
                </a:cxn>
                <a:cxn ang="0">
                  <a:pos x="94" y="97"/>
                </a:cxn>
                <a:cxn ang="0">
                  <a:pos x="76" y="88"/>
                </a:cxn>
                <a:cxn ang="0">
                  <a:pos x="58" y="74"/>
                </a:cxn>
                <a:cxn ang="0">
                  <a:pos x="27" y="53"/>
                </a:cxn>
                <a:cxn ang="0">
                  <a:pos x="14" y="48"/>
                </a:cxn>
                <a:cxn ang="0">
                  <a:pos x="0" y="35"/>
                </a:cxn>
                <a:cxn ang="0">
                  <a:pos x="0" y="18"/>
                </a:cxn>
                <a:cxn ang="0">
                  <a:pos x="5" y="5"/>
                </a:cxn>
                <a:cxn ang="0">
                  <a:pos x="32" y="9"/>
                </a:cxn>
                <a:cxn ang="0">
                  <a:pos x="72" y="9"/>
                </a:cxn>
                <a:cxn ang="0">
                  <a:pos x="80" y="22"/>
                </a:cxn>
                <a:cxn ang="0">
                  <a:pos x="125" y="22"/>
                </a:cxn>
                <a:cxn ang="0">
                  <a:pos x="156" y="22"/>
                </a:cxn>
                <a:cxn ang="0">
                  <a:pos x="196" y="13"/>
                </a:cxn>
                <a:cxn ang="0">
                  <a:pos x="245" y="0"/>
                </a:cxn>
              </a:cxnLst>
              <a:rect l="0" t="0" r="r" b="b"/>
              <a:pathLst>
                <a:path w="258" h="162">
                  <a:moveTo>
                    <a:pt x="245" y="0"/>
                  </a:moveTo>
                  <a:lnTo>
                    <a:pt x="258" y="13"/>
                  </a:lnTo>
                  <a:lnTo>
                    <a:pt x="250" y="26"/>
                  </a:lnTo>
                  <a:lnTo>
                    <a:pt x="240" y="48"/>
                  </a:lnTo>
                  <a:lnTo>
                    <a:pt x="227" y="61"/>
                  </a:lnTo>
                  <a:lnTo>
                    <a:pt x="232" y="102"/>
                  </a:lnTo>
                  <a:lnTo>
                    <a:pt x="240" y="131"/>
                  </a:lnTo>
                  <a:lnTo>
                    <a:pt x="218" y="145"/>
                  </a:lnTo>
                  <a:lnTo>
                    <a:pt x="214" y="158"/>
                  </a:lnTo>
                  <a:lnTo>
                    <a:pt x="196" y="162"/>
                  </a:lnTo>
                  <a:lnTo>
                    <a:pt x="170" y="136"/>
                  </a:lnTo>
                  <a:lnTo>
                    <a:pt x="152" y="136"/>
                  </a:lnTo>
                  <a:lnTo>
                    <a:pt x="138" y="115"/>
                  </a:lnTo>
                  <a:lnTo>
                    <a:pt x="111" y="102"/>
                  </a:lnTo>
                  <a:lnTo>
                    <a:pt x="94" y="97"/>
                  </a:lnTo>
                  <a:lnTo>
                    <a:pt x="76" y="88"/>
                  </a:lnTo>
                  <a:lnTo>
                    <a:pt x="58" y="74"/>
                  </a:lnTo>
                  <a:lnTo>
                    <a:pt x="27" y="53"/>
                  </a:lnTo>
                  <a:lnTo>
                    <a:pt x="14" y="48"/>
                  </a:lnTo>
                  <a:lnTo>
                    <a:pt x="0" y="35"/>
                  </a:lnTo>
                  <a:lnTo>
                    <a:pt x="0" y="18"/>
                  </a:lnTo>
                  <a:lnTo>
                    <a:pt x="5" y="5"/>
                  </a:lnTo>
                  <a:lnTo>
                    <a:pt x="32" y="9"/>
                  </a:lnTo>
                  <a:lnTo>
                    <a:pt x="72" y="9"/>
                  </a:lnTo>
                  <a:lnTo>
                    <a:pt x="80" y="22"/>
                  </a:lnTo>
                  <a:lnTo>
                    <a:pt x="125" y="22"/>
                  </a:lnTo>
                  <a:lnTo>
                    <a:pt x="156" y="22"/>
                  </a:lnTo>
                  <a:lnTo>
                    <a:pt x="196" y="13"/>
                  </a:lnTo>
                  <a:lnTo>
                    <a:pt x="245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5056" name="Freeform 16"/>
            <p:cNvSpPr>
              <a:spLocks/>
            </p:cNvSpPr>
            <p:nvPr/>
          </p:nvSpPr>
          <p:spPr bwMode="auto">
            <a:xfrm>
              <a:off x="1671" y="2638"/>
              <a:ext cx="878" cy="989"/>
            </a:xfrm>
            <a:custGeom>
              <a:avLst/>
              <a:gdLst/>
              <a:ahLst/>
              <a:cxnLst>
                <a:cxn ang="0">
                  <a:pos x="672" y="976"/>
                </a:cxn>
                <a:cxn ang="0">
                  <a:pos x="725" y="883"/>
                </a:cxn>
                <a:cxn ang="0">
                  <a:pos x="748" y="852"/>
                </a:cxn>
                <a:cxn ang="0">
                  <a:pos x="730" y="808"/>
                </a:cxn>
                <a:cxn ang="0">
                  <a:pos x="708" y="803"/>
                </a:cxn>
                <a:cxn ang="0">
                  <a:pos x="725" y="769"/>
                </a:cxn>
                <a:cxn ang="0">
                  <a:pos x="752" y="720"/>
                </a:cxn>
                <a:cxn ang="0">
                  <a:pos x="836" y="777"/>
                </a:cxn>
                <a:cxn ang="0">
                  <a:pos x="871" y="777"/>
                </a:cxn>
                <a:cxn ang="0">
                  <a:pos x="844" y="710"/>
                </a:cxn>
                <a:cxn ang="0">
                  <a:pos x="818" y="706"/>
                </a:cxn>
                <a:cxn ang="0">
                  <a:pos x="725" y="631"/>
                </a:cxn>
                <a:cxn ang="0">
                  <a:pos x="668" y="591"/>
                </a:cxn>
                <a:cxn ang="0">
                  <a:pos x="672" y="564"/>
                </a:cxn>
                <a:cxn ang="0">
                  <a:pos x="584" y="524"/>
                </a:cxn>
                <a:cxn ang="0">
                  <a:pos x="545" y="489"/>
                </a:cxn>
                <a:cxn ang="0">
                  <a:pos x="452" y="350"/>
                </a:cxn>
                <a:cxn ang="0">
                  <a:pos x="434" y="239"/>
                </a:cxn>
                <a:cxn ang="0">
                  <a:pos x="407" y="194"/>
                </a:cxn>
                <a:cxn ang="0">
                  <a:pos x="483" y="160"/>
                </a:cxn>
                <a:cxn ang="0">
                  <a:pos x="517" y="83"/>
                </a:cxn>
                <a:cxn ang="0">
                  <a:pos x="438" y="49"/>
                </a:cxn>
                <a:cxn ang="0">
                  <a:pos x="425" y="18"/>
                </a:cxn>
                <a:cxn ang="0">
                  <a:pos x="314" y="5"/>
                </a:cxn>
                <a:cxn ang="0">
                  <a:pos x="262" y="62"/>
                </a:cxn>
                <a:cxn ang="0">
                  <a:pos x="216" y="57"/>
                </a:cxn>
                <a:cxn ang="0">
                  <a:pos x="159" y="75"/>
                </a:cxn>
                <a:cxn ang="0">
                  <a:pos x="138" y="36"/>
                </a:cxn>
                <a:cxn ang="0">
                  <a:pos x="107" y="70"/>
                </a:cxn>
                <a:cxn ang="0">
                  <a:pos x="27" y="101"/>
                </a:cxn>
                <a:cxn ang="0">
                  <a:pos x="9" y="163"/>
                </a:cxn>
                <a:cxn ang="0">
                  <a:pos x="0" y="225"/>
                </a:cxn>
                <a:cxn ang="0">
                  <a:pos x="36" y="248"/>
                </a:cxn>
                <a:cxn ang="0">
                  <a:pos x="62" y="297"/>
                </a:cxn>
                <a:cxn ang="0">
                  <a:pos x="146" y="252"/>
                </a:cxn>
                <a:cxn ang="0">
                  <a:pos x="226" y="323"/>
                </a:cxn>
                <a:cxn ang="0">
                  <a:pos x="262" y="420"/>
                </a:cxn>
                <a:cxn ang="0">
                  <a:pos x="323" y="473"/>
                </a:cxn>
                <a:cxn ang="0">
                  <a:pos x="403" y="569"/>
                </a:cxn>
                <a:cxn ang="0">
                  <a:pos x="527" y="661"/>
                </a:cxn>
                <a:cxn ang="0">
                  <a:pos x="566" y="689"/>
                </a:cxn>
                <a:cxn ang="0">
                  <a:pos x="597" y="751"/>
                </a:cxn>
                <a:cxn ang="0">
                  <a:pos x="646" y="769"/>
                </a:cxn>
                <a:cxn ang="0">
                  <a:pos x="664" y="847"/>
                </a:cxn>
                <a:cxn ang="0">
                  <a:pos x="650" y="906"/>
                </a:cxn>
                <a:cxn ang="0">
                  <a:pos x="637" y="976"/>
                </a:cxn>
              </a:cxnLst>
              <a:rect l="0" t="0" r="r" b="b"/>
              <a:pathLst>
                <a:path w="878" h="989">
                  <a:moveTo>
                    <a:pt x="637" y="976"/>
                  </a:moveTo>
                  <a:lnTo>
                    <a:pt x="650" y="989"/>
                  </a:lnTo>
                  <a:lnTo>
                    <a:pt x="672" y="976"/>
                  </a:lnTo>
                  <a:lnTo>
                    <a:pt x="699" y="940"/>
                  </a:lnTo>
                  <a:lnTo>
                    <a:pt x="712" y="888"/>
                  </a:lnTo>
                  <a:lnTo>
                    <a:pt x="725" y="883"/>
                  </a:lnTo>
                  <a:lnTo>
                    <a:pt x="735" y="891"/>
                  </a:lnTo>
                  <a:lnTo>
                    <a:pt x="752" y="875"/>
                  </a:lnTo>
                  <a:lnTo>
                    <a:pt x="748" y="852"/>
                  </a:lnTo>
                  <a:lnTo>
                    <a:pt x="756" y="834"/>
                  </a:lnTo>
                  <a:lnTo>
                    <a:pt x="752" y="826"/>
                  </a:lnTo>
                  <a:lnTo>
                    <a:pt x="730" y="808"/>
                  </a:lnTo>
                  <a:lnTo>
                    <a:pt x="721" y="808"/>
                  </a:lnTo>
                  <a:lnTo>
                    <a:pt x="725" y="798"/>
                  </a:lnTo>
                  <a:lnTo>
                    <a:pt x="708" y="803"/>
                  </a:lnTo>
                  <a:lnTo>
                    <a:pt x="699" y="795"/>
                  </a:lnTo>
                  <a:lnTo>
                    <a:pt x="699" y="785"/>
                  </a:lnTo>
                  <a:lnTo>
                    <a:pt x="725" y="769"/>
                  </a:lnTo>
                  <a:lnTo>
                    <a:pt x="738" y="751"/>
                  </a:lnTo>
                  <a:lnTo>
                    <a:pt x="738" y="723"/>
                  </a:lnTo>
                  <a:lnTo>
                    <a:pt x="752" y="720"/>
                  </a:lnTo>
                  <a:lnTo>
                    <a:pt x="797" y="741"/>
                  </a:lnTo>
                  <a:lnTo>
                    <a:pt x="813" y="746"/>
                  </a:lnTo>
                  <a:lnTo>
                    <a:pt x="836" y="777"/>
                  </a:lnTo>
                  <a:lnTo>
                    <a:pt x="844" y="795"/>
                  </a:lnTo>
                  <a:lnTo>
                    <a:pt x="857" y="795"/>
                  </a:lnTo>
                  <a:lnTo>
                    <a:pt x="871" y="777"/>
                  </a:lnTo>
                  <a:lnTo>
                    <a:pt x="878" y="759"/>
                  </a:lnTo>
                  <a:lnTo>
                    <a:pt x="862" y="728"/>
                  </a:lnTo>
                  <a:lnTo>
                    <a:pt x="844" y="710"/>
                  </a:lnTo>
                  <a:lnTo>
                    <a:pt x="828" y="710"/>
                  </a:lnTo>
                  <a:lnTo>
                    <a:pt x="828" y="706"/>
                  </a:lnTo>
                  <a:lnTo>
                    <a:pt x="818" y="706"/>
                  </a:lnTo>
                  <a:lnTo>
                    <a:pt x="774" y="661"/>
                  </a:lnTo>
                  <a:lnTo>
                    <a:pt x="752" y="666"/>
                  </a:lnTo>
                  <a:lnTo>
                    <a:pt x="725" y="631"/>
                  </a:lnTo>
                  <a:lnTo>
                    <a:pt x="708" y="626"/>
                  </a:lnTo>
                  <a:lnTo>
                    <a:pt x="681" y="600"/>
                  </a:lnTo>
                  <a:lnTo>
                    <a:pt x="668" y="591"/>
                  </a:lnTo>
                  <a:lnTo>
                    <a:pt x="677" y="582"/>
                  </a:lnTo>
                  <a:lnTo>
                    <a:pt x="690" y="578"/>
                  </a:lnTo>
                  <a:lnTo>
                    <a:pt x="672" y="564"/>
                  </a:lnTo>
                  <a:lnTo>
                    <a:pt x="650" y="573"/>
                  </a:lnTo>
                  <a:lnTo>
                    <a:pt x="633" y="564"/>
                  </a:lnTo>
                  <a:lnTo>
                    <a:pt x="584" y="524"/>
                  </a:lnTo>
                  <a:lnTo>
                    <a:pt x="579" y="507"/>
                  </a:lnTo>
                  <a:lnTo>
                    <a:pt x="561" y="502"/>
                  </a:lnTo>
                  <a:lnTo>
                    <a:pt x="545" y="489"/>
                  </a:lnTo>
                  <a:lnTo>
                    <a:pt x="499" y="394"/>
                  </a:lnTo>
                  <a:lnTo>
                    <a:pt x="486" y="381"/>
                  </a:lnTo>
                  <a:lnTo>
                    <a:pt x="452" y="350"/>
                  </a:lnTo>
                  <a:lnTo>
                    <a:pt x="411" y="288"/>
                  </a:lnTo>
                  <a:lnTo>
                    <a:pt x="411" y="252"/>
                  </a:lnTo>
                  <a:lnTo>
                    <a:pt x="434" y="239"/>
                  </a:lnTo>
                  <a:lnTo>
                    <a:pt x="434" y="221"/>
                  </a:lnTo>
                  <a:lnTo>
                    <a:pt x="416" y="204"/>
                  </a:lnTo>
                  <a:lnTo>
                    <a:pt x="407" y="194"/>
                  </a:lnTo>
                  <a:lnTo>
                    <a:pt x="411" y="181"/>
                  </a:lnTo>
                  <a:lnTo>
                    <a:pt x="429" y="173"/>
                  </a:lnTo>
                  <a:lnTo>
                    <a:pt x="483" y="160"/>
                  </a:lnTo>
                  <a:lnTo>
                    <a:pt x="504" y="146"/>
                  </a:lnTo>
                  <a:lnTo>
                    <a:pt x="522" y="129"/>
                  </a:lnTo>
                  <a:lnTo>
                    <a:pt x="517" y="83"/>
                  </a:lnTo>
                  <a:lnTo>
                    <a:pt x="522" y="67"/>
                  </a:lnTo>
                  <a:lnTo>
                    <a:pt x="496" y="62"/>
                  </a:lnTo>
                  <a:lnTo>
                    <a:pt x="438" y="49"/>
                  </a:lnTo>
                  <a:lnTo>
                    <a:pt x="429" y="36"/>
                  </a:lnTo>
                  <a:lnTo>
                    <a:pt x="425" y="31"/>
                  </a:lnTo>
                  <a:lnTo>
                    <a:pt x="425" y="18"/>
                  </a:lnTo>
                  <a:lnTo>
                    <a:pt x="421" y="5"/>
                  </a:lnTo>
                  <a:lnTo>
                    <a:pt x="390" y="0"/>
                  </a:lnTo>
                  <a:lnTo>
                    <a:pt x="314" y="5"/>
                  </a:lnTo>
                  <a:lnTo>
                    <a:pt x="306" y="23"/>
                  </a:lnTo>
                  <a:lnTo>
                    <a:pt x="278" y="26"/>
                  </a:lnTo>
                  <a:lnTo>
                    <a:pt x="262" y="62"/>
                  </a:lnTo>
                  <a:lnTo>
                    <a:pt x="262" y="75"/>
                  </a:lnTo>
                  <a:lnTo>
                    <a:pt x="244" y="62"/>
                  </a:lnTo>
                  <a:lnTo>
                    <a:pt x="216" y="57"/>
                  </a:lnTo>
                  <a:lnTo>
                    <a:pt x="200" y="67"/>
                  </a:lnTo>
                  <a:lnTo>
                    <a:pt x="187" y="93"/>
                  </a:lnTo>
                  <a:lnTo>
                    <a:pt x="159" y="75"/>
                  </a:lnTo>
                  <a:lnTo>
                    <a:pt x="164" y="49"/>
                  </a:lnTo>
                  <a:lnTo>
                    <a:pt x="156" y="31"/>
                  </a:lnTo>
                  <a:lnTo>
                    <a:pt x="138" y="36"/>
                  </a:lnTo>
                  <a:lnTo>
                    <a:pt x="133" y="57"/>
                  </a:lnTo>
                  <a:lnTo>
                    <a:pt x="120" y="70"/>
                  </a:lnTo>
                  <a:lnTo>
                    <a:pt x="107" y="70"/>
                  </a:lnTo>
                  <a:lnTo>
                    <a:pt x="45" y="62"/>
                  </a:lnTo>
                  <a:lnTo>
                    <a:pt x="23" y="80"/>
                  </a:lnTo>
                  <a:lnTo>
                    <a:pt x="27" y="101"/>
                  </a:lnTo>
                  <a:lnTo>
                    <a:pt x="31" y="119"/>
                  </a:lnTo>
                  <a:lnTo>
                    <a:pt x="0" y="146"/>
                  </a:lnTo>
                  <a:lnTo>
                    <a:pt x="9" y="163"/>
                  </a:lnTo>
                  <a:lnTo>
                    <a:pt x="18" y="173"/>
                  </a:lnTo>
                  <a:lnTo>
                    <a:pt x="0" y="194"/>
                  </a:lnTo>
                  <a:lnTo>
                    <a:pt x="0" y="225"/>
                  </a:lnTo>
                  <a:lnTo>
                    <a:pt x="9" y="239"/>
                  </a:lnTo>
                  <a:lnTo>
                    <a:pt x="27" y="239"/>
                  </a:lnTo>
                  <a:lnTo>
                    <a:pt x="36" y="248"/>
                  </a:lnTo>
                  <a:lnTo>
                    <a:pt x="45" y="270"/>
                  </a:lnTo>
                  <a:lnTo>
                    <a:pt x="45" y="292"/>
                  </a:lnTo>
                  <a:lnTo>
                    <a:pt x="62" y="297"/>
                  </a:lnTo>
                  <a:lnTo>
                    <a:pt x="76" y="292"/>
                  </a:lnTo>
                  <a:lnTo>
                    <a:pt x="124" y="243"/>
                  </a:lnTo>
                  <a:lnTo>
                    <a:pt x="146" y="252"/>
                  </a:lnTo>
                  <a:lnTo>
                    <a:pt x="190" y="274"/>
                  </a:lnTo>
                  <a:lnTo>
                    <a:pt x="221" y="297"/>
                  </a:lnTo>
                  <a:lnTo>
                    <a:pt x="226" y="323"/>
                  </a:lnTo>
                  <a:lnTo>
                    <a:pt x="244" y="341"/>
                  </a:lnTo>
                  <a:lnTo>
                    <a:pt x="252" y="372"/>
                  </a:lnTo>
                  <a:lnTo>
                    <a:pt x="262" y="420"/>
                  </a:lnTo>
                  <a:lnTo>
                    <a:pt x="275" y="443"/>
                  </a:lnTo>
                  <a:lnTo>
                    <a:pt x="292" y="461"/>
                  </a:lnTo>
                  <a:lnTo>
                    <a:pt x="323" y="473"/>
                  </a:lnTo>
                  <a:lnTo>
                    <a:pt x="350" y="515"/>
                  </a:lnTo>
                  <a:lnTo>
                    <a:pt x="376" y="551"/>
                  </a:lnTo>
                  <a:lnTo>
                    <a:pt x="403" y="569"/>
                  </a:lnTo>
                  <a:lnTo>
                    <a:pt x="452" y="626"/>
                  </a:lnTo>
                  <a:lnTo>
                    <a:pt x="486" y="626"/>
                  </a:lnTo>
                  <a:lnTo>
                    <a:pt x="527" y="661"/>
                  </a:lnTo>
                  <a:lnTo>
                    <a:pt x="527" y="697"/>
                  </a:lnTo>
                  <a:lnTo>
                    <a:pt x="540" y="706"/>
                  </a:lnTo>
                  <a:lnTo>
                    <a:pt x="566" y="689"/>
                  </a:lnTo>
                  <a:lnTo>
                    <a:pt x="571" y="706"/>
                  </a:lnTo>
                  <a:lnTo>
                    <a:pt x="571" y="728"/>
                  </a:lnTo>
                  <a:lnTo>
                    <a:pt x="597" y="751"/>
                  </a:lnTo>
                  <a:lnTo>
                    <a:pt x="606" y="764"/>
                  </a:lnTo>
                  <a:lnTo>
                    <a:pt x="641" y="754"/>
                  </a:lnTo>
                  <a:lnTo>
                    <a:pt x="646" y="769"/>
                  </a:lnTo>
                  <a:lnTo>
                    <a:pt x="641" y="798"/>
                  </a:lnTo>
                  <a:lnTo>
                    <a:pt x="659" y="826"/>
                  </a:lnTo>
                  <a:lnTo>
                    <a:pt x="664" y="847"/>
                  </a:lnTo>
                  <a:lnTo>
                    <a:pt x="672" y="870"/>
                  </a:lnTo>
                  <a:lnTo>
                    <a:pt x="668" y="888"/>
                  </a:lnTo>
                  <a:lnTo>
                    <a:pt x="650" y="906"/>
                  </a:lnTo>
                  <a:lnTo>
                    <a:pt x="646" y="927"/>
                  </a:lnTo>
                  <a:lnTo>
                    <a:pt x="633" y="954"/>
                  </a:lnTo>
                  <a:lnTo>
                    <a:pt x="637" y="976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4" name="Group 18"/>
          <p:cNvGrpSpPr>
            <a:grpSpLocks/>
          </p:cNvGrpSpPr>
          <p:nvPr/>
        </p:nvGrpSpPr>
        <p:grpSpPr bwMode="auto">
          <a:xfrm>
            <a:off x="3269506" y="5421983"/>
            <a:ext cx="1009650" cy="1223987"/>
            <a:chOff x="948" y="1203"/>
            <a:chExt cx="538" cy="899"/>
          </a:xfrm>
        </p:grpSpPr>
        <p:sp>
          <p:nvSpPr>
            <p:cNvPr id="215059" name="Freeform 19"/>
            <p:cNvSpPr>
              <a:spLocks/>
            </p:cNvSpPr>
            <p:nvPr/>
          </p:nvSpPr>
          <p:spPr bwMode="auto">
            <a:xfrm>
              <a:off x="948" y="1214"/>
              <a:ext cx="538" cy="888"/>
            </a:xfrm>
            <a:custGeom>
              <a:avLst/>
              <a:gdLst/>
              <a:ahLst/>
              <a:cxnLst>
                <a:cxn ang="0">
                  <a:pos x="175" y="614"/>
                </a:cxn>
                <a:cxn ang="0">
                  <a:pos x="116" y="654"/>
                </a:cxn>
                <a:cxn ang="0">
                  <a:pos x="100" y="691"/>
                </a:cxn>
                <a:cxn ang="0">
                  <a:pos x="135" y="711"/>
                </a:cxn>
                <a:cxn ang="0">
                  <a:pos x="163" y="725"/>
                </a:cxn>
                <a:cxn ang="0">
                  <a:pos x="215" y="735"/>
                </a:cxn>
                <a:cxn ang="0">
                  <a:pos x="181" y="776"/>
                </a:cxn>
                <a:cxn ang="0">
                  <a:pos x="104" y="753"/>
                </a:cxn>
                <a:cxn ang="0">
                  <a:pos x="49" y="800"/>
                </a:cxn>
                <a:cxn ang="0">
                  <a:pos x="2" y="824"/>
                </a:cxn>
                <a:cxn ang="0">
                  <a:pos x="26" y="844"/>
                </a:cxn>
                <a:cxn ang="0">
                  <a:pos x="70" y="837"/>
                </a:cxn>
                <a:cxn ang="0">
                  <a:pos x="131" y="862"/>
                </a:cxn>
                <a:cxn ang="0">
                  <a:pos x="177" y="821"/>
                </a:cxn>
                <a:cxn ang="0">
                  <a:pos x="217" y="846"/>
                </a:cxn>
                <a:cxn ang="0">
                  <a:pos x="274" y="855"/>
                </a:cxn>
                <a:cxn ang="0">
                  <a:pos x="316" y="851"/>
                </a:cxn>
                <a:cxn ang="0">
                  <a:pos x="375" y="875"/>
                </a:cxn>
                <a:cxn ang="0">
                  <a:pos x="425" y="880"/>
                </a:cxn>
                <a:cxn ang="0">
                  <a:pos x="474" y="862"/>
                </a:cxn>
                <a:cxn ang="0">
                  <a:pos x="454" y="821"/>
                </a:cxn>
                <a:cxn ang="0">
                  <a:pos x="456" y="795"/>
                </a:cxn>
                <a:cxn ang="0">
                  <a:pos x="520" y="753"/>
                </a:cxn>
                <a:cxn ang="0">
                  <a:pos x="538" y="696"/>
                </a:cxn>
                <a:cxn ang="0">
                  <a:pos x="492" y="665"/>
                </a:cxn>
                <a:cxn ang="0">
                  <a:pos x="458" y="662"/>
                </a:cxn>
                <a:cxn ang="0">
                  <a:pos x="469" y="608"/>
                </a:cxn>
                <a:cxn ang="0">
                  <a:pos x="469" y="532"/>
                </a:cxn>
                <a:cxn ang="0">
                  <a:pos x="421" y="446"/>
                </a:cxn>
                <a:cxn ang="0">
                  <a:pos x="421" y="378"/>
                </a:cxn>
                <a:cxn ang="0">
                  <a:pos x="406" y="325"/>
                </a:cxn>
                <a:cxn ang="0">
                  <a:pos x="354" y="296"/>
                </a:cxn>
                <a:cxn ang="0">
                  <a:pos x="350" y="275"/>
                </a:cxn>
                <a:cxn ang="0">
                  <a:pos x="394" y="281"/>
                </a:cxn>
                <a:cxn ang="0">
                  <a:pos x="463" y="197"/>
                </a:cxn>
                <a:cxn ang="0">
                  <a:pos x="458" y="143"/>
                </a:cxn>
                <a:cxn ang="0">
                  <a:pos x="394" y="117"/>
                </a:cxn>
                <a:cxn ang="0">
                  <a:pos x="359" y="119"/>
                </a:cxn>
                <a:cxn ang="0">
                  <a:pos x="378" y="86"/>
                </a:cxn>
                <a:cxn ang="0">
                  <a:pos x="448" y="44"/>
                </a:cxn>
                <a:cxn ang="0">
                  <a:pos x="403" y="16"/>
                </a:cxn>
                <a:cxn ang="0">
                  <a:pos x="331" y="26"/>
                </a:cxn>
                <a:cxn ang="0">
                  <a:pos x="297" y="57"/>
                </a:cxn>
                <a:cxn ang="0">
                  <a:pos x="274" y="99"/>
                </a:cxn>
                <a:cxn ang="0">
                  <a:pos x="217" y="171"/>
                </a:cxn>
                <a:cxn ang="0">
                  <a:pos x="254" y="185"/>
                </a:cxn>
                <a:cxn ang="0">
                  <a:pos x="202" y="275"/>
                </a:cxn>
                <a:cxn ang="0">
                  <a:pos x="220" y="288"/>
                </a:cxn>
                <a:cxn ang="0">
                  <a:pos x="253" y="307"/>
                </a:cxn>
                <a:cxn ang="0">
                  <a:pos x="215" y="361"/>
                </a:cxn>
                <a:cxn ang="0">
                  <a:pos x="269" y="395"/>
                </a:cxn>
                <a:cxn ang="0">
                  <a:pos x="301" y="407"/>
                </a:cxn>
                <a:cxn ang="0">
                  <a:pos x="290" y="483"/>
                </a:cxn>
                <a:cxn ang="0">
                  <a:pos x="288" y="535"/>
                </a:cxn>
                <a:cxn ang="0">
                  <a:pos x="264" y="559"/>
                </a:cxn>
              </a:cxnLst>
              <a:rect l="0" t="0" r="r" b="b"/>
              <a:pathLst>
                <a:path w="538" h="888">
                  <a:moveTo>
                    <a:pt x="161" y="569"/>
                  </a:moveTo>
                  <a:lnTo>
                    <a:pt x="186" y="592"/>
                  </a:lnTo>
                  <a:lnTo>
                    <a:pt x="175" y="614"/>
                  </a:lnTo>
                  <a:lnTo>
                    <a:pt x="160" y="631"/>
                  </a:lnTo>
                  <a:lnTo>
                    <a:pt x="135" y="643"/>
                  </a:lnTo>
                  <a:lnTo>
                    <a:pt x="116" y="654"/>
                  </a:lnTo>
                  <a:lnTo>
                    <a:pt x="95" y="656"/>
                  </a:lnTo>
                  <a:lnTo>
                    <a:pt x="85" y="665"/>
                  </a:lnTo>
                  <a:lnTo>
                    <a:pt x="100" y="691"/>
                  </a:lnTo>
                  <a:lnTo>
                    <a:pt x="124" y="691"/>
                  </a:lnTo>
                  <a:lnTo>
                    <a:pt x="135" y="693"/>
                  </a:lnTo>
                  <a:lnTo>
                    <a:pt x="135" y="711"/>
                  </a:lnTo>
                  <a:lnTo>
                    <a:pt x="148" y="711"/>
                  </a:lnTo>
                  <a:lnTo>
                    <a:pt x="157" y="707"/>
                  </a:lnTo>
                  <a:lnTo>
                    <a:pt x="163" y="725"/>
                  </a:lnTo>
                  <a:lnTo>
                    <a:pt x="177" y="740"/>
                  </a:lnTo>
                  <a:lnTo>
                    <a:pt x="199" y="740"/>
                  </a:lnTo>
                  <a:lnTo>
                    <a:pt x="215" y="735"/>
                  </a:lnTo>
                  <a:lnTo>
                    <a:pt x="228" y="740"/>
                  </a:lnTo>
                  <a:lnTo>
                    <a:pt x="194" y="769"/>
                  </a:lnTo>
                  <a:lnTo>
                    <a:pt x="181" y="776"/>
                  </a:lnTo>
                  <a:lnTo>
                    <a:pt x="163" y="769"/>
                  </a:lnTo>
                  <a:lnTo>
                    <a:pt x="124" y="753"/>
                  </a:lnTo>
                  <a:lnTo>
                    <a:pt x="104" y="753"/>
                  </a:lnTo>
                  <a:lnTo>
                    <a:pt x="86" y="769"/>
                  </a:lnTo>
                  <a:lnTo>
                    <a:pt x="62" y="789"/>
                  </a:lnTo>
                  <a:lnTo>
                    <a:pt x="49" y="800"/>
                  </a:lnTo>
                  <a:lnTo>
                    <a:pt x="33" y="804"/>
                  </a:lnTo>
                  <a:lnTo>
                    <a:pt x="15" y="813"/>
                  </a:lnTo>
                  <a:lnTo>
                    <a:pt x="2" y="824"/>
                  </a:lnTo>
                  <a:lnTo>
                    <a:pt x="0" y="831"/>
                  </a:lnTo>
                  <a:lnTo>
                    <a:pt x="15" y="833"/>
                  </a:lnTo>
                  <a:lnTo>
                    <a:pt x="26" y="844"/>
                  </a:lnTo>
                  <a:lnTo>
                    <a:pt x="42" y="851"/>
                  </a:lnTo>
                  <a:lnTo>
                    <a:pt x="57" y="844"/>
                  </a:lnTo>
                  <a:lnTo>
                    <a:pt x="70" y="837"/>
                  </a:lnTo>
                  <a:lnTo>
                    <a:pt x="86" y="839"/>
                  </a:lnTo>
                  <a:lnTo>
                    <a:pt x="109" y="852"/>
                  </a:lnTo>
                  <a:lnTo>
                    <a:pt x="131" y="862"/>
                  </a:lnTo>
                  <a:lnTo>
                    <a:pt x="146" y="852"/>
                  </a:lnTo>
                  <a:lnTo>
                    <a:pt x="153" y="836"/>
                  </a:lnTo>
                  <a:lnTo>
                    <a:pt x="177" y="821"/>
                  </a:lnTo>
                  <a:lnTo>
                    <a:pt x="192" y="821"/>
                  </a:lnTo>
                  <a:lnTo>
                    <a:pt x="206" y="837"/>
                  </a:lnTo>
                  <a:lnTo>
                    <a:pt x="217" y="846"/>
                  </a:lnTo>
                  <a:lnTo>
                    <a:pt x="235" y="846"/>
                  </a:lnTo>
                  <a:lnTo>
                    <a:pt x="259" y="849"/>
                  </a:lnTo>
                  <a:lnTo>
                    <a:pt x="274" y="855"/>
                  </a:lnTo>
                  <a:lnTo>
                    <a:pt x="290" y="844"/>
                  </a:lnTo>
                  <a:lnTo>
                    <a:pt x="303" y="844"/>
                  </a:lnTo>
                  <a:lnTo>
                    <a:pt x="316" y="851"/>
                  </a:lnTo>
                  <a:lnTo>
                    <a:pt x="332" y="868"/>
                  </a:lnTo>
                  <a:lnTo>
                    <a:pt x="352" y="870"/>
                  </a:lnTo>
                  <a:lnTo>
                    <a:pt x="375" y="875"/>
                  </a:lnTo>
                  <a:lnTo>
                    <a:pt x="390" y="883"/>
                  </a:lnTo>
                  <a:lnTo>
                    <a:pt x="409" y="888"/>
                  </a:lnTo>
                  <a:lnTo>
                    <a:pt x="425" y="880"/>
                  </a:lnTo>
                  <a:lnTo>
                    <a:pt x="445" y="868"/>
                  </a:lnTo>
                  <a:lnTo>
                    <a:pt x="458" y="865"/>
                  </a:lnTo>
                  <a:lnTo>
                    <a:pt x="474" y="862"/>
                  </a:lnTo>
                  <a:lnTo>
                    <a:pt x="489" y="849"/>
                  </a:lnTo>
                  <a:lnTo>
                    <a:pt x="479" y="836"/>
                  </a:lnTo>
                  <a:lnTo>
                    <a:pt x="454" y="821"/>
                  </a:lnTo>
                  <a:lnTo>
                    <a:pt x="445" y="813"/>
                  </a:lnTo>
                  <a:lnTo>
                    <a:pt x="445" y="804"/>
                  </a:lnTo>
                  <a:lnTo>
                    <a:pt x="456" y="795"/>
                  </a:lnTo>
                  <a:lnTo>
                    <a:pt x="474" y="793"/>
                  </a:lnTo>
                  <a:lnTo>
                    <a:pt x="492" y="784"/>
                  </a:lnTo>
                  <a:lnTo>
                    <a:pt x="520" y="753"/>
                  </a:lnTo>
                  <a:lnTo>
                    <a:pt x="534" y="738"/>
                  </a:lnTo>
                  <a:lnTo>
                    <a:pt x="538" y="711"/>
                  </a:lnTo>
                  <a:lnTo>
                    <a:pt x="538" y="696"/>
                  </a:lnTo>
                  <a:lnTo>
                    <a:pt x="525" y="685"/>
                  </a:lnTo>
                  <a:lnTo>
                    <a:pt x="507" y="672"/>
                  </a:lnTo>
                  <a:lnTo>
                    <a:pt x="492" y="665"/>
                  </a:lnTo>
                  <a:lnTo>
                    <a:pt x="474" y="667"/>
                  </a:lnTo>
                  <a:lnTo>
                    <a:pt x="463" y="673"/>
                  </a:lnTo>
                  <a:lnTo>
                    <a:pt x="458" y="662"/>
                  </a:lnTo>
                  <a:lnTo>
                    <a:pt x="468" y="645"/>
                  </a:lnTo>
                  <a:lnTo>
                    <a:pt x="471" y="631"/>
                  </a:lnTo>
                  <a:lnTo>
                    <a:pt x="469" y="608"/>
                  </a:lnTo>
                  <a:lnTo>
                    <a:pt x="468" y="574"/>
                  </a:lnTo>
                  <a:lnTo>
                    <a:pt x="474" y="548"/>
                  </a:lnTo>
                  <a:lnTo>
                    <a:pt x="469" y="532"/>
                  </a:lnTo>
                  <a:lnTo>
                    <a:pt x="458" y="514"/>
                  </a:lnTo>
                  <a:lnTo>
                    <a:pt x="432" y="468"/>
                  </a:lnTo>
                  <a:lnTo>
                    <a:pt x="421" y="446"/>
                  </a:lnTo>
                  <a:lnTo>
                    <a:pt x="417" y="420"/>
                  </a:lnTo>
                  <a:lnTo>
                    <a:pt x="414" y="405"/>
                  </a:lnTo>
                  <a:lnTo>
                    <a:pt x="421" y="378"/>
                  </a:lnTo>
                  <a:lnTo>
                    <a:pt x="421" y="358"/>
                  </a:lnTo>
                  <a:lnTo>
                    <a:pt x="417" y="335"/>
                  </a:lnTo>
                  <a:lnTo>
                    <a:pt x="406" y="325"/>
                  </a:lnTo>
                  <a:lnTo>
                    <a:pt x="385" y="304"/>
                  </a:lnTo>
                  <a:lnTo>
                    <a:pt x="370" y="298"/>
                  </a:lnTo>
                  <a:lnTo>
                    <a:pt x="354" y="296"/>
                  </a:lnTo>
                  <a:lnTo>
                    <a:pt x="344" y="294"/>
                  </a:lnTo>
                  <a:lnTo>
                    <a:pt x="344" y="283"/>
                  </a:lnTo>
                  <a:lnTo>
                    <a:pt x="350" y="275"/>
                  </a:lnTo>
                  <a:lnTo>
                    <a:pt x="368" y="272"/>
                  </a:lnTo>
                  <a:lnTo>
                    <a:pt x="383" y="278"/>
                  </a:lnTo>
                  <a:lnTo>
                    <a:pt x="394" y="281"/>
                  </a:lnTo>
                  <a:lnTo>
                    <a:pt x="401" y="270"/>
                  </a:lnTo>
                  <a:lnTo>
                    <a:pt x="399" y="257"/>
                  </a:lnTo>
                  <a:lnTo>
                    <a:pt x="463" y="197"/>
                  </a:lnTo>
                  <a:lnTo>
                    <a:pt x="474" y="184"/>
                  </a:lnTo>
                  <a:lnTo>
                    <a:pt x="474" y="156"/>
                  </a:lnTo>
                  <a:lnTo>
                    <a:pt x="458" y="143"/>
                  </a:lnTo>
                  <a:lnTo>
                    <a:pt x="440" y="141"/>
                  </a:lnTo>
                  <a:lnTo>
                    <a:pt x="425" y="117"/>
                  </a:lnTo>
                  <a:lnTo>
                    <a:pt x="394" y="117"/>
                  </a:lnTo>
                  <a:lnTo>
                    <a:pt x="394" y="117"/>
                  </a:lnTo>
                  <a:lnTo>
                    <a:pt x="365" y="122"/>
                  </a:lnTo>
                  <a:lnTo>
                    <a:pt x="359" y="119"/>
                  </a:lnTo>
                  <a:lnTo>
                    <a:pt x="352" y="109"/>
                  </a:lnTo>
                  <a:lnTo>
                    <a:pt x="365" y="99"/>
                  </a:lnTo>
                  <a:lnTo>
                    <a:pt x="378" y="86"/>
                  </a:lnTo>
                  <a:lnTo>
                    <a:pt x="406" y="62"/>
                  </a:lnTo>
                  <a:lnTo>
                    <a:pt x="427" y="60"/>
                  </a:lnTo>
                  <a:lnTo>
                    <a:pt x="448" y="44"/>
                  </a:lnTo>
                  <a:lnTo>
                    <a:pt x="468" y="29"/>
                  </a:lnTo>
                  <a:lnTo>
                    <a:pt x="423" y="18"/>
                  </a:lnTo>
                  <a:lnTo>
                    <a:pt x="403" y="16"/>
                  </a:lnTo>
                  <a:lnTo>
                    <a:pt x="381" y="13"/>
                  </a:lnTo>
                  <a:lnTo>
                    <a:pt x="354" y="0"/>
                  </a:lnTo>
                  <a:lnTo>
                    <a:pt x="331" y="26"/>
                  </a:lnTo>
                  <a:lnTo>
                    <a:pt x="332" y="39"/>
                  </a:lnTo>
                  <a:lnTo>
                    <a:pt x="319" y="44"/>
                  </a:lnTo>
                  <a:lnTo>
                    <a:pt x="297" y="57"/>
                  </a:lnTo>
                  <a:lnTo>
                    <a:pt x="277" y="65"/>
                  </a:lnTo>
                  <a:lnTo>
                    <a:pt x="277" y="84"/>
                  </a:lnTo>
                  <a:lnTo>
                    <a:pt x="274" y="99"/>
                  </a:lnTo>
                  <a:lnTo>
                    <a:pt x="257" y="124"/>
                  </a:lnTo>
                  <a:lnTo>
                    <a:pt x="228" y="155"/>
                  </a:lnTo>
                  <a:lnTo>
                    <a:pt x="217" y="171"/>
                  </a:lnTo>
                  <a:lnTo>
                    <a:pt x="223" y="181"/>
                  </a:lnTo>
                  <a:lnTo>
                    <a:pt x="253" y="179"/>
                  </a:lnTo>
                  <a:lnTo>
                    <a:pt x="254" y="185"/>
                  </a:lnTo>
                  <a:lnTo>
                    <a:pt x="254" y="197"/>
                  </a:lnTo>
                  <a:lnTo>
                    <a:pt x="215" y="247"/>
                  </a:lnTo>
                  <a:lnTo>
                    <a:pt x="202" y="275"/>
                  </a:lnTo>
                  <a:lnTo>
                    <a:pt x="192" y="298"/>
                  </a:lnTo>
                  <a:lnTo>
                    <a:pt x="202" y="309"/>
                  </a:lnTo>
                  <a:lnTo>
                    <a:pt x="220" y="288"/>
                  </a:lnTo>
                  <a:lnTo>
                    <a:pt x="237" y="263"/>
                  </a:lnTo>
                  <a:lnTo>
                    <a:pt x="251" y="270"/>
                  </a:lnTo>
                  <a:lnTo>
                    <a:pt x="253" y="307"/>
                  </a:lnTo>
                  <a:lnTo>
                    <a:pt x="254" y="332"/>
                  </a:lnTo>
                  <a:lnTo>
                    <a:pt x="230" y="345"/>
                  </a:lnTo>
                  <a:lnTo>
                    <a:pt x="215" y="361"/>
                  </a:lnTo>
                  <a:lnTo>
                    <a:pt x="210" y="374"/>
                  </a:lnTo>
                  <a:lnTo>
                    <a:pt x="241" y="400"/>
                  </a:lnTo>
                  <a:lnTo>
                    <a:pt x="269" y="395"/>
                  </a:lnTo>
                  <a:lnTo>
                    <a:pt x="274" y="411"/>
                  </a:lnTo>
                  <a:lnTo>
                    <a:pt x="303" y="393"/>
                  </a:lnTo>
                  <a:lnTo>
                    <a:pt x="301" y="407"/>
                  </a:lnTo>
                  <a:lnTo>
                    <a:pt x="277" y="436"/>
                  </a:lnTo>
                  <a:lnTo>
                    <a:pt x="288" y="467"/>
                  </a:lnTo>
                  <a:lnTo>
                    <a:pt x="290" y="483"/>
                  </a:lnTo>
                  <a:lnTo>
                    <a:pt x="315" y="486"/>
                  </a:lnTo>
                  <a:lnTo>
                    <a:pt x="316" y="501"/>
                  </a:lnTo>
                  <a:lnTo>
                    <a:pt x="288" y="535"/>
                  </a:lnTo>
                  <a:lnTo>
                    <a:pt x="277" y="530"/>
                  </a:lnTo>
                  <a:lnTo>
                    <a:pt x="266" y="541"/>
                  </a:lnTo>
                  <a:lnTo>
                    <a:pt x="264" y="559"/>
                  </a:lnTo>
                  <a:lnTo>
                    <a:pt x="235" y="543"/>
                  </a:lnTo>
                  <a:lnTo>
                    <a:pt x="161" y="569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5060" name="Freeform 20"/>
            <p:cNvSpPr>
              <a:spLocks/>
            </p:cNvSpPr>
            <p:nvPr/>
          </p:nvSpPr>
          <p:spPr bwMode="auto">
            <a:xfrm>
              <a:off x="1142" y="1645"/>
              <a:ext cx="45" cy="32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42" y="2"/>
                </a:cxn>
                <a:cxn ang="0">
                  <a:pos x="45" y="14"/>
                </a:cxn>
                <a:cxn ang="0">
                  <a:pos x="24" y="27"/>
                </a:cxn>
                <a:cxn ang="0">
                  <a:pos x="3" y="32"/>
                </a:cxn>
                <a:cxn ang="0">
                  <a:pos x="0" y="18"/>
                </a:cxn>
                <a:cxn ang="0">
                  <a:pos x="23" y="0"/>
                </a:cxn>
              </a:cxnLst>
              <a:rect l="0" t="0" r="r" b="b"/>
              <a:pathLst>
                <a:path w="45" h="32">
                  <a:moveTo>
                    <a:pt x="23" y="0"/>
                  </a:moveTo>
                  <a:lnTo>
                    <a:pt x="42" y="2"/>
                  </a:lnTo>
                  <a:lnTo>
                    <a:pt x="45" y="14"/>
                  </a:lnTo>
                  <a:lnTo>
                    <a:pt x="24" y="27"/>
                  </a:lnTo>
                  <a:lnTo>
                    <a:pt x="3" y="32"/>
                  </a:lnTo>
                  <a:lnTo>
                    <a:pt x="0" y="18"/>
                  </a:lnTo>
                  <a:lnTo>
                    <a:pt x="23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5061" name="Freeform 21"/>
            <p:cNvSpPr>
              <a:spLocks/>
            </p:cNvSpPr>
            <p:nvPr/>
          </p:nvSpPr>
          <p:spPr bwMode="auto">
            <a:xfrm>
              <a:off x="1111" y="1436"/>
              <a:ext cx="45" cy="32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45" y="16"/>
                </a:cxn>
                <a:cxn ang="0">
                  <a:pos x="23" y="28"/>
                </a:cxn>
                <a:cxn ang="0">
                  <a:pos x="5" y="32"/>
                </a:cxn>
                <a:cxn ang="0">
                  <a:pos x="0" y="17"/>
                </a:cxn>
                <a:cxn ang="0">
                  <a:pos x="9" y="6"/>
                </a:cxn>
                <a:cxn ang="0">
                  <a:pos x="37" y="0"/>
                </a:cxn>
              </a:cxnLst>
              <a:rect l="0" t="0" r="r" b="b"/>
              <a:pathLst>
                <a:path w="45" h="32">
                  <a:moveTo>
                    <a:pt x="37" y="0"/>
                  </a:moveTo>
                  <a:lnTo>
                    <a:pt x="45" y="16"/>
                  </a:lnTo>
                  <a:lnTo>
                    <a:pt x="23" y="28"/>
                  </a:lnTo>
                  <a:lnTo>
                    <a:pt x="5" y="32"/>
                  </a:lnTo>
                  <a:lnTo>
                    <a:pt x="0" y="17"/>
                  </a:lnTo>
                  <a:lnTo>
                    <a:pt x="9" y="6"/>
                  </a:lnTo>
                  <a:lnTo>
                    <a:pt x="37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5062" name="Freeform 22"/>
            <p:cNvSpPr>
              <a:spLocks/>
            </p:cNvSpPr>
            <p:nvPr/>
          </p:nvSpPr>
          <p:spPr bwMode="auto">
            <a:xfrm>
              <a:off x="1176" y="1274"/>
              <a:ext cx="24" cy="62"/>
            </a:xfrm>
            <a:custGeom>
              <a:avLst/>
              <a:gdLst/>
              <a:ahLst/>
              <a:cxnLst>
                <a:cxn ang="0">
                  <a:pos x="11" y="62"/>
                </a:cxn>
                <a:cxn ang="0">
                  <a:pos x="24" y="46"/>
                </a:cxn>
                <a:cxn ang="0">
                  <a:pos x="19" y="26"/>
                </a:cxn>
                <a:cxn ang="0">
                  <a:pos x="15" y="15"/>
                </a:cxn>
                <a:cxn ang="0">
                  <a:pos x="11" y="0"/>
                </a:cxn>
                <a:cxn ang="0">
                  <a:pos x="0" y="7"/>
                </a:cxn>
                <a:cxn ang="0">
                  <a:pos x="6" y="28"/>
                </a:cxn>
                <a:cxn ang="0">
                  <a:pos x="11" y="62"/>
                </a:cxn>
              </a:cxnLst>
              <a:rect l="0" t="0" r="r" b="b"/>
              <a:pathLst>
                <a:path w="24" h="62">
                  <a:moveTo>
                    <a:pt x="11" y="62"/>
                  </a:moveTo>
                  <a:lnTo>
                    <a:pt x="24" y="46"/>
                  </a:lnTo>
                  <a:lnTo>
                    <a:pt x="19" y="26"/>
                  </a:lnTo>
                  <a:lnTo>
                    <a:pt x="15" y="15"/>
                  </a:lnTo>
                  <a:lnTo>
                    <a:pt x="11" y="0"/>
                  </a:lnTo>
                  <a:lnTo>
                    <a:pt x="0" y="7"/>
                  </a:lnTo>
                  <a:lnTo>
                    <a:pt x="6" y="28"/>
                  </a:lnTo>
                  <a:lnTo>
                    <a:pt x="11" y="62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5063" name="Freeform 23"/>
            <p:cNvSpPr>
              <a:spLocks/>
            </p:cNvSpPr>
            <p:nvPr/>
          </p:nvSpPr>
          <p:spPr bwMode="auto">
            <a:xfrm>
              <a:off x="1000" y="1516"/>
              <a:ext cx="116" cy="118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67" y="0"/>
                </a:cxn>
                <a:cxn ang="0">
                  <a:pos x="88" y="5"/>
                </a:cxn>
                <a:cxn ang="0">
                  <a:pos x="101" y="24"/>
                </a:cxn>
                <a:cxn ang="0">
                  <a:pos x="114" y="55"/>
                </a:cxn>
                <a:cxn ang="0">
                  <a:pos x="116" y="81"/>
                </a:cxn>
                <a:cxn ang="0">
                  <a:pos x="103" y="94"/>
                </a:cxn>
                <a:cxn ang="0">
                  <a:pos x="98" y="112"/>
                </a:cxn>
                <a:cxn ang="0">
                  <a:pos x="85" y="118"/>
                </a:cxn>
                <a:cxn ang="0">
                  <a:pos x="72" y="103"/>
                </a:cxn>
                <a:cxn ang="0">
                  <a:pos x="60" y="74"/>
                </a:cxn>
                <a:cxn ang="0">
                  <a:pos x="52" y="63"/>
                </a:cxn>
                <a:cxn ang="0">
                  <a:pos x="29" y="61"/>
                </a:cxn>
                <a:cxn ang="0">
                  <a:pos x="0" y="31"/>
                </a:cxn>
                <a:cxn ang="0">
                  <a:pos x="41" y="0"/>
                </a:cxn>
              </a:cxnLst>
              <a:rect l="0" t="0" r="r" b="b"/>
              <a:pathLst>
                <a:path w="116" h="118">
                  <a:moveTo>
                    <a:pt x="41" y="0"/>
                  </a:moveTo>
                  <a:lnTo>
                    <a:pt x="67" y="0"/>
                  </a:lnTo>
                  <a:lnTo>
                    <a:pt x="88" y="5"/>
                  </a:lnTo>
                  <a:lnTo>
                    <a:pt x="101" y="24"/>
                  </a:lnTo>
                  <a:lnTo>
                    <a:pt x="114" y="55"/>
                  </a:lnTo>
                  <a:lnTo>
                    <a:pt x="116" y="81"/>
                  </a:lnTo>
                  <a:lnTo>
                    <a:pt x="103" y="94"/>
                  </a:lnTo>
                  <a:lnTo>
                    <a:pt x="98" y="112"/>
                  </a:lnTo>
                  <a:lnTo>
                    <a:pt x="85" y="118"/>
                  </a:lnTo>
                  <a:lnTo>
                    <a:pt x="72" y="103"/>
                  </a:lnTo>
                  <a:lnTo>
                    <a:pt x="60" y="74"/>
                  </a:lnTo>
                  <a:lnTo>
                    <a:pt x="52" y="63"/>
                  </a:lnTo>
                  <a:lnTo>
                    <a:pt x="29" y="61"/>
                  </a:lnTo>
                  <a:lnTo>
                    <a:pt x="0" y="31"/>
                  </a:lnTo>
                  <a:lnTo>
                    <a:pt x="41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5064" name="Freeform 24"/>
            <p:cNvSpPr>
              <a:spLocks/>
            </p:cNvSpPr>
            <p:nvPr/>
          </p:nvSpPr>
          <p:spPr bwMode="auto">
            <a:xfrm>
              <a:off x="1171" y="1203"/>
              <a:ext cx="60" cy="44"/>
            </a:xfrm>
            <a:custGeom>
              <a:avLst/>
              <a:gdLst/>
              <a:ahLst/>
              <a:cxnLst>
                <a:cxn ang="0">
                  <a:pos x="53" y="0"/>
                </a:cxn>
                <a:cxn ang="0">
                  <a:pos x="60" y="11"/>
                </a:cxn>
                <a:cxn ang="0">
                  <a:pos x="37" y="24"/>
                </a:cxn>
                <a:cxn ang="0">
                  <a:pos x="16" y="44"/>
                </a:cxn>
                <a:cxn ang="0">
                  <a:pos x="3" y="40"/>
                </a:cxn>
                <a:cxn ang="0">
                  <a:pos x="0" y="16"/>
                </a:cxn>
                <a:cxn ang="0">
                  <a:pos x="0" y="7"/>
                </a:cxn>
                <a:cxn ang="0">
                  <a:pos x="36" y="0"/>
                </a:cxn>
                <a:cxn ang="0">
                  <a:pos x="53" y="0"/>
                </a:cxn>
              </a:cxnLst>
              <a:rect l="0" t="0" r="r" b="b"/>
              <a:pathLst>
                <a:path w="60" h="44">
                  <a:moveTo>
                    <a:pt x="53" y="0"/>
                  </a:moveTo>
                  <a:lnTo>
                    <a:pt x="60" y="11"/>
                  </a:lnTo>
                  <a:lnTo>
                    <a:pt x="37" y="24"/>
                  </a:lnTo>
                  <a:lnTo>
                    <a:pt x="16" y="44"/>
                  </a:lnTo>
                  <a:lnTo>
                    <a:pt x="3" y="40"/>
                  </a:lnTo>
                  <a:lnTo>
                    <a:pt x="0" y="16"/>
                  </a:lnTo>
                  <a:lnTo>
                    <a:pt x="0" y="7"/>
                  </a:lnTo>
                  <a:lnTo>
                    <a:pt x="36" y="0"/>
                  </a:lnTo>
                  <a:lnTo>
                    <a:pt x="53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" name="Group 35"/>
          <p:cNvGrpSpPr>
            <a:grpSpLocks/>
          </p:cNvGrpSpPr>
          <p:nvPr/>
        </p:nvGrpSpPr>
        <p:grpSpPr bwMode="auto">
          <a:xfrm>
            <a:off x="7653338" y="1412875"/>
            <a:ext cx="1239837" cy="1184275"/>
            <a:chOff x="1726" y="1774"/>
            <a:chExt cx="610" cy="815"/>
          </a:xfrm>
        </p:grpSpPr>
        <p:sp>
          <p:nvSpPr>
            <p:cNvPr id="215076" name="Freeform 36"/>
            <p:cNvSpPr>
              <a:spLocks/>
            </p:cNvSpPr>
            <p:nvPr/>
          </p:nvSpPr>
          <p:spPr bwMode="auto">
            <a:xfrm>
              <a:off x="2243" y="1851"/>
              <a:ext cx="29" cy="27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5"/>
                </a:cxn>
                <a:cxn ang="0">
                  <a:pos x="3" y="18"/>
                </a:cxn>
                <a:cxn ang="0">
                  <a:pos x="18" y="27"/>
                </a:cxn>
                <a:cxn ang="0">
                  <a:pos x="29" y="16"/>
                </a:cxn>
                <a:cxn ang="0">
                  <a:pos x="3" y="0"/>
                </a:cxn>
              </a:cxnLst>
              <a:rect l="0" t="0" r="r" b="b"/>
              <a:pathLst>
                <a:path w="29" h="27">
                  <a:moveTo>
                    <a:pt x="3" y="0"/>
                  </a:moveTo>
                  <a:lnTo>
                    <a:pt x="0" y="5"/>
                  </a:lnTo>
                  <a:lnTo>
                    <a:pt x="3" y="18"/>
                  </a:lnTo>
                  <a:lnTo>
                    <a:pt x="18" y="27"/>
                  </a:lnTo>
                  <a:lnTo>
                    <a:pt x="29" y="16"/>
                  </a:lnTo>
                  <a:lnTo>
                    <a:pt x="3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5077" name="Freeform 37"/>
            <p:cNvSpPr>
              <a:spLocks/>
            </p:cNvSpPr>
            <p:nvPr/>
          </p:nvSpPr>
          <p:spPr bwMode="auto">
            <a:xfrm>
              <a:off x="1726" y="1774"/>
              <a:ext cx="610" cy="815"/>
            </a:xfrm>
            <a:custGeom>
              <a:avLst/>
              <a:gdLst/>
              <a:ahLst/>
              <a:cxnLst>
                <a:cxn ang="0">
                  <a:pos x="239" y="18"/>
                </a:cxn>
                <a:cxn ang="0">
                  <a:pos x="246" y="57"/>
                </a:cxn>
                <a:cxn ang="0">
                  <a:pos x="241" y="86"/>
                </a:cxn>
                <a:cxn ang="0">
                  <a:pos x="275" y="128"/>
                </a:cxn>
                <a:cxn ang="0">
                  <a:pos x="226" y="114"/>
                </a:cxn>
                <a:cxn ang="0">
                  <a:pos x="188" y="145"/>
                </a:cxn>
                <a:cxn ang="0">
                  <a:pos x="161" y="119"/>
                </a:cxn>
                <a:cxn ang="0">
                  <a:pos x="112" y="145"/>
                </a:cxn>
                <a:cxn ang="0">
                  <a:pos x="122" y="187"/>
                </a:cxn>
                <a:cxn ang="0">
                  <a:pos x="97" y="210"/>
                </a:cxn>
                <a:cxn ang="0">
                  <a:pos x="102" y="249"/>
                </a:cxn>
                <a:cxn ang="0">
                  <a:pos x="68" y="291"/>
                </a:cxn>
                <a:cxn ang="0">
                  <a:pos x="34" y="324"/>
                </a:cxn>
                <a:cxn ang="0">
                  <a:pos x="23" y="389"/>
                </a:cxn>
                <a:cxn ang="0">
                  <a:pos x="18" y="418"/>
                </a:cxn>
                <a:cxn ang="0">
                  <a:pos x="3" y="477"/>
                </a:cxn>
                <a:cxn ang="0">
                  <a:pos x="23" y="506"/>
                </a:cxn>
                <a:cxn ang="0">
                  <a:pos x="0" y="543"/>
                </a:cxn>
                <a:cxn ang="0">
                  <a:pos x="34" y="583"/>
                </a:cxn>
                <a:cxn ang="0">
                  <a:pos x="96" y="592"/>
                </a:cxn>
                <a:cxn ang="0">
                  <a:pos x="106" y="620"/>
                </a:cxn>
                <a:cxn ang="0">
                  <a:pos x="78" y="659"/>
                </a:cxn>
                <a:cxn ang="0">
                  <a:pos x="53" y="724"/>
                </a:cxn>
                <a:cxn ang="0">
                  <a:pos x="86" y="764"/>
                </a:cxn>
                <a:cxn ang="0">
                  <a:pos x="117" y="748"/>
                </a:cxn>
                <a:cxn ang="0">
                  <a:pos x="148" y="760"/>
                </a:cxn>
                <a:cxn ang="0">
                  <a:pos x="177" y="786"/>
                </a:cxn>
                <a:cxn ang="0">
                  <a:pos x="234" y="795"/>
                </a:cxn>
                <a:cxn ang="0">
                  <a:pos x="272" y="802"/>
                </a:cxn>
                <a:cxn ang="0">
                  <a:pos x="330" y="802"/>
                </a:cxn>
                <a:cxn ang="0">
                  <a:pos x="367" y="797"/>
                </a:cxn>
                <a:cxn ang="0">
                  <a:pos x="407" y="797"/>
                </a:cxn>
                <a:cxn ang="0">
                  <a:pos x="455" y="808"/>
                </a:cxn>
                <a:cxn ang="0">
                  <a:pos x="444" y="773"/>
                </a:cxn>
                <a:cxn ang="0">
                  <a:pos x="515" y="706"/>
                </a:cxn>
                <a:cxn ang="0">
                  <a:pos x="480" y="675"/>
                </a:cxn>
                <a:cxn ang="0">
                  <a:pos x="413" y="610"/>
                </a:cxn>
                <a:cxn ang="0">
                  <a:pos x="397" y="550"/>
                </a:cxn>
                <a:cxn ang="0">
                  <a:pos x="419" y="536"/>
                </a:cxn>
                <a:cxn ang="0">
                  <a:pos x="552" y="477"/>
                </a:cxn>
                <a:cxn ang="0">
                  <a:pos x="600" y="474"/>
                </a:cxn>
                <a:cxn ang="0">
                  <a:pos x="610" y="433"/>
                </a:cxn>
                <a:cxn ang="0">
                  <a:pos x="597" y="358"/>
                </a:cxn>
                <a:cxn ang="0">
                  <a:pos x="586" y="305"/>
                </a:cxn>
                <a:cxn ang="0">
                  <a:pos x="571" y="247"/>
                </a:cxn>
                <a:cxn ang="0">
                  <a:pos x="546" y="155"/>
                </a:cxn>
                <a:cxn ang="0">
                  <a:pos x="493" y="101"/>
                </a:cxn>
                <a:cxn ang="0">
                  <a:pos x="451" y="99"/>
                </a:cxn>
                <a:cxn ang="0">
                  <a:pos x="380" y="126"/>
                </a:cxn>
                <a:cxn ang="0">
                  <a:pos x="374" y="104"/>
                </a:cxn>
                <a:cxn ang="0">
                  <a:pos x="338" y="70"/>
                </a:cxn>
                <a:cxn ang="0">
                  <a:pos x="309" y="18"/>
                </a:cxn>
                <a:cxn ang="0">
                  <a:pos x="268" y="2"/>
                </a:cxn>
              </a:cxnLst>
              <a:rect l="0" t="0" r="r" b="b"/>
              <a:pathLst>
                <a:path w="610" h="815">
                  <a:moveTo>
                    <a:pt x="252" y="0"/>
                  </a:moveTo>
                  <a:lnTo>
                    <a:pt x="239" y="8"/>
                  </a:lnTo>
                  <a:lnTo>
                    <a:pt x="239" y="18"/>
                  </a:lnTo>
                  <a:lnTo>
                    <a:pt x="241" y="26"/>
                  </a:lnTo>
                  <a:lnTo>
                    <a:pt x="244" y="39"/>
                  </a:lnTo>
                  <a:lnTo>
                    <a:pt x="246" y="57"/>
                  </a:lnTo>
                  <a:lnTo>
                    <a:pt x="239" y="64"/>
                  </a:lnTo>
                  <a:lnTo>
                    <a:pt x="239" y="75"/>
                  </a:lnTo>
                  <a:lnTo>
                    <a:pt x="241" y="86"/>
                  </a:lnTo>
                  <a:lnTo>
                    <a:pt x="259" y="101"/>
                  </a:lnTo>
                  <a:lnTo>
                    <a:pt x="270" y="104"/>
                  </a:lnTo>
                  <a:lnTo>
                    <a:pt x="275" y="128"/>
                  </a:lnTo>
                  <a:lnTo>
                    <a:pt x="250" y="122"/>
                  </a:lnTo>
                  <a:lnTo>
                    <a:pt x="237" y="108"/>
                  </a:lnTo>
                  <a:lnTo>
                    <a:pt x="226" y="114"/>
                  </a:lnTo>
                  <a:lnTo>
                    <a:pt x="206" y="139"/>
                  </a:lnTo>
                  <a:lnTo>
                    <a:pt x="197" y="148"/>
                  </a:lnTo>
                  <a:lnTo>
                    <a:pt x="188" y="145"/>
                  </a:lnTo>
                  <a:lnTo>
                    <a:pt x="186" y="135"/>
                  </a:lnTo>
                  <a:lnTo>
                    <a:pt x="179" y="126"/>
                  </a:lnTo>
                  <a:lnTo>
                    <a:pt x="161" y="119"/>
                  </a:lnTo>
                  <a:lnTo>
                    <a:pt x="135" y="119"/>
                  </a:lnTo>
                  <a:lnTo>
                    <a:pt x="127" y="130"/>
                  </a:lnTo>
                  <a:lnTo>
                    <a:pt x="112" y="145"/>
                  </a:lnTo>
                  <a:lnTo>
                    <a:pt x="124" y="156"/>
                  </a:lnTo>
                  <a:lnTo>
                    <a:pt x="124" y="176"/>
                  </a:lnTo>
                  <a:lnTo>
                    <a:pt x="122" y="187"/>
                  </a:lnTo>
                  <a:lnTo>
                    <a:pt x="117" y="197"/>
                  </a:lnTo>
                  <a:lnTo>
                    <a:pt x="102" y="207"/>
                  </a:lnTo>
                  <a:lnTo>
                    <a:pt x="97" y="210"/>
                  </a:lnTo>
                  <a:lnTo>
                    <a:pt x="99" y="225"/>
                  </a:lnTo>
                  <a:lnTo>
                    <a:pt x="106" y="236"/>
                  </a:lnTo>
                  <a:lnTo>
                    <a:pt x="102" y="249"/>
                  </a:lnTo>
                  <a:lnTo>
                    <a:pt x="91" y="265"/>
                  </a:lnTo>
                  <a:lnTo>
                    <a:pt x="78" y="280"/>
                  </a:lnTo>
                  <a:lnTo>
                    <a:pt x="68" y="291"/>
                  </a:lnTo>
                  <a:lnTo>
                    <a:pt x="53" y="303"/>
                  </a:lnTo>
                  <a:lnTo>
                    <a:pt x="42" y="307"/>
                  </a:lnTo>
                  <a:lnTo>
                    <a:pt x="34" y="324"/>
                  </a:lnTo>
                  <a:lnTo>
                    <a:pt x="31" y="351"/>
                  </a:lnTo>
                  <a:lnTo>
                    <a:pt x="23" y="366"/>
                  </a:lnTo>
                  <a:lnTo>
                    <a:pt x="23" y="389"/>
                  </a:lnTo>
                  <a:lnTo>
                    <a:pt x="13" y="400"/>
                  </a:lnTo>
                  <a:lnTo>
                    <a:pt x="11" y="407"/>
                  </a:lnTo>
                  <a:lnTo>
                    <a:pt x="18" y="418"/>
                  </a:lnTo>
                  <a:lnTo>
                    <a:pt x="23" y="435"/>
                  </a:lnTo>
                  <a:lnTo>
                    <a:pt x="34" y="451"/>
                  </a:lnTo>
                  <a:lnTo>
                    <a:pt x="3" y="477"/>
                  </a:lnTo>
                  <a:lnTo>
                    <a:pt x="9" y="493"/>
                  </a:lnTo>
                  <a:lnTo>
                    <a:pt x="21" y="503"/>
                  </a:lnTo>
                  <a:lnTo>
                    <a:pt x="23" y="506"/>
                  </a:lnTo>
                  <a:lnTo>
                    <a:pt x="23" y="517"/>
                  </a:lnTo>
                  <a:lnTo>
                    <a:pt x="7" y="527"/>
                  </a:lnTo>
                  <a:lnTo>
                    <a:pt x="0" y="543"/>
                  </a:lnTo>
                  <a:lnTo>
                    <a:pt x="7" y="563"/>
                  </a:lnTo>
                  <a:lnTo>
                    <a:pt x="16" y="576"/>
                  </a:lnTo>
                  <a:lnTo>
                    <a:pt x="34" y="583"/>
                  </a:lnTo>
                  <a:lnTo>
                    <a:pt x="55" y="587"/>
                  </a:lnTo>
                  <a:lnTo>
                    <a:pt x="78" y="589"/>
                  </a:lnTo>
                  <a:lnTo>
                    <a:pt x="96" y="592"/>
                  </a:lnTo>
                  <a:lnTo>
                    <a:pt x="109" y="601"/>
                  </a:lnTo>
                  <a:lnTo>
                    <a:pt x="122" y="612"/>
                  </a:lnTo>
                  <a:lnTo>
                    <a:pt x="106" y="620"/>
                  </a:lnTo>
                  <a:lnTo>
                    <a:pt x="93" y="634"/>
                  </a:lnTo>
                  <a:lnTo>
                    <a:pt x="80" y="644"/>
                  </a:lnTo>
                  <a:lnTo>
                    <a:pt x="78" y="659"/>
                  </a:lnTo>
                  <a:lnTo>
                    <a:pt x="71" y="691"/>
                  </a:lnTo>
                  <a:lnTo>
                    <a:pt x="60" y="711"/>
                  </a:lnTo>
                  <a:lnTo>
                    <a:pt x="53" y="724"/>
                  </a:lnTo>
                  <a:lnTo>
                    <a:pt x="71" y="748"/>
                  </a:lnTo>
                  <a:lnTo>
                    <a:pt x="75" y="755"/>
                  </a:lnTo>
                  <a:lnTo>
                    <a:pt x="86" y="764"/>
                  </a:lnTo>
                  <a:lnTo>
                    <a:pt x="97" y="762"/>
                  </a:lnTo>
                  <a:lnTo>
                    <a:pt x="111" y="755"/>
                  </a:lnTo>
                  <a:lnTo>
                    <a:pt x="117" y="748"/>
                  </a:lnTo>
                  <a:lnTo>
                    <a:pt x="120" y="745"/>
                  </a:lnTo>
                  <a:lnTo>
                    <a:pt x="140" y="748"/>
                  </a:lnTo>
                  <a:lnTo>
                    <a:pt x="148" y="760"/>
                  </a:lnTo>
                  <a:lnTo>
                    <a:pt x="155" y="773"/>
                  </a:lnTo>
                  <a:lnTo>
                    <a:pt x="164" y="784"/>
                  </a:lnTo>
                  <a:lnTo>
                    <a:pt x="177" y="786"/>
                  </a:lnTo>
                  <a:lnTo>
                    <a:pt x="203" y="784"/>
                  </a:lnTo>
                  <a:lnTo>
                    <a:pt x="216" y="782"/>
                  </a:lnTo>
                  <a:lnTo>
                    <a:pt x="234" y="795"/>
                  </a:lnTo>
                  <a:lnTo>
                    <a:pt x="247" y="789"/>
                  </a:lnTo>
                  <a:lnTo>
                    <a:pt x="260" y="792"/>
                  </a:lnTo>
                  <a:lnTo>
                    <a:pt x="272" y="802"/>
                  </a:lnTo>
                  <a:lnTo>
                    <a:pt x="294" y="792"/>
                  </a:lnTo>
                  <a:lnTo>
                    <a:pt x="314" y="792"/>
                  </a:lnTo>
                  <a:lnTo>
                    <a:pt x="330" y="802"/>
                  </a:lnTo>
                  <a:lnTo>
                    <a:pt x="340" y="807"/>
                  </a:lnTo>
                  <a:lnTo>
                    <a:pt x="354" y="797"/>
                  </a:lnTo>
                  <a:lnTo>
                    <a:pt x="367" y="797"/>
                  </a:lnTo>
                  <a:lnTo>
                    <a:pt x="389" y="792"/>
                  </a:lnTo>
                  <a:lnTo>
                    <a:pt x="405" y="802"/>
                  </a:lnTo>
                  <a:lnTo>
                    <a:pt x="407" y="797"/>
                  </a:lnTo>
                  <a:lnTo>
                    <a:pt x="424" y="808"/>
                  </a:lnTo>
                  <a:lnTo>
                    <a:pt x="438" y="815"/>
                  </a:lnTo>
                  <a:lnTo>
                    <a:pt x="455" y="808"/>
                  </a:lnTo>
                  <a:lnTo>
                    <a:pt x="457" y="797"/>
                  </a:lnTo>
                  <a:lnTo>
                    <a:pt x="447" y="782"/>
                  </a:lnTo>
                  <a:lnTo>
                    <a:pt x="444" y="773"/>
                  </a:lnTo>
                  <a:lnTo>
                    <a:pt x="438" y="747"/>
                  </a:lnTo>
                  <a:lnTo>
                    <a:pt x="499" y="706"/>
                  </a:lnTo>
                  <a:lnTo>
                    <a:pt x="515" y="706"/>
                  </a:lnTo>
                  <a:lnTo>
                    <a:pt x="517" y="700"/>
                  </a:lnTo>
                  <a:lnTo>
                    <a:pt x="496" y="692"/>
                  </a:lnTo>
                  <a:lnTo>
                    <a:pt x="480" y="675"/>
                  </a:lnTo>
                  <a:lnTo>
                    <a:pt x="441" y="641"/>
                  </a:lnTo>
                  <a:lnTo>
                    <a:pt x="436" y="614"/>
                  </a:lnTo>
                  <a:lnTo>
                    <a:pt x="413" y="610"/>
                  </a:lnTo>
                  <a:lnTo>
                    <a:pt x="411" y="583"/>
                  </a:lnTo>
                  <a:lnTo>
                    <a:pt x="406" y="561"/>
                  </a:lnTo>
                  <a:lnTo>
                    <a:pt x="397" y="550"/>
                  </a:lnTo>
                  <a:lnTo>
                    <a:pt x="403" y="539"/>
                  </a:lnTo>
                  <a:lnTo>
                    <a:pt x="407" y="535"/>
                  </a:lnTo>
                  <a:lnTo>
                    <a:pt x="419" y="536"/>
                  </a:lnTo>
                  <a:lnTo>
                    <a:pt x="456" y="525"/>
                  </a:lnTo>
                  <a:lnTo>
                    <a:pt x="535" y="484"/>
                  </a:lnTo>
                  <a:lnTo>
                    <a:pt x="552" y="477"/>
                  </a:lnTo>
                  <a:lnTo>
                    <a:pt x="568" y="466"/>
                  </a:lnTo>
                  <a:lnTo>
                    <a:pt x="582" y="481"/>
                  </a:lnTo>
                  <a:lnTo>
                    <a:pt x="600" y="474"/>
                  </a:lnTo>
                  <a:lnTo>
                    <a:pt x="604" y="456"/>
                  </a:lnTo>
                  <a:lnTo>
                    <a:pt x="603" y="445"/>
                  </a:lnTo>
                  <a:lnTo>
                    <a:pt x="610" y="433"/>
                  </a:lnTo>
                  <a:lnTo>
                    <a:pt x="601" y="419"/>
                  </a:lnTo>
                  <a:lnTo>
                    <a:pt x="590" y="394"/>
                  </a:lnTo>
                  <a:lnTo>
                    <a:pt x="597" y="358"/>
                  </a:lnTo>
                  <a:lnTo>
                    <a:pt x="585" y="340"/>
                  </a:lnTo>
                  <a:lnTo>
                    <a:pt x="580" y="322"/>
                  </a:lnTo>
                  <a:lnTo>
                    <a:pt x="586" y="305"/>
                  </a:lnTo>
                  <a:lnTo>
                    <a:pt x="583" y="291"/>
                  </a:lnTo>
                  <a:lnTo>
                    <a:pt x="558" y="264"/>
                  </a:lnTo>
                  <a:lnTo>
                    <a:pt x="571" y="247"/>
                  </a:lnTo>
                  <a:lnTo>
                    <a:pt x="571" y="218"/>
                  </a:lnTo>
                  <a:lnTo>
                    <a:pt x="573" y="185"/>
                  </a:lnTo>
                  <a:lnTo>
                    <a:pt x="546" y="155"/>
                  </a:lnTo>
                  <a:lnTo>
                    <a:pt x="533" y="137"/>
                  </a:lnTo>
                  <a:lnTo>
                    <a:pt x="517" y="122"/>
                  </a:lnTo>
                  <a:lnTo>
                    <a:pt x="493" y="101"/>
                  </a:lnTo>
                  <a:lnTo>
                    <a:pt x="478" y="91"/>
                  </a:lnTo>
                  <a:lnTo>
                    <a:pt x="467" y="88"/>
                  </a:lnTo>
                  <a:lnTo>
                    <a:pt x="451" y="99"/>
                  </a:lnTo>
                  <a:lnTo>
                    <a:pt x="440" y="106"/>
                  </a:lnTo>
                  <a:lnTo>
                    <a:pt x="405" y="132"/>
                  </a:lnTo>
                  <a:lnTo>
                    <a:pt x="380" y="126"/>
                  </a:lnTo>
                  <a:lnTo>
                    <a:pt x="369" y="126"/>
                  </a:lnTo>
                  <a:lnTo>
                    <a:pt x="369" y="117"/>
                  </a:lnTo>
                  <a:lnTo>
                    <a:pt x="374" y="104"/>
                  </a:lnTo>
                  <a:lnTo>
                    <a:pt x="380" y="93"/>
                  </a:lnTo>
                  <a:lnTo>
                    <a:pt x="348" y="73"/>
                  </a:lnTo>
                  <a:lnTo>
                    <a:pt x="338" y="70"/>
                  </a:lnTo>
                  <a:lnTo>
                    <a:pt x="323" y="57"/>
                  </a:lnTo>
                  <a:lnTo>
                    <a:pt x="317" y="33"/>
                  </a:lnTo>
                  <a:lnTo>
                    <a:pt x="309" y="18"/>
                  </a:lnTo>
                  <a:lnTo>
                    <a:pt x="299" y="20"/>
                  </a:lnTo>
                  <a:lnTo>
                    <a:pt x="286" y="5"/>
                  </a:lnTo>
                  <a:lnTo>
                    <a:pt x="268" y="2"/>
                  </a:lnTo>
                  <a:lnTo>
                    <a:pt x="252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15101" name="Line 61"/>
          <p:cNvSpPr>
            <a:spLocks noChangeShapeType="1"/>
          </p:cNvSpPr>
          <p:nvPr/>
        </p:nvSpPr>
        <p:spPr bwMode="auto">
          <a:xfrm flipH="1" flipV="1">
            <a:off x="1476374" y="2060574"/>
            <a:ext cx="1439441" cy="1051161"/>
          </a:xfrm>
          <a:prstGeom prst="line">
            <a:avLst/>
          </a:prstGeom>
          <a:noFill/>
          <a:ln w="38100">
            <a:solidFill>
              <a:schemeClr val="accent1">
                <a:lumMod val="50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102" name="Line 62"/>
          <p:cNvSpPr>
            <a:spLocks noChangeShapeType="1"/>
          </p:cNvSpPr>
          <p:nvPr/>
        </p:nvSpPr>
        <p:spPr bwMode="auto">
          <a:xfrm flipH="1">
            <a:off x="1547813" y="3855460"/>
            <a:ext cx="1819280" cy="654628"/>
          </a:xfrm>
          <a:prstGeom prst="line">
            <a:avLst/>
          </a:prstGeom>
          <a:noFill/>
          <a:ln w="38100">
            <a:solidFill>
              <a:schemeClr val="accent1">
                <a:lumMod val="50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103" name="Line 63"/>
          <p:cNvSpPr>
            <a:spLocks noChangeShapeType="1"/>
          </p:cNvSpPr>
          <p:nvPr/>
        </p:nvSpPr>
        <p:spPr bwMode="auto">
          <a:xfrm flipV="1">
            <a:off x="6373391" y="2225674"/>
            <a:ext cx="1279947" cy="555253"/>
          </a:xfrm>
          <a:prstGeom prst="line">
            <a:avLst/>
          </a:prstGeom>
          <a:noFill/>
          <a:ln w="38100">
            <a:solidFill>
              <a:schemeClr val="accent1">
                <a:lumMod val="50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104" name="Line 64"/>
          <p:cNvSpPr>
            <a:spLocks noChangeShapeType="1"/>
          </p:cNvSpPr>
          <p:nvPr/>
        </p:nvSpPr>
        <p:spPr bwMode="auto">
          <a:xfrm>
            <a:off x="5013057" y="4453978"/>
            <a:ext cx="1308100" cy="869684"/>
          </a:xfrm>
          <a:prstGeom prst="line">
            <a:avLst/>
          </a:prstGeom>
          <a:noFill/>
          <a:ln w="38100">
            <a:solidFill>
              <a:schemeClr val="accent1">
                <a:lumMod val="50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105" name="Line 65"/>
          <p:cNvSpPr>
            <a:spLocks noChangeShapeType="1"/>
          </p:cNvSpPr>
          <p:nvPr/>
        </p:nvSpPr>
        <p:spPr bwMode="auto">
          <a:xfrm flipH="1">
            <a:off x="3921271" y="4510088"/>
            <a:ext cx="145901" cy="911895"/>
          </a:xfrm>
          <a:prstGeom prst="line">
            <a:avLst/>
          </a:prstGeom>
          <a:noFill/>
          <a:ln w="38100">
            <a:solidFill>
              <a:schemeClr val="accent1">
                <a:lumMod val="50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106" name="Line 66"/>
          <p:cNvSpPr>
            <a:spLocks noChangeShapeType="1"/>
          </p:cNvSpPr>
          <p:nvPr/>
        </p:nvSpPr>
        <p:spPr bwMode="auto">
          <a:xfrm flipV="1">
            <a:off x="5111719" y="1773238"/>
            <a:ext cx="647700" cy="577849"/>
          </a:xfrm>
          <a:prstGeom prst="line">
            <a:avLst/>
          </a:prstGeom>
          <a:noFill/>
          <a:ln w="38100">
            <a:solidFill>
              <a:schemeClr val="accent1">
                <a:lumMod val="50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107" name="Line 67"/>
          <p:cNvSpPr>
            <a:spLocks noChangeShapeType="1"/>
          </p:cNvSpPr>
          <p:nvPr/>
        </p:nvSpPr>
        <p:spPr bwMode="auto">
          <a:xfrm flipV="1">
            <a:off x="4140200" y="1844675"/>
            <a:ext cx="0" cy="288925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5125" name="Line 85"/>
          <p:cNvSpPr>
            <a:spLocks noChangeShapeType="1"/>
          </p:cNvSpPr>
          <p:nvPr/>
        </p:nvSpPr>
        <p:spPr bwMode="auto">
          <a:xfrm>
            <a:off x="6732240" y="3429000"/>
            <a:ext cx="1295400" cy="0"/>
          </a:xfrm>
          <a:prstGeom prst="line">
            <a:avLst/>
          </a:prstGeom>
          <a:noFill/>
          <a:ln w="38100">
            <a:solidFill>
              <a:schemeClr val="accent1">
                <a:lumMod val="50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7" name="Oval 3"/>
          <p:cNvSpPr>
            <a:spLocks noChangeArrowheads="1"/>
          </p:cNvSpPr>
          <p:nvPr/>
        </p:nvSpPr>
        <p:spPr bwMode="auto">
          <a:xfrm>
            <a:off x="7956376" y="1772816"/>
            <a:ext cx="571500" cy="43815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es-ES_tradnl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,7</a:t>
            </a:r>
            <a:endParaRPr lang="es-ES_tradnl" sz="2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8" name="Oval 3"/>
          <p:cNvSpPr>
            <a:spLocks noChangeArrowheads="1"/>
          </p:cNvSpPr>
          <p:nvPr/>
        </p:nvSpPr>
        <p:spPr bwMode="auto">
          <a:xfrm>
            <a:off x="3635524" y="5919789"/>
            <a:ext cx="571500" cy="43815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es-ES_tradnl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2,5</a:t>
            </a:r>
            <a:endParaRPr lang="es-ES_tradnl" sz="2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2" name="Oval 3"/>
          <p:cNvSpPr>
            <a:spLocks noChangeArrowheads="1"/>
          </p:cNvSpPr>
          <p:nvPr/>
        </p:nvSpPr>
        <p:spPr bwMode="auto">
          <a:xfrm>
            <a:off x="467222" y="2918271"/>
            <a:ext cx="571500" cy="43815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es-ES_tradnl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9,7</a:t>
            </a:r>
            <a:endParaRPr lang="es-ES_tradnl" sz="2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3" name="Picture 40" descr="usa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95536" y="908720"/>
            <a:ext cx="1714500" cy="12557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94" name="Oval 3"/>
          <p:cNvSpPr>
            <a:spLocks noChangeArrowheads="1"/>
          </p:cNvSpPr>
          <p:nvPr/>
        </p:nvSpPr>
        <p:spPr bwMode="auto">
          <a:xfrm>
            <a:off x="824161" y="1265907"/>
            <a:ext cx="571500" cy="447675"/>
          </a:xfrm>
          <a:prstGeom prst="ellipse">
            <a:avLst/>
          </a:prstGeom>
          <a:ln>
            <a:solidFill>
              <a:schemeClr val="accent1">
                <a:lumMod val="50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es-ES_tradnl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31,7</a:t>
            </a:r>
            <a:endParaRPr lang="es-ES_tradnl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5" name="Line 62"/>
          <p:cNvSpPr>
            <a:spLocks noChangeShapeType="1"/>
          </p:cNvSpPr>
          <p:nvPr/>
        </p:nvSpPr>
        <p:spPr bwMode="auto">
          <a:xfrm flipH="1" flipV="1">
            <a:off x="1109826" y="3171583"/>
            <a:ext cx="1728514" cy="288602"/>
          </a:xfrm>
          <a:prstGeom prst="line">
            <a:avLst/>
          </a:prstGeom>
          <a:noFill/>
          <a:ln w="38100">
            <a:solidFill>
              <a:schemeClr val="accent1">
                <a:lumMod val="50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6" name="Oval 3"/>
          <p:cNvSpPr>
            <a:spLocks noChangeArrowheads="1"/>
          </p:cNvSpPr>
          <p:nvPr/>
        </p:nvSpPr>
        <p:spPr bwMode="auto">
          <a:xfrm>
            <a:off x="6288137" y="5525274"/>
            <a:ext cx="571500" cy="43815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es-ES_tradnl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8,9</a:t>
            </a:r>
            <a:endParaRPr lang="es-ES_tradnl" sz="2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0" name="Oval 3"/>
          <p:cNvSpPr>
            <a:spLocks noChangeArrowheads="1"/>
          </p:cNvSpPr>
          <p:nvPr/>
        </p:nvSpPr>
        <p:spPr bwMode="auto">
          <a:xfrm>
            <a:off x="8248972" y="3278882"/>
            <a:ext cx="571500" cy="43815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es-ES_tradnl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,4</a:t>
            </a:r>
            <a:endParaRPr lang="es-ES_tradnl" sz="2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7" name="Oval 3"/>
          <p:cNvSpPr>
            <a:spLocks noChangeArrowheads="1"/>
          </p:cNvSpPr>
          <p:nvPr/>
        </p:nvSpPr>
        <p:spPr bwMode="auto">
          <a:xfrm>
            <a:off x="6454671" y="778248"/>
            <a:ext cx="571500" cy="438150"/>
          </a:xfrm>
          <a:prstGeom prst="ellipse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es-ES_tradnl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2,3</a:t>
            </a:r>
            <a:endParaRPr lang="es-ES_tradnl" sz="2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Oval 4"/>
          <p:cNvSpPr>
            <a:spLocks noChangeArrowheads="1"/>
          </p:cNvSpPr>
          <p:nvPr/>
        </p:nvSpPr>
        <p:spPr bwMode="auto">
          <a:xfrm>
            <a:off x="2217738" y="2225675"/>
            <a:ext cx="4514850" cy="2355850"/>
          </a:xfrm>
          <a:prstGeom prst="ellipse">
            <a:avLst/>
          </a:prstGeom>
          <a:solidFill>
            <a:srgbClr val="0070C0"/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it-IT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ERE IS GREAT DIFFERENCE</a:t>
            </a:r>
          </a:p>
          <a:p>
            <a:pPr algn="ctr"/>
            <a:r>
              <a:rPr lang="it-IT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BETWEEN THE SPANISH </a:t>
            </a:r>
          </a:p>
          <a:p>
            <a:pPr algn="ctr"/>
            <a:r>
              <a:rPr lang="it-IT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ORGAN DONATION RATES AND</a:t>
            </a:r>
          </a:p>
          <a:p>
            <a:pPr algn="ctr"/>
            <a:r>
              <a:rPr lang="it-IT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THOSE OF MOST DEVELOPED</a:t>
            </a:r>
          </a:p>
          <a:p>
            <a:pPr algn="ctr"/>
            <a:r>
              <a:rPr lang="it-IT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COUNTRIES</a:t>
            </a:r>
          </a:p>
          <a:p>
            <a:pPr algn="ctr"/>
            <a:r>
              <a:rPr lang="it-IT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(DONORS PMP 2013)</a:t>
            </a:r>
          </a:p>
        </p:txBody>
      </p:sp>
      <p:sp>
        <p:nvSpPr>
          <p:cNvPr id="81" name="Oval 3"/>
          <p:cNvSpPr>
            <a:spLocks noChangeArrowheads="1"/>
          </p:cNvSpPr>
          <p:nvPr/>
        </p:nvSpPr>
        <p:spPr bwMode="auto">
          <a:xfrm>
            <a:off x="755576" y="5013176"/>
            <a:ext cx="571500" cy="438150"/>
          </a:xfrm>
          <a:prstGeom prst="ellipse">
            <a:avLst/>
          </a:prstGeom>
          <a:ln>
            <a:solidFill>
              <a:schemeClr val="accent1">
                <a:lumMod val="50000"/>
              </a:schemeClr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es-ES_tradnl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,8</a:t>
            </a:r>
            <a:endParaRPr lang="es-ES_tradnl" sz="2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3" name="Oval 3"/>
          <p:cNvSpPr>
            <a:spLocks noChangeArrowheads="1"/>
          </p:cNvSpPr>
          <p:nvPr/>
        </p:nvSpPr>
        <p:spPr bwMode="auto">
          <a:xfrm>
            <a:off x="7871144" y="5406742"/>
            <a:ext cx="571500" cy="438150"/>
          </a:xfrm>
          <a:prstGeom prst="ellipse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es-ES_tradnl" sz="20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,9</a:t>
            </a:r>
            <a:endParaRPr lang="es-ES_tradnl" sz="20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Line 67"/>
          <p:cNvSpPr>
            <a:spLocks noChangeShapeType="1"/>
          </p:cNvSpPr>
          <p:nvPr/>
        </p:nvSpPr>
        <p:spPr bwMode="auto">
          <a:xfrm flipV="1">
            <a:off x="4140200" y="1844674"/>
            <a:ext cx="0" cy="576262"/>
          </a:xfrm>
          <a:prstGeom prst="line">
            <a:avLst/>
          </a:prstGeom>
          <a:noFill/>
          <a:ln w="38100">
            <a:solidFill>
              <a:schemeClr val="accent1">
                <a:lumMod val="50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Oval 4"/>
          <p:cNvSpPr>
            <a:spLocks noChangeArrowheads="1"/>
          </p:cNvSpPr>
          <p:nvPr/>
        </p:nvSpPr>
        <p:spPr bwMode="auto">
          <a:xfrm>
            <a:off x="2195736" y="2204864"/>
            <a:ext cx="4514850" cy="2355850"/>
          </a:xfrm>
          <a:prstGeom prst="ellipse">
            <a:avLst/>
          </a:prstGeom>
          <a:solidFill>
            <a:srgbClr val="0070C0"/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it-IT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</p:txBody>
      </p:sp>
      <p:sp>
        <p:nvSpPr>
          <p:cNvPr id="69" name="Oval 4"/>
          <p:cNvSpPr>
            <a:spLocks noChangeArrowheads="1"/>
          </p:cNvSpPr>
          <p:nvPr/>
        </p:nvSpPr>
        <p:spPr bwMode="auto">
          <a:xfrm>
            <a:off x="2195736" y="2204864"/>
            <a:ext cx="4514850" cy="2355850"/>
          </a:xfrm>
          <a:prstGeom prst="ellipse">
            <a:avLst/>
          </a:prstGeom>
          <a:ln>
            <a:solidFill>
              <a:schemeClr val="accent1"/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it-IT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HAY GRANDES DIFERENCIAS</a:t>
            </a:r>
          </a:p>
          <a:p>
            <a:pPr algn="ctr"/>
            <a:r>
              <a:rPr lang="it-IT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ENTRE LOS ÍNDICES ESPAÑOLES </a:t>
            </a:r>
          </a:p>
          <a:p>
            <a:pPr algn="ctr"/>
            <a:r>
              <a:rPr lang="it-IT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E DONACIÓN DE ÓRGANOS Y LOS</a:t>
            </a:r>
          </a:p>
          <a:p>
            <a:pPr algn="ctr"/>
            <a:r>
              <a:rPr lang="it-IT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E LOS PAÍSES MAS DESARROLLADOS</a:t>
            </a:r>
          </a:p>
          <a:p>
            <a:pPr algn="ctr"/>
            <a:r>
              <a:rPr lang="it-IT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DEL MUNDO</a:t>
            </a:r>
          </a:p>
          <a:p>
            <a:pPr algn="ctr"/>
            <a:r>
              <a:rPr lang="it-IT" sz="1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(DONANTES  PMP 2017 )</a:t>
            </a:r>
          </a:p>
        </p:txBody>
      </p:sp>
      <p:grpSp>
        <p:nvGrpSpPr>
          <p:cNvPr id="70" name="Group 25"/>
          <p:cNvGrpSpPr>
            <a:grpSpLocks/>
          </p:cNvGrpSpPr>
          <p:nvPr/>
        </p:nvGrpSpPr>
        <p:grpSpPr bwMode="auto">
          <a:xfrm>
            <a:off x="3361816" y="76358"/>
            <a:ext cx="2074280" cy="1768466"/>
            <a:chOff x="377" y="2612"/>
            <a:chExt cx="1003" cy="855"/>
          </a:xfrm>
        </p:grpSpPr>
        <p:sp>
          <p:nvSpPr>
            <p:cNvPr id="71" name="Freeform 26"/>
            <p:cNvSpPr>
              <a:spLocks/>
            </p:cNvSpPr>
            <p:nvPr/>
          </p:nvSpPr>
          <p:spPr bwMode="auto">
            <a:xfrm>
              <a:off x="377" y="2612"/>
              <a:ext cx="966" cy="855"/>
            </a:xfrm>
            <a:custGeom>
              <a:avLst/>
              <a:gdLst>
                <a:gd name="T0" fmla="*/ 44 w 966"/>
                <a:gd name="T1" fmla="*/ 155 h 855"/>
                <a:gd name="T2" fmla="*/ 75 w 966"/>
                <a:gd name="T3" fmla="*/ 93 h 855"/>
                <a:gd name="T4" fmla="*/ 67 w 966"/>
                <a:gd name="T5" fmla="*/ 70 h 855"/>
                <a:gd name="T6" fmla="*/ 53 w 966"/>
                <a:gd name="T7" fmla="*/ 49 h 855"/>
                <a:gd name="T8" fmla="*/ 107 w 966"/>
                <a:gd name="T9" fmla="*/ 22 h 855"/>
                <a:gd name="T10" fmla="*/ 146 w 966"/>
                <a:gd name="T11" fmla="*/ 13 h 855"/>
                <a:gd name="T12" fmla="*/ 187 w 966"/>
                <a:gd name="T13" fmla="*/ 4 h 855"/>
                <a:gd name="T14" fmla="*/ 265 w 966"/>
                <a:gd name="T15" fmla="*/ 66 h 855"/>
                <a:gd name="T16" fmla="*/ 321 w 966"/>
                <a:gd name="T17" fmla="*/ 70 h 855"/>
                <a:gd name="T18" fmla="*/ 475 w 966"/>
                <a:gd name="T19" fmla="*/ 142 h 855"/>
                <a:gd name="T20" fmla="*/ 541 w 966"/>
                <a:gd name="T21" fmla="*/ 158 h 855"/>
                <a:gd name="T22" fmla="*/ 586 w 966"/>
                <a:gd name="T23" fmla="*/ 194 h 855"/>
                <a:gd name="T24" fmla="*/ 631 w 966"/>
                <a:gd name="T25" fmla="*/ 199 h 855"/>
                <a:gd name="T26" fmla="*/ 631 w 966"/>
                <a:gd name="T27" fmla="*/ 220 h 855"/>
                <a:gd name="T28" fmla="*/ 701 w 966"/>
                <a:gd name="T29" fmla="*/ 287 h 855"/>
                <a:gd name="T30" fmla="*/ 758 w 966"/>
                <a:gd name="T31" fmla="*/ 314 h 855"/>
                <a:gd name="T32" fmla="*/ 847 w 966"/>
                <a:gd name="T33" fmla="*/ 340 h 855"/>
                <a:gd name="T34" fmla="*/ 865 w 966"/>
                <a:gd name="T35" fmla="*/ 371 h 855"/>
                <a:gd name="T36" fmla="*/ 899 w 966"/>
                <a:gd name="T37" fmla="*/ 384 h 855"/>
                <a:gd name="T38" fmla="*/ 935 w 966"/>
                <a:gd name="T39" fmla="*/ 384 h 855"/>
                <a:gd name="T40" fmla="*/ 958 w 966"/>
                <a:gd name="T41" fmla="*/ 384 h 855"/>
                <a:gd name="T42" fmla="*/ 966 w 966"/>
                <a:gd name="T43" fmla="*/ 425 h 855"/>
                <a:gd name="T44" fmla="*/ 882 w 966"/>
                <a:gd name="T45" fmla="*/ 489 h 855"/>
                <a:gd name="T46" fmla="*/ 763 w 966"/>
                <a:gd name="T47" fmla="*/ 510 h 855"/>
                <a:gd name="T48" fmla="*/ 732 w 966"/>
                <a:gd name="T49" fmla="*/ 541 h 855"/>
                <a:gd name="T50" fmla="*/ 696 w 966"/>
                <a:gd name="T51" fmla="*/ 555 h 855"/>
                <a:gd name="T52" fmla="*/ 660 w 966"/>
                <a:gd name="T53" fmla="*/ 594 h 855"/>
                <a:gd name="T54" fmla="*/ 621 w 966"/>
                <a:gd name="T55" fmla="*/ 621 h 855"/>
                <a:gd name="T56" fmla="*/ 634 w 966"/>
                <a:gd name="T57" fmla="*/ 669 h 855"/>
                <a:gd name="T58" fmla="*/ 639 w 966"/>
                <a:gd name="T59" fmla="*/ 705 h 855"/>
                <a:gd name="T60" fmla="*/ 616 w 966"/>
                <a:gd name="T61" fmla="*/ 718 h 855"/>
                <a:gd name="T62" fmla="*/ 555 w 966"/>
                <a:gd name="T63" fmla="*/ 772 h 855"/>
                <a:gd name="T64" fmla="*/ 533 w 966"/>
                <a:gd name="T65" fmla="*/ 793 h 855"/>
                <a:gd name="T66" fmla="*/ 493 w 966"/>
                <a:gd name="T67" fmla="*/ 806 h 855"/>
                <a:gd name="T68" fmla="*/ 453 w 966"/>
                <a:gd name="T69" fmla="*/ 816 h 855"/>
                <a:gd name="T70" fmla="*/ 431 w 966"/>
                <a:gd name="T71" fmla="*/ 842 h 855"/>
                <a:gd name="T72" fmla="*/ 395 w 966"/>
                <a:gd name="T73" fmla="*/ 851 h 855"/>
                <a:gd name="T74" fmla="*/ 325 w 966"/>
                <a:gd name="T75" fmla="*/ 842 h 855"/>
                <a:gd name="T76" fmla="*/ 216 w 966"/>
                <a:gd name="T77" fmla="*/ 806 h 855"/>
                <a:gd name="T78" fmla="*/ 164 w 966"/>
                <a:gd name="T79" fmla="*/ 829 h 855"/>
                <a:gd name="T80" fmla="*/ 115 w 966"/>
                <a:gd name="T81" fmla="*/ 847 h 855"/>
                <a:gd name="T82" fmla="*/ 53 w 966"/>
                <a:gd name="T83" fmla="*/ 803 h 855"/>
                <a:gd name="T84" fmla="*/ 31 w 966"/>
                <a:gd name="T85" fmla="*/ 700 h 855"/>
                <a:gd name="T86" fmla="*/ 0 w 966"/>
                <a:gd name="T87" fmla="*/ 666 h 855"/>
                <a:gd name="T88" fmla="*/ 13 w 966"/>
                <a:gd name="T89" fmla="*/ 625 h 855"/>
                <a:gd name="T90" fmla="*/ 58 w 966"/>
                <a:gd name="T91" fmla="*/ 604 h 855"/>
                <a:gd name="T92" fmla="*/ 40 w 966"/>
                <a:gd name="T93" fmla="*/ 555 h 855"/>
                <a:gd name="T94" fmla="*/ 80 w 966"/>
                <a:gd name="T95" fmla="*/ 502 h 855"/>
                <a:gd name="T96" fmla="*/ 71 w 966"/>
                <a:gd name="T97" fmla="*/ 464 h 855"/>
                <a:gd name="T98" fmla="*/ 84 w 966"/>
                <a:gd name="T99" fmla="*/ 429 h 855"/>
                <a:gd name="T100" fmla="*/ 107 w 966"/>
                <a:gd name="T101" fmla="*/ 442 h 855"/>
                <a:gd name="T102" fmla="*/ 124 w 966"/>
                <a:gd name="T103" fmla="*/ 376 h 855"/>
                <a:gd name="T104" fmla="*/ 159 w 966"/>
                <a:gd name="T105" fmla="*/ 327 h 855"/>
                <a:gd name="T106" fmla="*/ 195 w 966"/>
                <a:gd name="T107" fmla="*/ 292 h 855"/>
                <a:gd name="T108" fmla="*/ 231 w 966"/>
                <a:gd name="T109" fmla="*/ 278 h 855"/>
                <a:gd name="T110" fmla="*/ 190 w 966"/>
                <a:gd name="T111" fmla="*/ 220 h 855"/>
                <a:gd name="T112" fmla="*/ 155 w 966"/>
                <a:gd name="T113" fmla="*/ 225 h 855"/>
                <a:gd name="T114" fmla="*/ 111 w 966"/>
                <a:gd name="T115" fmla="*/ 207 h 855"/>
                <a:gd name="T116" fmla="*/ 93 w 966"/>
                <a:gd name="T117" fmla="*/ 203 h 855"/>
                <a:gd name="T118" fmla="*/ 80 w 966"/>
                <a:gd name="T119" fmla="*/ 168 h 855"/>
                <a:gd name="T120" fmla="*/ 49 w 966"/>
                <a:gd name="T121" fmla="*/ 168 h 85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66"/>
                <a:gd name="T184" fmla="*/ 0 h 855"/>
                <a:gd name="T185" fmla="*/ 966 w 966"/>
                <a:gd name="T186" fmla="*/ 855 h 85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66" h="855">
                  <a:moveTo>
                    <a:pt x="49" y="168"/>
                  </a:moveTo>
                  <a:lnTo>
                    <a:pt x="44" y="155"/>
                  </a:lnTo>
                  <a:lnTo>
                    <a:pt x="49" y="137"/>
                  </a:lnTo>
                  <a:lnTo>
                    <a:pt x="75" y="93"/>
                  </a:lnTo>
                  <a:lnTo>
                    <a:pt x="62" y="83"/>
                  </a:lnTo>
                  <a:lnTo>
                    <a:pt x="67" y="70"/>
                  </a:lnTo>
                  <a:lnTo>
                    <a:pt x="53" y="66"/>
                  </a:lnTo>
                  <a:lnTo>
                    <a:pt x="53" y="49"/>
                  </a:lnTo>
                  <a:lnTo>
                    <a:pt x="62" y="35"/>
                  </a:lnTo>
                  <a:lnTo>
                    <a:pt x="107" y="22"/>
                  </a:lnTo>
                  <a:lnTo>
                    <a:pt x="142" y="26"/>
                  </a:lnTo>
                  <a:lnTo>
                    <a:pt x="146" y="13"/>
                  </a:lnTo>
                  <a:lnTo>
                    <a:pt x="172" y="0"/>
                  </a:lnTo>
                  <a:lnTo>
                    <a:pt x="187" y="4"/>
                  </a:lnTo>
                  <a:lnTo>
                    <a:pt x="216" y="44"/>
                  </a:lnTo>
                  <a:lnTo>
                    <a:pt x="265" y="66"/>
                  </a:lnTo>
                  <a:lnTo>
                    <a:pt x="309" y="66"/>
                  </a:lnTo>
                  <a:lnTo>
                    <a:pt x="321" y="70"/>
                  </a:lnTo>
                  <a:lnTo>
                    <a:pt x="440" y="137"/>
                  </a:lnTo>
                  <a:lnTo>
                    <a:pt x="475" y="142"/>
                  </a:lnTo>
                  <a:lnTo>
                    <a:pt x="502" y="168"/>
                  </a:lnTo>
                  <a:lnTo>
                    <a:pt x="541" y="158"/>
                  </a:lnTo>
                  <a:lnTo>
                    <a:pt x="564" y="173"/>
                  </a:lnTo>
                  <a:lnTo>
                    <a:pt x="586" y="194"/>
                  </a:lnTo>
                  <a:lnTo>
                    <a:pt x="613" y="194"/>
                  </a:lnTo>
                  <a:lnTo>
                    <a:pt x="631" y="199"/>
                  </a:lnTo>
                  <a:lnTo>
                    <a:pt x="639" y="207"/>
                  </a:lnTo>
                  <a:lnTo>
                    <a:pt x="631" y="220"/>
                  </a:lnTo>
                  <a:lnTo>
                    <a:pt x="631" y="238"/>
                  </a:lnTo>
                  <a:lnTo>
                    <a:pt x="701" y="287"/>
                  </a:lnTo>
                  <a:lnTo>
                    <a:pt x="740" y="318"/>
                  </a:lnTo>
                  <a:lnTo>
                    <a:pt x="758" y="314"/>
                  </a:lnTo>
                  <a:lnTo>
                    <a:pt x="780" y="309"/>
                  </a:lnTo>
                  <a:lnTo>
                    <a:pt x="847" y="340"/>
                  </a:lnTo>
                  <a:lnTo>
                    <a:pt x="855" y="362"/>
                  </a:lnTo>
                  <a:lnTo>
                    <a:pt x="865" y="371"/>
                  </a:lnTo>
                  <a:lnTo>
                    <a:pt x="886" y="376"/>
                  </a:lnTo>
                  <a:lnTo>
                    <a:pt x="899" y="384"/>
                  </a:lnTo>
                  <a:lnTo>
                    <a:pt x="917" y="384"/>
                  </a:lnTo>
                  <a:lnTo>
                    <a:pt x="935" y="384"/>
                  </a:lnTo>
                  <a:lnTo>
                    <a:pt x="953" y="389"/>
                  </a:lnTo>
                  <a:lnTo>
                    <a:pt x="958" y="384"/>
                  </a:lnTo>
                  <a:lnTo>
                    <a:pt x="966" y="402"/>
                  </a:lnTo>
                  <a:lnTo>
                    <a:pt x="966" y="425"/>
                  </a:lnTo>
                  <a:lnTo>
                    <a:pt x="953" y="438"/>
                  </a:lnTo>
                  <a:lnTo>
                    <a:pt x="882" y="489"/>
                  </a:lnTo>
                  <a:lnTo>
                    <a:pt x="851" y="489"/>
                  </a:lnTo>
                  <a:lnTo>
                    <a:pt x="763" y="510"/>
                  </a:lnTo>
                  <a:lnTo>
                    <a:pt x="732" y="515"/>
                  </a:lnTo>
                  <a:lnTo>
                    <a:pt x="732" y="541"/>
                  </a:lnTo>
                  <a:lnTo>
                    <a:pt x="714" y="541"/>
                  </a:lnTo>
                  <a:lnTo>
                    <a:pt x="696" y="555"/>
                  </a:lnTo>
                  <a:lnTo>
                    <a:pt x="678" y="577"/>
                  </a:lnTo>
                  <a:lnTo>
                    <a:pt x="660" y="594"/>
                  </a:lnTo>
                  <a:lnTo>
                    <a:pt x="639" y="599"/>
                  </a:lnTo>
                  <a:lnTo>
                    <a:pt x="621" y="621"/>
                  </a:lnTo>
                  <a:lnTo>
                    <a:pt x="621" y="652"/>
                  </a:lnTo>
                  <a:lnTo>
                    <a:pt x="634" y="669"/>
                  </a:lnTo>
                  <a:lnTo>
                    <a:pt x="639" y="682"/>
                  </a:lnTo>
                  <a:lnTo>
                    <a:pt x="639" y="705"/>
                  </a:lnTo>
                  <a:lnTo>
                    <a:pt x="634" y="713"/>
                  </a:lnTo>
                  <a:lnTo>
                    <a:pt x="616" y="718"/>
                  </a:lnTo>
                  <a:lnTo>
                    <a:pt x="590" y="741"/>
                  </a:lnTo>
                  <a:lnTo>
                    <a:pt x="555" y="772"/>
                  </a:lnTo>
                  <a:lnTo>
                    <a:pt x="541" y="785"/>
                  </a:lnTo>
                  <a:lnTo>
                    <a:pt x="533" y="793"/>
                  </a:lnTo>
                  <a:lnTo>
                    <a:pt x="533" y="806"/>
                  </a:lnTo>
                  <a:lnTo>
                    <a:pt x="493" y="806"/>
                  </a:lnTo>
                  <a:lnTo>
                    <a:pt x="471" y="811"/>
                  </a:lnTo>
                  <a:lnTo>
                    <a:pt x="453" y="816"/>
                  </a:lnTo>
                  <a:lnTo>
                    <a:pt x="444" y="824"/>
                  </a:lnTo>
                  <a:lnTo>
                    <a:pt x="431" y="842"/>
                  </a:lnTo>
                  <a:lnTo>
                    <a:pt x="409" y="851"/>
                  </a:lnTo>
                  <a:lnTo>
                    <a:pt x="395" y="851"/>
                  </a:lnTo>
                  <a:lnTo>
                    <a:pt x="369" y="847"/>
                  </a:lnTo>
                  <a:lnTo>
                    <a:pt x="325" y="842"/>
                  </a:lnTo>
                  <a:lnTo>
                    <a:pt x="247" y="811"/>
                  </a:lnTo>
                  <a:lnTo>
                    <a:pt x="216" y="806"/>
                  </a:lnTo>
                  <a:lnTo>
                    <a:pt x="187" y="816"/>
                  </a:lnTo>
                  <a:lnTo>
                    <a:pt x="164" y="829"/>
                  </a:lnTo>
                  <a:lnTo>
                    <a:pt x="138" y="833"/>
                  </a:lnTo>
                  <a:lnTo>
                    <a:pt x="115" y="847"/>
                  </a:lnTo>
                  <a:lnTo>
                    <a:pt x="102" y="855"/>
                  </a:lnTo>
                  <a:lnTo>
                    <a:pt x="53" y="803"/>
                  </a:lnTo>
                  <a:lnTo>
                    <a:pt x="53" y="728"/>
                  </a:lnTo>
                  <a:lnTo>
                    <a:pt x="31" y="700"/>
                  </a:lnTo>
                  <a:lnTo>
                    <a:pt x="5" y="679"/>
                  </a:lnTo>
                  <a:lnTo>
                    <a:pt x="0" y="666"/>
                  </a:lnTo>
                  <a:lnTo>
                    <a:pt x="0" y="638"/>
                  </a:lnTo>
                  <a:lnTo>
                    <a:pt x="13" y="625"/>
                  </a:lnTo>
                  <a:lnTo>
                    <a:pt x="49" y="612"/>
                  </a:lnTo>
                  <a:lnTo>
                    <a:pt x="58" y="604"/>
                  </a:lnTo>
                  <a:lnTo>
                    <a:pt x="44" y="586"/>
                  </a:lnTo>
                  <a:lnTo>
                    <a:pt x="40" y="555"/>
                  </a:lnTo>
                  <a:lnTo>
                    <a:pt x="53" y="528"/>
                  </a:lnTo>
                  <a:lnTo>
                    <a:pt x="80" y="502"/>
                  </a:lnTo>
                  <a:lnTo>
                    <a:pt x="80" y="482"/>
                  </a:lnTo>
                  <a:lnTo>
                    <a:pt x="71" y="464"/>
                  </a:lnTo>
                  <a:lnTo>
                    <a:pt x="80" y="433"/>
                  </a:lnTo>
                  <a:lnTo>
                    <a:pt x="84" y="429"/>
                  </a:lnTo>
                  <a:lnTo>
                    <a:pt x="97" y="429"/>
                  </a:lnTo>
                  <a:lnTo>
                    <a:pt x="107" y="442"/>
                  </a:lnTo>
                  <a:lnTo>
                    <a:pt x="120" y="425"/>
                  </a:lnTo>
                  <a:lnTo>
                    <a:pt x="124" y="376"/>
                  </a:lnTo>
                  <a:lnTo>
                    <a:pt x="159" y="345"/>
                  </a:lnTo>
                  <a:lnTo>
                    <a:pt x="159" y="327"/>
                  </a:lnTo>
                  <a:lnTo>
                    <a:pt x="159" y="314"/>
                  </a:lnTo>
                  <a:lnTo>
                    <a:pt x="195" y="292"/>
                  </a:lnTo>
                  <a:lnTo>
                    <a:pt x="221" y="287"/>
                  </a:lnTo>
                  <a:lnTo>
                    <a:pt x="231" y="278"/>
                  </a:lnTo>
                  <a:lnTo>
                    <a:pt x="208" y="256"/>
                  </a:lnTo>
                  <a:lnTo>
                    <a:pt x="190" y="220"/>
                  </a:lnTo>
                  <a:lnTo>
                    <a:pt x="182" y="212"/>
                  </a:lnTo>
                  <a:lnTo>
                    <a:pt x="155" y="225"/>
                  </a:lnTo>
                  <a:lnTo>
                    <a:pt x="138" y="217"/>
                  </a:lnTo>
                  <a:lnTo>
                    <a:pt x="111" y="207"/>
                  </a:lnTo>
                  <a:lnTo>
                    <a:pt x="102" y="212"/>
                  </a:lnTo>
                  <a:lnTo>
                    <a:pt x="93" y="203"/>
                  </a:lnTo>
                  <a:lnTo>
                    <a:pt x="93" y="186"/>
                  </a:lnTo>
                  <a:lnTo>
                    <a:pt x="80" y="168"/>
                  </a:lnTo>
                  <a:lnTo>
                    <a:pt x="71" y="163"/>
                  </a:lnTo>
                  <a:lnTo>
                    <a:pt x="49" y="168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2" name="Freeform 27"/>
            <p:cNvSpPr>
              <a:spLocks/>
            </p:cNvSpPr>
            <p:nvPr/>
          </p:nvSpPr>
          <p:spPr bwMode="auto">
            <a:xfrm>
              <a:off x="1113" y="3322"/>
              <a:ext cx="37" cy="26"/>
            </a:xfrm>
            <a:custGeom>
              <a:avLst/>
              <a:gdLst>
                <a:gd name="T0" fmla="*/ 37 w 37"/>
                <a:gd name="T1" fmla="*/ 0 h 26"/>
                <a:gd name="T2" fmla="*/ 19 w 37"/>
                <a:gd name="T3" fmla="*/ 0 h 26"/>
                <a:gd name="T4" fmla="*/ 0 w 37"/>
                <a:gd name="T5" fmla="*/ 18 h 26"/>
                <a:gd name="T6" fmla="*/ 9 w 37"/>
                <a:gd name="T7" fmla="*/ 26 h 26"/>
                <a:gd name="T8" fmla="*/ 27 w 37"/>
                <a:gd name="T9" fmla="*/ 26 h 26"/>
                <a:gd name="T10" fmla="*/ 37 w 37"/>
                <a:gd name="T11" fmla="*/ 0 h 2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"/>
                <a:gd name="T19" fmla="*/ 0 h 26"/>
                <a:gd name="T20" fmla="*/ 37 w 37"/>
                <a:gd name="T21" fmla="*/ 26 h 2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" h="26">
                  <a:moveTo>
                    <a:pt x="37" y="0"/>
                  </a:moveTo>
                  <a:lnTo>
                    <a:pt x="19" y="0"/>
                  </a:lnTo>
                  <a:lnTo>
                    <a:pt x="0" y="18"/>
                  </a:lnTo>
                  <a:lnTo>
                    <a:pt x="9" y="26"/>
                  </a:lnTo>
                  <a:lnTo>
                    <a:pt x="27" y="26"/>
                  </a:lnTo>
                  <a:lnTo>
                    <a:pt x="37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3" name="Freeform 28"/>
            <p:cNvSpPr>
              <a:spLocks/>
            </p:cNvSpPr>
            <p:nvPr/>
          </p:nvSpPr>
          <p:spPr bwMode="auto">
            <a:xfrm>
              <a:off x="1220" y="3255"/>
              <a:ext cx="85" cy="67"/>
            </a:xfrm>
            <a:custGeom>
              <a:avLst/>
              <a:gdLst>
                <a:gd name="T0" fmla="*/ 62 w 85"/>
                <a:gd name="T1" fmla="*/ 0 h 67"/>
                <a:gd name="T2" fmla="*/ 54 w 85"/>
                <a:gd name="T3" fmla="*/ 8 h 67"/>
                <a:gd name="T4" fmla="*/ 18 w 85"/>
                <a:gd name="T5" fmla="*/ 13 h 67"/>
                <a:gd name="T6" fmla="*/ 0 w 85"/>
                <a:gd name="T7" fmla="*/ 36 h 67"/>
                <a:gd name="T8" fmla="*/ 26 w 85"/>
                <a:gd name="T9" fmla="*/ 54 h 67"/>
                <a:gd name="T10" fmla="*/ 41 w 85"/>
                <a:gd name="T11" fmla="*/ 67 h 67"/>
                <a:gd name="T12" fmla="*/ 67 w 85"/>
                <a:gd name="T13" fmla="*/ 62 h 67"/>
                <a:gd name="T14" fmla="*/ 85 w 85"/>
                <a:gd name="T15" fmla="*/ 54 h 67"/>
                <a:gd name="T16" fmla="*/ 80 w 85"/>
                <a:gd name="T17" fmla="*/ 36 h 67"/>
                <a:gd name="T18" fmla="*/ 67 w 85"/>
                <a:gd name="T19" fmla="*/ 23 h 67"/>
                <a:gd name="T20" fmla="*/ 62 w 85"/>
                <a:gd name="T21" fmla="*/ 0 h 6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5"/>
                <a:gd name="T34" fmla="*/ 0 h 67"/>
                <a:gd name="T35" fmla="*/ 85 w 85"/>
                <a:gd name="T36" fmla="*/ 67 h 6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5" h="67">
                  <a:moveTo>
                    <a:pt x="62" y="0"/>
                  </a:moveTo>
                  <a:lnTo>
                    <a:pt x="54" y="8"/>
                  </a:lnTo>
                  <a:lnTo>
                    <a:pt x="18" y="13"/>
                  </a:lnTo>
                  <a:lnTo>
                    <a:pt x="0" y="36"/>
                  </a:lnTo>
                  <a:lnTo>
                    <a:pt x="26" y="54"/>
                  </a:lnTo>
                  <a:lnTo>
                    <a:pt x="41" y="67"/>
                  </a:lnTo>
                  <a:lnTo>
                    <a:pt x="67" y="62"/>
                  </a:lnTo>
                  <a:lnTo>
                    <a:pt x="85" y="54"/>
                  </a:lnTo>
                  <a:lnTo>
                    <a:pt x="80" y="36"/>
                  </a:lnTo>
                  <a:lnTo>
                    <a:pt x="67" y="23"/>
                  </a:lnTo>
                  <a:lnTo>
                    <a:pt x="62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4" name="Freeform 29"/>
            <p:cNvSpPr>
              <a:spLocks/>
            </p:cNvSpPr>
            <p:nvPr/>
          </p:nvSpPr>
          <p:spPr bwMode="auto">
            <a:xfrm>
              <a:off x="1353" y="3260"/>
              <a:ext cx="27" cy="34"/>
            </a:xfrm>
            <a:custGeom>
              <a:avLst/>
              <a:gdLst>
                <a:gd name="T0" fmla="*/ 18 w 27"/>
                <a:gd name="T1" fmla="*/ 0 h 34"/>
                <a:gd name="T2" fmla="*/ 0 w 27"/>
                <a:gd name="T3" fmla="*/ 8 h 34"/>
                <a:gd name="T4" fmla="*/ 14 w 27"/>
                <a:gd name="T5" fmla="*/ 21 h 34"/>
                <a:gd name="T6" fmla="*/ 27 w 27"/>
                <a:gd name="T7" fmla="*/ 34 h 34"/>
                <a:gd name="T8" fmla="*/ 18 w 27"/>
                <a:gd name="T9" fmla="*/ 0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"/>
                <a:gd name="T16" fmla="*/ 0 h 34"/>
                <a:gd name="T17" fmla="*/ 27 w 27"/>
                <a:gd name="T18" fmla="*/ 34 h 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" h="34">
                  <a:moveTo>
                    <a:pt x="18" y="0"/>
                  </a:moveTo>
                  <a:lnTo>
                    <a:pt x="0" y="8"/>
                  </a:lnTo>
                  <a:lnTo>
                    <a:pt x="14" y="21"/>
                  </a:lnTo>
                  <a:lnTo>
                    <a:pt x="27" y="34"/>
                  </a:lnTo>
                  <a:lnTo>
                    <a:pt x="18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endParaRPr lang="es-ES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75" name="39 Explosión 1"/>
          <p:cNvSpPr/>
          <p:nvPr/>
        </p:nvSpPr>
        <p:spPr>
          <a:xfrm>
            <a:off x="3432841" y="576215"/>
            <a:ext cx="1653812" cy="1275484"/>
          </a:xfrm>
          <a:prstGeom prst="irregularSeal1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400" b="1" u="sng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8,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2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</a:t>
            </a:r>
            <a:endParaRPr lang="es-ES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6" name="Line 64"/>
          <p:cNvSpPr>
            <a:spLocks noChangeShapeType="1"/>
          </p:cNvSpPr>
          <p:nvPr/>
        </p:nvSpPr>
        <p:spPr bwMode="auto">
          <a:xfrm>
            <a:off x="6576268" y="3855460"/>
            <a:ext cx="1308100" cy="869684"/>
          </a:xfrm>
          <a:prstGeom prst="line">
            <a:avLst/>
          </a:prstGeom>
          <a:noFill/>
          <a:ln w="38100">
            <a:solidFill>
              <a:schemeClr val="accent1">
                <a:lumMod val="50000"/>
              </a:schemeClr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15 CuadroTexto"/>
          <p:cNvSpPr txBox="1"/>
          <p:nvPr/>
        </p:nvSpPr>
        <p:spPr>
          <a:xfrm>
            <a:off x="179512" y="6525344"/>
            <a:ext cx="8040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i="0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Fuente: Observatorio Global de Donación y Trasplante</a:t>
            </a:r>
            <a:endParaRPr lang="es-ES" sz="1600" i="0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1442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Gráfico"/>
          <p:cNvGraphicFramePr/>
          <p:nvPr>
            <p:extLst/>
          </p:nvPr>
        </p:nvGraphicFramePr>
        <p:xfrm>
          <a:off x="1219113" y="1397000"/>
          <a:ext cx="7617521" cy="4624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80" name="Text Box 7"/>
          <p:cNvSpPr txBox="1">
            <a:spLocks noChangeArrowheads="1"/>
          </p:cNvSpPr>
          <p:nvPr/>
        </p:nvSpPr>
        <p:spPr bwMode="auto">
          <a:xfrm>
            <a:off x="1687691" y="3344445"/>
            <a:ext cx="498855" cy="30777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es-ES_tradnl" sz="14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6%</a:t>
            </a:r>
            <a:endParaRPr lang="es-ES_tradnl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83" name="Rectangle 11"/>
          <p:cNvSpPr>
            <a:spLocks noChangeArrowheads="1"/>
          </p:cNvSpPr>
          <p:nvPr/>
        </p:nvSpPr>
        <p:spPr bwMode="auto">
          <a:xfrm>
            <a:off x="8622703" y="3190556"/>
            <a:ext cx="498855" cy="30777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s-ES_tradn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2%</a:t>
            </a:r>
            <a:endParaRPr lang="es-ES_tradnl" sz="1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84" name="Rectangle 12"/>
          <p:cNvSpPr>
            <a:spLocks noChangeArrowheads="1"/>
          </p:cNvSpPr>
          <p:nvPr/>
        </p:nvSpPr>
        <p:spPr bwMode="auto">
          <a:xfrm>
            <a:off x="8637964" y="5470203"/>
            <a:ext cx="515713" cy="307975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s-ES_tradnl" sz="14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%</a:t>
            </a:r>
            <a:endParaRPr lang="es-ES" sz="1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85" name="Line 13"/>
          <p:cNvSpPr>
            <a:spLocks noChangeShapeType="1"/>
          </p:cNvSpPr>
          <p:nvPr/>
        </p:nvSpPr>
        <p:spPr bwMode="auto">
          <a:xfrm>
            <a:off x="2195934" y="5329722"/>
            <a:ext cx="6442030" cy="22657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 flipV="1">
            <a:off x="2231430" y="3344443"/>
            <a:ext cx="6368831" cy="172242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91" name="Text Box 6"/>
          <p:cNvSpPr txBox="1">
            <a:spLocks noChangeArrowheads="1"/>
          </p:cNvSpPr>
          <p:nvPr/>
        </p:nvSpPr>
        <p:spPr bwMode="auto">
          <a:xfrm>
            <a:off x="1591556" y="5135232"/>
            <a:ext cx="498855" cy="30777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es-ES_tradnl" sz="1400" b="1" dirty="0" smtClean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%</a:t>
            </a:r>
            <a:endParaRPr lang="es-ES_tradnl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19 CuadroTexto"/>
          <p:cNvSpPr txBox="1"/>
          <p:nvPr/>
        </p:nvSpPr>
        <p:spPr>
          <a:xfrm>
            <a:off x="2082146" y="6030272"/>
            <a:ext cx="6306278" cy="40011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>
              <a:defRPr/>
            </a:pPr>
            <a:r>
              <a:rPr lang="es-ES" sz="1600" b="1" dirty="0">
                <a:latin typeface="Calibri" panose="020F0502020204030204" pitchFamily="34" charset="0"/>
                <a:cs typeface="Calibri" panose="020F0502020204030204" pitchFamily="34" charset="0"/>
              </a:rPr>
              <a:t>PORCENTAJE DE DONANTES POR ACCIDENTES DE TRÁFICO </a:t>
            </a:r>
            <a:r>
              <a:rPr lang="es-ES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2018:  </a:t>
            </a:r>
            <a:r>
              <a:rPr lang="es-ES" sz="2000" b="1" i="1" u="sng" dirty="0" smtClean="0">
                <a:latin typeface="Calibri" panose="020F0502020204030204" pitchFamily="34" charset="0"/>
                <a:cs typeface="Calibri" panose="020F0502020204030204" pitchFamily="34" charset="0"/>
              </a:rPr>
              <a:t>3,8 </a:t>
            </a:r>
            <a:r>
              <a:rPr lang="es-ES" sz="2000" b="1" i="1" u="sng" dirty="0">
                <a:latin typeface="Calibri" panose="020F0502020204030204" pitchFamily="34" charset="0"/>
                <a:cs typeface="Calibri" panose="020F0502020204030204" pitchFamily="34" charset="0"/>
              </a:rPr>
              <a:t>%</a:t>
            </a:r>
          </a:p>
        </p:txBody>
      </p:sp>
      <p:sp>
        <p:nvSpPr>
          <p:cNvPr id="21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260648"/>
            <a:ext cx="8363844" cy="1139825"/>
          </a:xfrm>
        </p:spPr>
        <p:txBody>
          <a:bodyPr>
            <a:normAutofit/>
          </a:bodyPr>
          <a:lstStyle/>
          <a:p>
            <a:pPr algn="ctr">
              <a:defRPr/>
            </a:pPr>
            <a:r>
              <a:rPr lang="es-ES" sz="2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usa de fallecimiento de los donantes de órganos</a:t>
            </a:r>
            <a:endParaRPr lang="es-ES" sz="28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082" name="Picture 9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496" y="4437112"/>
            <a:ext cx="1131887" cy="811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1" name="Picture 8" descr="cvd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532" y="2899161"/>
            <a:ext cx="1197121" cy="811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13 CuadroTexto"/>
          <p:cNvSpPr txBox="1"/>
          <p:nvPr/>
        </p:nvSpPr>
        <p:spPr>
          <a:xfrm>
            <a:off x="179512" y="6421978"/>
            <a:ext cx="8040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i="0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Fuente: Organización Nacional de Trasplantes</a:t>
            </a:r>
            <a:endParaRPr lang="es-ES" sz="1600" i="0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56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12 Gráfico"/>
          <p:cNvGraphicFramePr>
            <a:graphicFrameLocks/>
          </p:cNvGraphicFramePr>
          <p:nvPr>
            <p:extLst/>
          </p:nvPr>
        </p:nvGraphicFramePr>
        <p:xfrm>
          <a:off x="0" y="1534112"/>
          <a:ext cx="8758786" cy="49463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098" name="Object 5"/>
          <p:cNvGraphicFramePr>
            <a:graphicFrameLocks noChangeAspect="1"/>
          </p:cNvGraphicFramePr>
          <p:nvPr>
            <p:extLst/>
          </p:nvPr>
        </p:nvGraphicFramePr>
        <p:xfrm>
          <a:off x="107504" y="690078"/>
          <a:ext cx="1187543" cy="15443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20" name="Imagen de mapa de bits" r:id="rId5" imgW="1171429" imgH="1523810" progId="PBrush">
                  <p:embed/>
                </p:oleObj>
              </mc:Choice>
              <mc:Fallback>
                <p:oleObj name="Imagen de mapa de bits" r:id="rId5" imgW="1171429" imgH="1523810" progId="PBrush">
                  <p:embed/>
                  <p:pic>
                    <p:nvPicPr>
                      <p:cNvPr id="4098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690078"/>
                        <a:ext cx="1187543" cy="15443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8 Cerrar llave"/>
          <p:cNvSpPr/>
          <p:nvPr/>
        </p:nvSpPr>
        <p:spPr>
          <a:xfrm>
            <a:off x="8532564" y="5840681"/>
            <a:ext cx="215900" cy="576064"/>
          </a:xfrm>
          <a:prstGeom prst="rightBrac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8352482" y="6483696"/>
            <a:ext cx="576064" cy="30777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es-ES" sz="1400" b="1" i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4%</a:t>
            </a:r>
            <a:endParaRPr lang="es-ES" sz="1400" b="1" i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CasellaDiTesto 11"/>
          <p:cNvSpPr txBox="1"/>
          <p:nvPr/>
        </p:nvSpPr>
        <p:spPr>
          <a:xfrm rot="20720786">
            <a:off x="851848" y="3276991"/>
            <a:ext cx="7443140" cy="40011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ES" sz="2000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MÁS DE LA MITAD DE LOS DONANTES &gt;60, 30%  &gt;70  Y 9% &gt; 80 AÑOS</a:t>
            </a:r>
          </a:p>
        </p:txBody>
      </p:sp>
      <p:sp>
        <p:nvSpPr>
          <p:cNvPr id="20" name="1 Título"/>
          <p:cNvSpPr txBox="1">
            <a:spLocks/>
          </p:cNvSpPr>
          <p:nvPr/>
        </p:nvSpPr>
        <p:spPr>
          <a:xfrm>
            <a:off x="922290" y="690078"/>
            <a:ext cx="7056784" cy="712247"/>
          </a:xfrm>
          <a:prstGeom prst="rect">
            <a:avLst/>
          </a:prstGeom>
        </p:spPr>
        <p:txBody>
          <a:bodyPr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 Black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 Black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 Black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 Black" pitchFamily="34" charset="0"/>
              </a:defRPr>
            </a:lvl9pPr>
          </a:lstStyle>
          <a:p>
            <a:pPr algn="r"/>
            <a:endParaRPr lang="es-ES" sz="2800" b="1" i="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547664" y="2276872"/>
            <a:ext cx="2598737" cy="10683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404664"/>
            <a:ext cx="8363844" cy="1139825"/>
          </a:xfrm>
        </p:spPr>
        <p:txBody>
          <a:bodyPr>
            <a:normAutofit/>
          </a:bodyPr>
          <a:lstStyle/>
          <a:p>
            <a:pPr algn="ctr">
              <a:defRPr/>
            </a:pPr>
            <a:r>
              <a:rPr lang="es-ES" sz="2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dad de los donantes de órganos en España</a:t>
            </a:r>
            <a:endParaRPr lang="es-ES" sz="28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274141" y="6475239"/>
            <a:ext cx="8042275" cy="3381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s-ES" sz="1600" i="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ente: Organización Nacional  de Trasplantes</a:t>
            </a:r>
            <a:endParaRPr lang="es-ES" i="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3598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401" name="Text Box 249"/>
          <p:cNvSpPr txBox="1">
            <a:spLocks noChangeArrowheads="1"/>
          </p:cNvSpPr>
          <p:nvPr/>
        </p:nvSpPr>
        <p:spPr bwMode="auto">
          <a:xfrm>
            <a:off x="0" y="332656"/>
            <a:ext cx="9144000" cy="954107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es-ES"/>
            </a:defPPr>
            <a:lvl1pPr algn="ctr" eaLnBrk="0" fontAlgn="auto" hangingPunct="0">
              <a:spcBef>
                <a:spcPts val="0"/>
              </a:spcBef>
              <a:spcAft>
                <a:spcPts val="0"/>
              </a:spcAft>
              <a:defRPr sz="2400" b="1">
                <a:solidFill>
                  <a:srgbClr val="002060"/>
                </a:solidFill>
                <a:latin typeface="Candara" panose="020E0502030303020204" pitchFamily="34" charset="0"/>
                <a:cs typeface="Tahoma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s-ES" sz="28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dad máxima de los donantes </a:t>
            </a:r>
          </a:p>
          <a:p>
            <a:r>
              <a:rPr lang="es-ES" sz="280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órganos  trasplantados)</a:t>
            </a:r>
            <a:endParaRPr lang="es-ES" sz="28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179512" y="6546830"/>
            <a:ext cx="8040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i="0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Fuente: Organización Nacional de Trasplantes</a:t>
            </a:r>
            <a:endParaRPr lang="es-ES" sz="1600" i="0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6" name="1 Gráfico"/>
          <p:cNvGraphicFramePr>
            <a:graphicFrameLocks/>
          </p:cNvGraphicFramePr>
          <p:nvPr>
            <p:extLst/>
          </p:nvPr>
        </p:nvGraphicFramePr>
        <p:xfrm>
          <a:off x="179512" y="1700808"/>
          <a:ext cx="8784976" cy="48460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70386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3 Marcador de contenido"/>
          <p:cNvGraphicFramePr>
            <a:graphicFrameLocks/>
          </p:cNvGraphicFramePr>
          <p:nvPr>
            <p:extLst/>
          </p:nvPr>
        </p:nvGraphicFramePr>
        <p:xfrm>
          <a:off x="179512" y="1835225"/>
          <a:ext cx="8632204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8 Flecha abajo"/>
          <p:cNvSpPr/>
          <p:nvPr/>
        </p:nvSpPr>
        <p:spPr>
          <a:xfrm>
            <a:off x="5868144" y="3587384"/>
            <a:ext cx="288032" cy="1209768"/>
          </a:xfrm>
          <a:prstGeom prst="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i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1 Título"/>
          <p:cNvSpPr>
            <a:spLocks noGrp="1"/>
          </p:cNvSpPr>
          <p:nvPr>
            <p:ph type="title"/>
          </p:nvPr>
        </p:nvSpPr>
        <p:spPr>
          <a:xfrm>
            <a:off x="0" y="404664"/>
            <a:ext cx="5475194" cy="927100"/>
          </a:xfrm>
        </p:spPr>
        <p:txBody>
          <a:bodyPr>
            <a:normAutofit fontScale="90000"/>
          </a:bodyPr>
          <a:lstStyle/>
          <a:p>
            <a:pPr algn="l">
              <a:defRPr/>
            </a:pPr>
            <a:r>
              <a:rPr lang="es-ES" sz="32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nación en Asistolia en España</a:t>
            </a:r>
            <a:endParaRPr lang="es-ES" sz="3200" b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5269518" y="827113"/>
            <a:ext cx="3838986" cy="830997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es-ES" sz="1600" b="1" i="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LA DONACIÓN EN ASISTOLIA YA REPRESENTA EL 28% DE LA ACTIVIDAD DE DONACIÓN EN EL PAÍS</a:t>
            </a:r>
            <a:endParaRPr lang="es-ES" sz="1600" b="1" i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03106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68494" y="2381800"/>
            <a:ext cx="3168352" cy="21889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1 Rectángulo"/>
          <p:cNvSpPr/>
          <p:nvPr/>
        </p:nvSpPr>
        <p:spPr>
          <a:xfrm>
            <a:off x="4355976" y="3717032"/>
            <a:ext cx="1512168" cy="95547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Proyecto piloto de DAC en País Vasco</a:t>
            </a:r>
            <a:endParaRPr lang="es-ES" b="1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7 Rectángulo"/>
          <p:cNvSpPr/>
          <p:nvPr/>
        </p:nvSpPr>
        <p:spPr>
          <a:xfrm>
            <a:off x="5220072" y="2766560"/>
            <a:ext cx="1656184" cy="73444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Consenso</a:t>
            </a:r>
          </a:p>
          <a:p>
            <a:pPr algn="ctr"/>
            <a:r>
              <a:rPr lang="es-ES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RD 1723/2012</a:t>
            </a:r>
            <a:endParaRPr lang="es-ES" b="1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2 Flecha abajo"/>
          <p:cNvSpPr/>
          <p:nvPr/>
        </p:nvSpPr>
        <p:spPr>
          <a:xfrm>
            <a:off x="4950042" y="4696409"/>
            <a:ext cx="288032" cy="316767"/>
          </a:xfrm>
          <a:prstGeom prst="down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i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4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6652" y="2381800"/>
            <a:ext cx="1023420" cy="12574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12 CuadroTexto"/>
          <p:cNvSpPr txBox="1"/>
          <p:nvPr/>
        </p:nvSpPr>
        <p:spPr>
          <a:xfrm>
            <a:off x="179512" y="6546830"/>
            <a:ext cx="8040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i="0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Fuente: Organización Nacional de Trasplantes</a:t>
            </a:r>
            <a:endParaRPr lang="es-ES" sz="1600" i="0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52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0312883"/>
              </p:ext>
            </p:extLst>
          </p:nvPr>
        </p:nvGraphicFramePr>
        <p:xfrm>
          <a:off x="23721" y="1574895"/>
          <a:ext cx="9144000" cy="51197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Picture 9" descr="~AUT0042"/>
          <p:cNvPicPr>
            <a:picLocks noChangeAspect="1" noChangeArrowheads="1"/>
          </p:cNvPicPr>
          <p:nvPr/>
        </p:nvPicPr>
        <p:blipFill>
          <a:blip r:embed="rId4" cstate="print"/>
          <a:srcRect l="1440" r="5138" b="5650"/>
          <a:stretch>
            <a:fillRect/>
          </a:stretch>
        </p:blipFill>
        <p:spPr bwMode="auto">
          <a:xfrm>
            <a:off x="6252889" y="3963655"/>
            <a:ext cx="2230809" cy="1720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" name="Text Box 4"/>
          <p:cNvSpPr txBox="1">
            <a:spLocks noChangeArrowheads="1"/>
          </p:cNvSpPr>
          <p:nvPr/>
        </p:nvSpPr>
        <p:spPr bwMode="auto">
          <a:xfrm>
            <a:off x="197644" y="404664"/>
            <a:ext cx="8748712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s-ES" sz="2800" b="1" i="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asplantes de Órganos Sólidos en España</a:t>
            </a:r>
          </a:p>
          <a:p>
            <a:pPr algn="ctr" eaLnBrk="1" hangingPunct="1"/>
            <a:r>
              <a:rPr lang="es-ES" sz="2800" b="1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r>
              <a:rPr lang="es-ES" sz="2800" b="1" i="0" dirty="0" smtClean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9-2018</a:t>
            </a:r>
            <a:endParaRPr lang="es-ES" sz="2800" b="1" i="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7772637" y="1298957"/>
            <a:ext cx="1173719" cy="707886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algn="ctr"/>
            <a:r>
              <a:rPr lang="es-ES" sz="2000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5.318</a:t>
            </a:r>
          </a:p>
          <a:p>
            <a:pPr algn="ctr"/>
            <a:r>
              <a:rPr lang="es-E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114 </a:t>
            </a:r>
            <a:r>
              <a:rPr lang="es-ES" sz="2000" b="1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mp</a:t>
            </a:r>
            <a:r>
              <a:rPr lang="es-ES" sz="2000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s-ES" sz="2000" b="1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750651" y="4397042"/>
            <a:ext cx="797013" cy="40011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es-ES" sz="2000" b="1" i="0" dirty="0" smtClean="0">
                <a:latin typeface="Calibri" panose="020F0502020204030204" pitchFamily="34" charset="0"/>
                <a:cs typeface="Calibri" panose="020F0502020204030204" pitchFamily="34" charset="0"/>
              </a:rPr>
              <a:t>1.315</a:t>
            </a:r>
            <a:endParaRPr lang="es-ES" sz="2000" b="1" i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5" name="4 Conector recto de flecha"/>
          <p:cNvCxnSpPr/>
          <p:nvPr/>
        </p:nvCxnSpPr>
        <p:spPr>
          <a:xfrm flipV="1">
            <a:off x="850762" y="2047294"/>
            <a:ext cx="7974163" cy="3181906"/>
          </a:xfrm>
          <a:prstGeom prst="straightConnector1">
            <a:avLst/>
          </a:prstGeom>
          <a:ln w="254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15 CuadroTexto"/>
          <p:cNvSpPr txBox="1"/>
          <p:nvPr/>
        </p:nvSpPr>
        <p:spPr>
          <a:xfrm>
            <a:off x="179512" y="6525344"/>
            <a:ext cx="8040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i="0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itchFamily="34" charset="0"/>
              </a:rPr>
              <a:t>Fuente: Organización Nacional de Trasplantes</a:t>
            </a:r>
            <a:endParaRPr lang="es-ES" sz="1600" i="0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1369795" y="5264640"/>
            <a:ext cx="4757210" cy="860492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chemeClr val="bg1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MÁXIMO HISTÓRICO: SUPERAMOS LOS 5.300 TRASPLANTES</a:t>
            </a:r>
          </a:p>
        </p:txBody>
      </p:sp>
      <p:sp>
        <p:nvSpPr>
          <p:cNvPr id="18" name="Line 39"/>
          <p:cNvSpPr>
            <a:spLocks noChangeShapeType="1"/>
          </p:cNvSpPr>
          <p:nvPr/>
        </p:nvSpPr>
        <p:spPr bwMode="auto">
          <a:xfrm>
            <a:off x="1149158" y="3451325"/>
            <a:ext cx="0" cy="959534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endParaRPr lang="es-E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9" name="Imagen 18"/>
          <p:cNvPicPr>
            <a:picLocks noChangeAspect="1"/>
          </p:cNvPicPr>
          <p:nvPr/>
        </p:nvPicPr>
        <p:blipFill rotWithShape="1">
          <a:blip r:embed="rId5"/>
          <a:srcRect t="2157" r="25397" b="1"/>
          <a:stretch/>
        </p:blipFill>
        <p:spPr>
          <a:xfrm>
            <a:off x="893864" y="2132856"/>
            <a:ext cx="2309984" cy="60457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1" t="29927" r="3946" b="26886"/>
          <a:stretch>
            <a:fillRect/>
          </a:stretch>
        </p:blipFill>
        <p:spPr bwMode="auto">
          <a:xfrm>
            <a:off x="907050" y="2789617"/>
            <a:ext cx="1547812" cy="58261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4946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rmedio">
  <a:themeElements>
    <a:clrScheme name="Intermedio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Intermedio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rmedio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60</TotalTime>
  <Words>877</Words>
  <Application>Microsoft Office PowerPoint</Application>
  <PresentationFormat>Presentación en pantalla (4:3)</PresentationFormat>
  <Paragraphs>272</Paragraphs>
  <Slides>18</Slides>
  <Notes>18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8</vt:i4>
      </vt:variant>
    </vt:vector>
  </HeadingPairs>
  <TitlesOfParts>
    <vt:vector size="20" baseType="lpstr">
      <vt:lpstr>Intermedio</vt:lpstr>
      <vt:lpstr>Imagen de mapa de bits</vt:lpstr>
      <vt:lpstr>Presentación de PowerPoint</vt:lpstr>
      <vt:lpstr>Presentación de PowerPoint</vt:lpstr>
      <vt:lpstr>Donación de órganos en España 2018 </vt:lpstr>
      <vt:lpstr>Presentación de PowerPoint</vt:lpstr>
      <vt:lpstr>Causa de fallecimiento de los donantes de órganos</vt:lpstr>
      <vt:lpstr>Edad de los donantes de órganos en España</vt:lpstr>
      <vt:lpstr>Presentación de PowerPoint</vt:lpstr>
      <vt:lpstr>Donación en Asistolia en Españ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Evolución de las Listas de espera</vt:lpstr>
      <vt:lpstr>Negativas a la donación</vt:lpstr>
      <vt:lpstr>Presentación de PowerPoint</vt:lpstr>
      <vt:lpstr>Presentación de PowerPoint</vt:lpstr>
    </vt:vector>
  </TitlesOfParts>
  <Company>on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ont</dc:creator>
  <cp:lastModifiedBy>Duque García, Matilde</cp:lastModifiedBy>
  <cp:revision>850</cp:revision>
  <dcterms:created xsi:type="dcterms:W3CDTF">2007-02-10T19:48:53Z</dcterms:created>
  <dcterms:modified xsi:type="dcterms:W3CDTF">2019-01-11T12:19:46Z</dcterms:modified>
</cp:coreProperties>
</file>